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ink/ink172.xml" ContentType="application/inkml+xml"/>
  <Override PartName="/ppt/ink/ink173.xml" ContentType="application/inkml+xml"/>
  <Override PartName="/ppt/ink/ink174.xml" ContentType="application/inkml+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ppt/ink/ink183.xml" ContentType="application/inkml+xml"/>
  <Override PartName="/ppt/tags/tag11.xml" ContentType="application/vnd.openxmlformats-officedocument.presentationml.tags+xml"/>
  <Override PartName="/ppt/tags/tag1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ink/ink184.xml" ContentType="application/inkml+xml"/>
  <Override PartName="/ppt/ink/ink185.xml" ContentType="application/inkml+xml"/>
  <Override PartName="/ppt/ink/ink186.xml" ContentType="application/inkml+xml"/>
  <Override PartName="/ppt/ink/ink187.xml" ContentType="application/inkml+xml"/>
  <Override PartName="/ppt/ink/ink188.xml" ContentType="application/inkml+xml"/>
  <Override PartName="/ppt/ink/ink189.xml" ContentType="application/inkml+xml"/>
  <Override PartName="/ppt/ink/ink190.xml" ContentType="application/inkml+xml"/>
  <Override PartName="/ppt/ink/ink191.xml" ContentType="application/inkml+xml"/>
  <Override PartName="/ppt/ink/ink192.xml" ContentType="application/inkml+xml"/>
  <Override PartName="/ppt/ink/ink193.xml" ContentType="application/inkml+xml"/>
  <Override PartName="/ppt/ink/ink194.xml" ContentType="application/inkml+xml"/>
  <Override PartName="/ppt/ink/ink195.xml" ContentType="application/inkml+xml"/>
  <Override PartName="/ppt/ink/ink196.xml" ContentType="application/inkml+xml"/>
  <Override PartName="/ppt/ink/ink197.xml" ContentType="application/inkml+xml"/>
  <Override PartName="/ppt/ink/ink198.xml" ContentType="application/inkml+xml"/>
  <Override PartName="/ppt/ink/ink199.xml" ContentType="application/inkml+xml"/>
  <Override PartName="/ppt/ink/ink200.xml" ContentType="application/inkml+xml"/>
  <Override PartName="/ppt/ink/ink201.xml" ContentType="application/inkml+xml"/>
  <Override PartName="/ppt/ink/ink202.xml" ContentType="application/inkml+xml"/>
  <Override PartName="/ppt/ink/ink203.xml" ContentType="application/inkml+xml"/>
  <Override PartName="/ppt/ink/ink204.xml" ContentType="application/inkml+xml"/>
  <Override PartName="/ppt/ink/ink205.xml" ContentType="application/inkml+xml"/>
  <Override PartName="/ppt/ink/ink206.xml" ContentType="application/inkml+xml"/>
  <Override PartName="/ppt/ink/ink207.xml" ContentType="application/inkml+xml"/>
  <Override PartName="/ppt/ink/ink208.xml" ContentType="application/inkml+xml"/>
  <Override PartName="/ppt/ink/ink209.xml" ContentType="application/inkml+xml"/>
  <Override PartName="/ppt/ink/ink210.xml" ContentType="application/inkml+xml"/>
  <Override PartName="/ppt/ink/ink211.xml" ContentType="application/inkml+xml"/>
  <Override PartName="/ppt/ink/ink212.xml" ContentType="application/inkml+xml"/>
  <Override PartName="/ppt/ink/ink213.xml" ContentType="application/inkml+xml"/>
  <Override PartName="/ppt/ink/ink214.xml" ContentType="application/inkml+xml"/>
  <Override PartName="/ppt/ink/ink215.xml" ContentType="application/inkml+xml"/>
  <Override PartName="/ppt/ink/ink216.xml" ContentType="application/inkml+xml"/>
  <Override PartName="/ppt/ink/ink217.xml" ContentType="application/inkml+xml"/>
  <Override PartName="/ppt/ink/ink218.xml" ContentType="application/inkml+xml"/>
  <Override PartName="/ppt/ink/ink219.xml" ContentType="application/inkml+xml"/>
  <Override PartName="/ppt/ink/ink220.xml" ContentType="application/inkml+xml"/>
  <Override PartName="/ppt/ink/ink221.xml" ContentType="application/inkml+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ink/ink222.xml" ContentType="application/inkml+xml"/>
  <Override PartName="/ppt/ink/ink223.xml" ContentType="application/inkml+xml"/>
  <Override PartName="/ppt/ink/ink224.xml" ContentType="application/inkml+xml"/>
  <Override PartName="/ppt/ink/ink225.xml" ContentType="application/inkml+xml"/>
  <Override PartName="/ppt/ink/ink226.xml" ContentType="application/inkml+xml"/>
  <Override PartName="/ppt/ink/ink227.xml" ContentType="application/inkml+xml"/>
  <Override PartName="/ppt/ink/ink228.xml" ContentType="application/inkml+xml"/>
  <Override PartName="/ppt/ink/ink229.xml" ContentType="application/inkml+xml"/>
  <Override PartName="/ppt/ink/ink230.xml" ContentType="application/inkml+xml"/>
  <Override PartName="/ppt/ink/ink231.xml" ContentType="application/inkml+xml"/>
  <Override PartName="/ppt/notesSlides/notesSlide13.xml" ContentType="application/vnd.openxmlformats-officedocument.presentationml.notesSlide+xml"/>
  <Override PartName="/ppt/ink/ink232.xml" ContentType="application/inkml+xml"/>
  <Override PartName="/ppt/ink/ink233.xml" ContentType="application/inkml+xml"/>
  <Override PartName="/ppt/ink/ink234.xml" ContentType="application/inkml+xml"/>
  <Override PartName="/ppt/notesSlides/notesSlide1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241" r:id="rId1"/>
  </p:sldMasterIdLst>
  <p:notesMasterIdLst>
    <p:notesMasterId r:id="rId274"/>
  </p:notesMasterIdLst>
  <p:handoutMasterIdLst>
    <p:handoutMasterId r:id="rId275"/>
  </p:handoutMasterIdLst>
  <p:sldIdLst>
    <p:sldId id="356" r:id="rId2"/>
    <p:sldId id="357" r:id="rId3"/>
    <p:sldId id="359" r:id="rId4"/>
    <p:sldId id="570" r:id="rId5"/>
    <p:sldId id="360" r:id="rId6"/>
    <p:sldId id="361" r:id="rId7"/>
    <p:sldId id="362" r:id="rId8"/>
    <p:sldId id="376" r:id="rId9"/>
    <p:sldId id="377" r:id="rId10"/>
    <p:sldId id="569" r:id="rId11"/>
    <p:sldId id="363" r:id="rId12"/>
    <p:sldId id="387" r:id="rId13"/>
    <p:sldId id="368" r:id="rId14"/>
    <p:sldId id="386" r:id="rId15"/>
    <p:sldId id="369" r:id="rId16"/>
    <p:sldId id="364" r:id="rId17"/>
    <p:sldId id="365" r:id="rId18"/>
    <p:sldId id="366" r:id="rId19"/>
    <p:sldId id="367" r:id="rId20"/>
    <p:sldId id="374" r:id="rId21"/>
    <p:sldId id="380" r:id="rId22"/>
    <p:sldId id="370" r:id="rId23"/>
    <p:sldId id="371" r:id="rId24"/>
    <p:sldId id="372" r:id="rId25"/>
    <p:sldId id="571" r:id="rId26"/>
    <p:sldId id="373" r:id="rId27"/>
    <p:sldId id="375" r:id="rId28"/>
    <p:sldId id="382" r:id="rId29"/>
    <p:sldId id="383" r:id="rId30"/>
    <p:sldId id="384" r:id="rId31"/>
    <p:sldId id="385" r:id="rId32"/>
    <p:sldId id="388" r:id="rId33"/>
    <p:sldId id="389" r:id="rId34"/>
    <p:sldId id="390" r:id="rId35"/>
    <p:sldId id="391" r:id="rId36"/>
    <p:sldId id="421" r:id="rId37"/>
    <p:sldId id="395" r:id="rId38"/>
    <p:sldId id="392" r:id="rId39"/>
    <p:sldId id="393" r:id="rId40"/>
    <p:sldId id="394" r:id="rId41"/>
    <p:sldId id="396" r:id="rId42"/>
    <p:sldId id="397" r:id="rId43"/>
    <p:sldId id="398" r:id="rId44"/>
    <p:sldId id="399" r:id="rId45"/>
    <p:sldId id="400" r:id="rId46"/>
    <p:sldId id="401" r:id="rId47"/>
    <p:sldId id="402" r:id="rId48"/>
    <p:sldId id="403" r:id="rId49"/>
    <p:sldId id="404" r:id="rId50"/>
    <p:sldId id="405" r:id="rId51"/>
    <p:sldId id="406" r:id="rId52"/>
    <p:sldId id="407" r:id="rId53"/>
    <p:sldId id="408" r:id="rId54"/>
    <p:sldId id="409" r:id="rId55"/>
    <p:sldId id="411" r:id="rId56"/>
    <p:sldId id="412" r:id="rId57"/>
    <p:sldId id="413" r:id="rId58"/>
    <p:sldId id="410" r:id="rId59"/>
    <p:sldId id="414" r:id="rId60"/>
    <p:sldId id="415" r:id="rId61"/>
    <p:sldId id="416" r:id="rId62"/>
    <p:sldId id="417" r:id="rId63"/>
    <p:sldId id="418" r:id="rId64"/>
    <p:sldId id="419" r:id="rId65"/>
    <p:sldId id="420" r:id="rId66"/>
    <p:sldId id="422" r:id="rId67"/>
    <p:sldId id="423" r:id="rId68"/>
    <p:sldId id="424" r:id="rId69"/>
    <p:sldId id="425" r:id="rId70"/>
    <p:sldId id="426" r:id="rId71"/>
    <p:sldId id="427" r:id="rId72"/>
    <p:sldId id="428" r:id="rId73"/>
    <p:sldId id="429" r:id="rId74"/>
    <p:sldId id="430" r:id="rId75"/>
    <p:sldId id="431" r:id="rId76"/>
    <p:sldId id="432" r:id="rId77"/>
    <p:sldId id="433" r:id="rId78"/>
    <p:sldId id="434" r:id="rId79"/>
    <p:sldId id="435" r:id="rId80"/>
    <p:sldId id="436" r:id="rId81"/>
    <p:sldId id="438" r:id="rId82"/>
    <p:sldId id="439" r:id="rId83"/>
    <p:sldId id="440" r:id="rId84"/>
    <p:sldId id="441" r:id="rId85"/>
    <p:sldId id="442" r:id="rId86"/>
    <p:sldId id="443" r:id="rId87"/>
    <p:sldId id="444" r:id="rId88"/>
    <p:sldId id="445" r:id="rId89"/>
    <p:sldId id="446" r:id="rId90"/>
    <p:sldId id="447" r:id="rId91"/>
    <p:sldId id="448" r:id="rId92"/>
    <p:sldId id="449" r:id="rId93"/>
    <p:sldId id="450" r:id="rId94"/>
    <p:sldId id="451" r:id="rId95"/>
    <p:sldId id="452" r:id="rId96"/>
    <p:sldId id="453" r:id="rId97"/>
    <p:sldId id="454" r:id="rId98"/>
    <p:sldId id="455" r:id="rId99"/>
    <p:sldId id="456" r:id="rId100"/>
    <p:sldId id="459" r:id="rId101"/>
    <p:sldId id="460" r:id="rId102"/>
    <p:sldId id="458" r:id="rId103"/>
    <p:sldId id="572" r:id="rId104"/>
    <p:sldId id="573" r:id="rId105"/>
    <p:sldId id="457" r:id="rId106"/>
    <p:sldId id="462" r:id="rId107"/>
    <p:sldId id="463" r:id="rId108"/>
    <p:sldId id="464" r:id="rId109"/>
    <p:sldId id="465" r:id="rId110"/>
    <p:sldId id="466" r:id="rId111"/>
    <p:sldId id="467" r:id="rId112"/>
    <p:sldId id="582" r:id="rId113"/>
    <p:sldId id="468" r:id="rId114"/>
    <p:sldId id="469" r:id="rId115"/>
    <p:sldId id="470" r:id="rId116"/>
    <p:sldId id="471" r:id="rId117"/>
    <p:sldId id="473" r:id="rId118"/>
    <p:sldId id="474" r:id="rId119"/>
    <p:sldId id="475" r:id="rId120"/>
    <p:sldId id="476" r:id="rId121"/>
    <p:sldId id="477" r:id="rId122"/>
    <p:sldId id="478" r:id="rId123"/>
    <p:sldId id="479" r:id="rId124"/>
    <p:sldId id="574" r:id="rId125"/>
    <p:sldId id="575" r:id="rId126"/>
    <p:sldId id="576" r:id="rId127"/>
    <p:sldId id="578" r:id="rId128"/>
    <p:sldId id="579" r:id="rId129"/>
    <p:sldId id="580" r:id="rId130"/>
    <p:sldId id="480" r:id="rId131"/>
    <p:sldId id="481" r:id="rId132"/>
    <p:sldId id="482" r:id="rId133"/>
    <p:sldId id="483" r:id="rId134"/>
    <p:sldId id="484" r:id="rId135"/>
    <p:sldId id="485" r:id="rId136"/>
    <p:sldId id="486" r:id="rId137"/>
    <p:sldId id="487" r:id="rId138"/>
    <p:sldId id="488" r:id="rId139"/>
    <p:sldId id="489" r:id="rId140"/>
    <p:sldId id="490" r:id="rId141"/>
    <p:sldId id="491" r:id="rId142"/>
    <p:sldId id="492" r:id="rId143"/>
    <p:sldId id="493" r:id="rId144"/>
    <p:sldId id="494" r:id="rId145"/>
    <p:sldId id="495" r:id="rId146"/>
    <p:sldId id="496" r:id="rId147"/>
    <p:sldId id="497" r:id="rId148"/>
    <p:sldId id="498" r:id="rId149"/>
    <p:sldId id="499" r:id="rId150"/>
    <p:sldId id="500" r:id="rId151"/>
    <p:sldId id="501" r:id="rId152"/>
    <p:sldId id="581" r:id="rId153"/>
    <p:sldId id="584" r:id="rId154"/>
    <p:sldId id="585" r:id="rId155"/>
    <p:sldId id="586" r:id="rId156"/>
    <p:sldId id="502" r:id="rId157"/>
    <p:sldId id="503" r:id="rId158"/>
    <p:sldId id="504" r:id="rId159"/>
    <p:sldId id="507" r:id="rId160"/>
    <p:sldId id="505" r:id="rId161"/>
    <p:sldId id="506" r:id="rId162"/>
    <p:sldId id="508" r:id="rId163"/>
    <p:sldId id="589" r:id="rId164"/>
    <p:sldId id="587" r:id="rId165"/>
    <p:sldId id="590" r:id="rId166"/>
    <p:sldId id="592" r:id="rId167"/>
    <p:sldId id="593" r:id="rId168"/>
    <p:sldId id="594" r:id="rId169"/>
    <p:sldId id="595" r:id="rId170"/>
    <p:sldId id="591" r:id="rId171"/>
    <p:sldId id="509" r:id="rId172"/>
    <p:sldId id="510" r:id="rId173"/>
    <p:sldId id="511" r:id="rId174"/>
    <p:sldId id="512" r:id="rId175"/>
    <p:sldId id="513" r:id="rId176"/>
    <p:sldId id="514" r:id="rId177"/>
    <p:sldId id="515" r:id="rId178"/>
    <p:sldId id="516" r:id="rId179"/>
    <p:sldId id="517" r:id="rId180"/>
    <p:sldId id="518" r:id="rId181"/>
    <p:sldId id="519" r:id="rId182"/>
    <p:sldId id="520" r:id="rId183"/>
    <p:sldId id="521" r:id="rId184"/>
    <p:sldId id="522" r:id="rId185"/>
    <p:sldId id="523" r:id="rId186"/>
    <p:sldId id="524" r:id="rId187"/>
    <p:sldId id="525" r:id="rId188"/>
    <p:sldId id="526" r:id="rId189"/>
    <p:sldId id="527" r:id="rId190"/>
    <p:sldId id="528" r:id="rId191"/>
    <p:sldId id="596" r:id="rId192"/>
    <p:sldId id="534" r:id="rId193"/>
    <p:sldId id="535" r:id="rId194"/>
    <p:sldId id="536" r:id="rId195"/>
    <p:sldId id="532" r:id="rId196"/>
    <p:sldId id="529" r:id="rId197"/>
    <p:sldId id="583" r:id="rId198"/>
    <p:sldId id="599" r:id="rId199"/>
    <p:sldId id="610" r:id="rId200"/>
    <p:sldId id="611" r:id="rId201"/>
    <p:sldId id="600" r:id="rId202"/>
    <p:sldId id="601" r:id="rId203"/>
    <p:sldId id="609" r:id="rId204"/>
    <p:sldId id="602" r:id="rId205"/>
    <p:sldId id="603" r:id="rId206"/>
    <p:sldId id="606" r:id="rId207"/>
    <p:sldId id="607" r:id="rId208"/>
    <p:sldId id="608" r:id="rId209"/>
    <p:sldId id="530" r:id="rId210"/>
    <p:sldId id="533" r:id="rId211"/>
    <p:sldId id="537" r:id="rId212"/>
    <p:sldId id="538" r:id="rId213"/>
    <p:sldId id="539" r:id="rId214"/>
    <p:sldId id="540" r:id="rId215"/>
    <p:sldId id="541" r:id="rId216"/>
    <p:sldId id="542" r:id="rId217"/>
    <p:sldId id="543" r:id="rId218"/>
    <p:sldId id="622" r:id="rId219"/>
    <p:sldId id="623" r:id="rId220"/>
    <p:sldId id="624" r:id="rId221"/>
    <p:sldId id="546" r:id="rId222"/>
    <p:sldId id="547" r:id="rId223"/>
    <p:sldId id="548" r:id="rId224"/>
    <p:sldId id="549" r:id="rId225"/>
    <p:sldId id="550" r:id="rId226"/>
    <p:sldId id="551" r:id="rId227"/>
    <p:sldId id="552" r:id="rId228"/>
    <p:sldId id="553" r:id="rId229"/>
    <p:sldId id="554" r:id="rId230"/>
    <p:sldId id="555" r:id="rId231"/>
    <p:sldId id="556" r:id="rId232"/>
    <p:sldId id="557" r:id="rId233"/>
    <p:sldId id="558" r:id="rId234"/>
    <p:sldId id="559" r:id="rId235"/>
    <p:sldId id="560" r:id="rId236"/>
    <p:sldId id="561" r:id="rId237"/>
    <p:sldId id="562" r:id="rId238"/>
    <p:sldId id="563" r:id="rId239"/>
    <p:sldId id="564" r:id="rId240"/>
    <p:sldId id="565" r:id="rId241"/>
    <p:sldId id="566" r:id="rId242"/>
    <p:sldId id="567" r:id="rId243"/>
    <p:sldId id="633" r:id="rId244"/>
    <p:sldId id="531" r:id="rId245"/>
    <p:sldId id="568" r:id="rId246"/>
    <p:sldId id="628" r:id="rId247"/>
    <p:sldId id="612" r:id="rId248"/>
    <p:sldId id="613" r:id="rId249"/>
    <p:sldId id="614" r:id="rId250"/>
    <p:sldId id="615" r:id="rId251"/>
    <p:sldId id="616" r:id="rId252"/>
    <p:sldId id="617" r:id="rId253"/>
    <p:sldId id="618" r:id="rId254"/>
    <p:sldId id="619" r:id="rId255"/>
    <p:sldId id="620" r:id="rId256"/>
    <p:sldId id="621" r:id="rId257"/>
    <p:sldId id="627" r:id="rId258"/>
    <p:sldId id="379" r:id="rId259"/>
    <p:sldId id="437" r:id="rId260"/>
    <p:sldId id="358" r:id="rId261"/>
    <p:sldId id="597" r:id="rId262"/>
    <p:sldId id="598" r:id="rId263"/>
    <p:sldId id="461" r:id="rId264"/>
    <p:sldId id="625" r:id="rId265"/>
    <p:sldId id="629" r:id="rId266"/>
    <p:sldId id="630" r:id="rId267"/>
    <p:sldId id="631" r:id="rId268"/>
    <p:sldId id="632" r:id="rId269"/>
    <p:sldId id="472" r:id="rId270"/>
    <p:sldId id="626" r:id="rId271"/>
    <p:sldId id="604" r:id="rId272"/>
    <p:sldId id="605" r:id="rId273"/>
  </p:sldIdLst>
  <p:sldSz cx="9144000" cy="5143500" type="screen16x9"/>
  <p:notesSz cx="7010400" cy="9296400"/>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72">
          <p15:clr>
            <a:srgbClr val="A4A3A4"/>
          </p15:clr>
        </p15:guide>
        <p15:guide id="2" pos="5577">
          <p15:clr>
            <a:srgbClr val="A4A3A4"/>
          </p15:clr>
        </p15:guide>
        <p15:guide id="3" pos="180">
          <p15:clr>
            <a:srgbClr val="A4A3A4"/>
          </p15:clr>
        </p15:guide>
        <p15:guide id="4" orient="horz" pos="167">
          <p15:clr>
            <a:srgbClr val="A4A3A4"/>
          </p15:clr>
        </p15:guide>
        <p15:guide id="5" pos="16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ah, Beng Mey" initials="CBM" lastIdx="5" clrIdx="0">
    <p:extLst>
      <p:ext uri="{19B8F6BF-5375-455C-9EA6-DF929625EA0E}">
        <p15:presenceInfo xmlns:p15="http://schemas.microsoft.com/office/powerpoint/2012/main" userId="S-1-5-21-1971345664-1559653683-1850952788-208039" providerId="AD"/>
      </p:ext>
    </p:extLst>
  </p:cmAuthor>
  <p:cmAuthor id="2" name="R2, Arun" initials="RA" lastIdx="6" clrIdx="1">
    <p:extLst>
      <p:ext uri="{19B8F6BF-5375-455C-9EA6-DF929625EA0E}">
        <p15:presenceInfo xmlns:p15="http://schemas.microsoft.com/office/powerpoint/2012/main" userId="S::Arun_R2@dell.com::4ce6e22d-8e4c-415a-bdf8-c4b2db8d37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53" autoAdjust="0"/>
    <p:restoredTop sz="94434" autoAdjust="0"/>
  </p:normalViewPr>
  <p:slideViewPr>
    <p:cSldViewPr snapToGrid="0">
      <p:cViewPr varScale="1">
        <p:scale>
          <a:sx n="137" d="100"/>
          <a:sy n="137" d="100"/>
        </p:scale>
        <p:origin x="912" y="96"/>
      </p:cViewPr>
      <p:guideLst>
        <p:guide orient="horz" pos="3072"/>
        <p:guide pos="5577"/>
        <p:guide pos="180"/>
        <p:guide orient="horz" pos="167"/>
        <p:guide pos="168"/>
      </p:guideLst>
    </p:cSldViewPr>
  </p:slideViewPr>
  <p:notesTextViewPr>
    <p:cViewPr>
      <p:scale>
        <a:sx n="3" d="2"/>
        <a:sy n="3" d="2"/>
      </p:scale>
      <p:origin x="0" y="0"/>
    </p:cViewPr>
  </p:notesTextViewPr>
  <p:sorterViewPr>
    <p:cViewPr>
      <p:scale>
        <a:sx n="100" d="100"/>
        <a:sy n="100" d="100"/>
      </p:scale>
      <p:origin x="0" y="-33516"/>
    </p:cViewPr>
  </p:sorter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58" Type="http://schemas.openxmlformats.org/officeDocument/2006/relationships/slide" Target="slides/slide257.xml"/><Relationship Id="rId279" Type="http://schemas.openxmlformats.org/officeDocument/2006/relationships/theme" Target="theme/theme1.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tableStyles" Target="tableStyles.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notesMaster" Target="notesMasters/notesMaster1.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handoutMaster" Target="handoutMasters/handoutMaster1.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commentAuthors" Target="commentAuthors.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presProps" Target="presProps.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viewProps" Target="viewProps.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7865ABAC-9291-4D87-9512-817B6B64A1EE}" type="datetimeFigureOut">
              <a:rPr lang="en-US" smtClean="0"/>
              <a:t>2/17/2022</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52CBB36E-289C-400C-9E73-A4320D1DC1F4}" type="slidenum">
              <a:rPr lang="en-US" smtClean="0"/>
              <a:t>‹#›</a:t>
            </a:fld>
            <a:endParaRPr lang="en-US"/>
          </a:p>
        </p:txBody>
      </p:sp>
      <p:sp>
        <p:nvSpPr>
          <p:cNvPr id="6" name="fl" descr="                              Dell - Internal Use - Confidential&#10;"/>
          <p:cNvSpPr txBox="1"/>
          <p:nvPr/>
        </p:nvSpPr>
        <p:spPr>
          <a:xfrm>
            <a:off x="0" y="8737600"/>
            <a:ext cx="7010400" cy="592470"/>
          </a:xfrm>
          <a:prstGeom prst="rect">
            <a:avLst/>
          </a:prstGeom>
          <a:noFill/>
        </p:spPr>
        <p:txBody>
          <a:bodyPr vert="horz" rtlCol="0">
            <a:spAutoFit/>
          </a:bodyPr>
          <a:lstStyle/>
          <a:p>
            <a:r>
              <a:rPr lang="en-US" sz="850" b="1">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0010410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0.933"/>
    </inkml:context>
    <inkml:brush xml:id="br0">
      <inkml:brushProperty name="width" value="0.025" units="cm"/>
      <inkml:brushProperty name="height" value="0.025" units="cm"/>
      <inkml:brushProperty name="ignorePressure" value="1"/>
    </inkml:brush>
  </inkml:definitions>
  <inkml:trace contextRef="#ctx0" brushRef="#br0">37 1,'0'3,"0"5,0 4,0 3,-3 3,-1 1,0 0,1 2,0-1,2 0,-3 0,-1 0,1-1,0 1,2-4</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1.573"/>
    </inkml:context>
    <inkml:brush xml:id="br0">
      <inkml:brushProperty name="width" value="0.025" units="cm"/>
      <inkml:brushProperty name="height" value="0.025" units="cm"/>
      <inkml:brushProperty name="ignorePressure" value="1"/>
    </inkml:brush>
  </inkml:definitions>
  <inkml:trace contextRef="#ctx0" brushRef="#br0">41 1,'-4'3,"0"5,0 4,0 3,2 3,-3 1,0 1,0 0,2 1,0-1,2-4</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9.970"/>
    </inkml:context>
    <inkml:brush xml:id="br0">
      <inkml:brushProperty name="width" value="0.05" units="cm"/>
      <inkml:brushProperty name="height" value="0.05" units="cm"/>
      <inkml:brushProperty name="ignorePressure" value="1"/>
    </inkml:brush>
  </inkml:definitions>
  <inkml:trace contextRef="#ctx0" brushRef="#br0">1 58,'6'-4,"6"0,5 0,1 0,2-1,1-1,-1 1,1 1,-1-1,0-1,0 1,0 2,-4 0</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2.952"/>
    </inkml:context>
    <inkml:brush xml:id="br0">
      <inkml:brushProperty name="width" value="0.05" units="cm"/>
      <inkml:brushProperty name="height" value="0.05" units="cm"/>
      <inkml:brushProperty name="ignorePressure" value="1"/>
    </inkml:brush>
  </inkml:definitions>
  <inkml:trace contextRef="#ctx0" brushRef="#br0">1 219,'23'-25,"-21"22,1-1,0 1,-1 0,1-1,1 2,-1-1,0 0,1 0,-1 1,1 0,0 0,-1 0,1 0,0 1,0-1,0 1,1 0,-1 0,0 0,0 1,1 0,-1 0,5 0,59 14,-53-10,-1 0,0-1,1-1,19 1,-30-3,1-1,-1 1,0-1,1 0,-1 0,0 0,1 0,-1-1,0 0,0 0,0 0,0 0,-1-1,1 1,0-1,-1 0,0 0,5-5,-3 1,0-1,-1 1,0-1,0 0,-1 0,5-12,-6 11,1 1,0 0,1 0,0 0,0 1,6-8,0 4</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3.609"/>
    </inkml:context>
    <inkml:brush xml:id="br0">
      <inkml:brushProperty name="width" value="0.05" units="cm"/>
      <inkml:brushProperty name="height" value="0.05" units="cm"/>
      <inkml:brushProperty name="ignorePressure" value="1"/>
    </inkml:brush>
  </inkml:definitions>
  <inkml:trace contextRef="#ctx0" brushRef="#br0">0 40,'1'-1,"-1"-1,0 0,1 1,0-1,-1 0,1 1,0-1,0 1,0-1,0 1,0-1,0 1,1 0,-1-1,0 1,1 0,-1 0,1 0,-1 0,1 0,-1 1,1-1,-1 0,1 1,0-1,0 1,-1-1,1 1,2 0,52-6,-56 6,5-1,0 1,0 0,0 1,0-1,0 1,0 0,-1 0,1 0,0 1,-1-1,1 1,-1 0,1 1,-1-1,0 1,0 0,5 4,-7-4,0 0,0 0,-1 0,1 0,-1 0,1 0,-1 0,0 1,0-1,0 0,-1 1,1-1,-1 1,0-1,0 1,0-1,0 0,-1 1,1-1,-1 1,0-1,0 0,0 1,0-1,-3 3,-1 6,-2 0,0-1,0 0,-1 0,-1 0,-16 15,-24 32,49-57,-1-1,1 0,0 1,-1-1,1 0,0 1,0-1,-1 1,1-1,0 1,0-1,0 0,-1 1,1-1,0 1,0-1,0 1,0-1,0 1,0-1,0 1,0-1,0 1,0-1,0 1,0-1,1 1,-1-1,0 0,0 1,0-1,1 1,-1-1,1 1,17 3,24-11,130-50,-160 52</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4.798"/>
    </inkml:context>
    <inkml:brush xml:id="br0">
      <inkml:brushProperty name="width" value="0.05" units="cm"/>
      <inkml:brushProperty name="height" value="0.05" units="cm"/>
      <inkml:brushProperty name="ignorePressure" value="1"/>
    </inkml:brush>
  </inkml:definitions>
  <inkml:trace contextRef="#ctx0" brushRef="#br0">207 45,'1'0,"-1"1,0-1,1 0,-1 0,1 0,-1 0,1 0,-1 0,0 0,1 0,-1 0,1 0,-1-1,1 1,-1 0,0 0,1 0,-1 0,1 0,-1-1,0 1,1 0,-1 0,0-1,1 1,-1 0,0-1,0 1,1 0,-1-1,0 1,0 0,1-1,-1 1,0-1,0 1,0 0,0-2,0 2,0-1,0 0,-1 1,1-1,-1 1,1-1,0 1,-1-1,1 1,-1-1,1 1,-1-1,0 1,1 0,-1-1,1 1,-1 0,0-1,1 1,-1 0,0 0,1 0,-1 0,0-1,0 1,-12 0,1 1,-1 0,1 0,0 1,0 1,-1 0,2 0,-1 2,0-1,1 1,0 1,0 0,0 1,-13 10,22-15,1 0,-1-1,1 1,0 0,0-1,0 1,0 0,0 0,0 0,0 0,0 0,1 0,-1 0,1 1,0-1,-1 0,1 0,0 0,0 0,1 1,-1-1,0 0,1 0,-1 0,1 0,0 0,-1 0,1 0,0 0,0 0,0 0,1-1,-1 1,0 0,1-1,-1 1,3 1,8 9,1-1,0 0,27 17,-17-12,-21-15,0 0,0 0,-1 1,1-1,0 1,-1-1,1 1,-1 0,0-1,1 1,-1 0,0 0,0 0,0 0,-1 0,1 0,0 0,-1 0,1 0,-1 0,0 0,0 1,1-1,-2 0,1 0,0 0,0 0,-1 1,1-1,-1 0,1 0,-1 0,0 0,0 0,0 0,0 0,0-1,-1 1,1 0,0 0,-1-1,1 1,-1-1,0 0,1 1,-1-1,0 0,0 0,0 0,0 0,0 0,0 0,0-1,0 1,0-1,0 0,-1 1,1-1,0 0,0 0,0 0,0 0,-1-1,1 1,0-1,-3 0,5 1,-1-1,1 1,-1 0,0 0,1 0,-1-1,1 1,-1 0,1-1,-1 1,1-1,-1 1,1 0,0-1,-1 1,1-1,0 1,-1-1,1 1,0-1,0 0,-1 1,1-1,0 1,0-1,0 0,0 1,0-1,0 1,0-1,0 0,10-21,28-18,-34 37,16-15,-4 5,-2 0,1-2,-2 1,21-29,-32 40,0 0,0 0,-1 0,1-1,0 1,-1 0,0-1,0 1,0-1,0 0,-1 1,1-1,-1 1,0-1,0 0,0 1,-1-1,1 0,-1 1,0-1,0 1,0-1,0 1,-1 0,0-1,1 1,-1 0,0 0,0 0,-1 0,1 0,-4-3,3 4,0-1,0 1,0 0,0 0,0 0,0 1,0-1,-1 1,1 0,0 0,-1 0,1 0,-6 0,-8-1</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5.203"/>
    </inkml:context>
    <inkml:brush xml:id="br0">
      <inkml:brushProperty name="width" value="0.05" units="cm"/>
      <inkml:brushProperty name="height" value="0.05" units="cm"/>
      <inkml:brushProperty name="ignorePressure" value="1"/>
    </inkml:brush>
  </inkml:definitions>
  <inkml:trace contextRef="#ctx0" brushRef="#br0">78 1,'-6'3,"1"1,0 0,0 0,1 0,-1 0,1 1,0 0,0 0,0 0,1 0,0 1,0-1,0 1,1 0,-3 9,2-8,1 1,0 0,0 0,1 0,0-1,0 1,1 0,0 1,0-1,1-1,3 15,-2-18,0 0,0 0,0-1,0 1,1 0,-1-1,1 1,0-1,0 0,1 0,-1 0,1-1,-1 1,1-1,0 0,0 0,0 0,0 0,0-1,0 1,0-1,1 0,-1 0,0-1,1 0,-1 1,0-1,1-1,-1 1,6-2,-5 2,0-1,1 1,-1-1,0-1,0 1,0-1,0 0,0 0,0-1,-1 1,1-1,-1 0,1 0,-1-1,0 1,-1-1,1 0,0 0,-1 0,0 0,0-1,0 1,-1-1,4-9,-4 6,-1 0,1 0,-2 0,1 0,-1 0,-1 0,1-1,-3-7,3 12,-1 0,0 0,-1 0,1 0,0 1,-1-1,0 0,0 1,0-1,0 1,-1-1,0 1,1 0,-1 0,0 0,0 1,-6-4,-9-3</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5.555"/>
    </inkml:context>
    <inkml:brush xml:id="br0">
      <inkml:brushProperty name="width" value="0.05" units="cm"/>
      <inkml:brushProperty name="height" value="0.05" units="cm"/>
      <inkml:brushProperty name="ignorePressure" value="1"/>
    </inkml:brush>
  </inkml:definitions>
  <inkml:trace contextRef="#ctx0" brushRef="#br0">1 55,'0'9,"0"1,1-1,-1 0,2 1,-1-1,1 0,1 0,0 0,4 9,-4-14,-1 0,1 0,0-1,0 1,0-1,0 0,1 0,-1 0,1 0,0 0,0-1,0 0,0 0,0 0,0 0,1-1,-1 1,0-1,1 0,6 0,9 2,0-1,0-1,0-1,0-1,30-5,-43 5,-1-1,0 1,1-2,-1 1,0-1,-1 1,1-2,0 1,6-5,-10 5,1 1,0-1,-1 0,0 0,1 0,-1 0,0 0,-1 0,1-1,0 1,-1 0,0-1,0 0,0 1,0-1,-1 0,1-4,-1 4,0-1,-1 1,0-1,0 1,0 0,0 0,0-1,-1 1,0 0,0 0,0 0,0 1,-1-1,0 0,1 1,-1 0,0 0,-1 0,1 0,0 0,-1 0,0 1,0 0,1 0,-1 0,-1 0,-3-1,-2-1,0 0,0 1,0 1,0 0,0 0,0 1,-1 0,1 0,-1 1,-14 3,-1 2,-48 18,52-14</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2.443"/>
    </inkml:context>
    <inkml:brush xml:id="br0">
      <inkml:brushProperty name="width" value="0.05" units="cm"/>
      <inkml:brushProperty name="height" value="0.05" units="cm"/>
      <inkml:brushProperty name="ignorePressure" value="1"/>
    </inkml:brush>
  </inkml:definitions>
  <inkml:trace contextRef="#ctx0" brushRef="#br0">197 3,'-12'-1,"13"-1,1 2,-1 0,1 0,0 1,-1-1,1 0,-1 1,1-1,-1 1,0-1,1 1,-1 0,1 0,-1-1,2 3,0-1,-1-1,1 1,-1 1,1-1,-1 0,0 1,0-1,0 1,0-1,-1 1,1 0,-1 0,1 0,-1 0,0 0,0 0,-1 0,1 0,0 1,-1 5,0-4,-1 0,0-1,-1 1,1 0,-1 0,0-1,0 1,0-1,0 1,-1-1,0 0,-4 5,-7 6,-1 1,-1-2,0 0,-1-1,-22 13,7-10,26-13,-1-1,1 1,0 0,0 1,0 0,0 0,1 0,0 0,-7 8,12-12,-1 1,1-1,0 1,0-1,0 1,0-1,0 1,0-1,0 1,0 0,0-1,0 1,0-1,0 1,1-1,-1 1,0-1,0 1,0-1,1 1,-1-1,0 1,1-1,-1 0,0 1,1-1,-1 1,1-1,-1 0,0 1,1-1,-1 0,1 0,-1 1,1-1,-1 0,1 0,-1 0,1 0,-1 1,1-1,-1 0,1 0,0 0,0 0,29 4,-28-4,104 1,-85-1</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3.276"/>
    </inkml:context>
    <inkml:brush xml:id="br0">
      <inkml:brushProperty name="width" value="0.05" units="cm"/>
      <inkml:brushProperty name="height" value="0.05" units="cm"/>
      <inkml:brushProperty name="ignorePressure" value="1"/>
    </inkml:brush>
  </inkml:definitions>
  <inkml:trace contextRef="#ctx0" brushRef="#br0">172 2,'1'-1,"-1"1,0 0,0 0,0 0,1 0,-1 0,0 0,0 0,0 0,1 0,-1 0,0 0,0 0,1 0,-1 0,0 0,0 0,1 0,-1 0,0 0,0 0,0 0,1 0,-1 0,0 0,0 0,0 0,1 0,-1 1,0-1,0 0,0 0,0 0,1 0,-1 1,0-1,0 0,0 0,0 0,0 1,0-1,1 0,-1 0,0 0,0 1,0-1,0 0,0 0,0 1,0-1,0 0,0 0,0 0,0 1,0-1,0 0,-1 1,-13 13,-26 11,30-20,0 0,1 0,0 1,0 0,1 0,-13 13,20-18,0-1,1 1,-1 0,0 0,1 0,-1 0,1 0,-1 0,1 0,-1 0,1 1,0-1,0 0,-1 0,1 0,0 0,0 0,0 1,0-1,0 0,1 0,-1 0,0 2,2-1,-1 0,1 0,-1 0,1 0,0 0,-1-1,1 1,0-1,0 1,1-1,-1 1,0-1,0 0,0 0,4 1,1 1,1 0,1 1,-1-1,-1 2,1-1,10 9,-17-13,0 1,0 0,-1 0,1 0,0 0,0 0,0 0,-1 0,1 1,-1-1,1 0,-1 0,1 0,-1 1,1-1,-1 0,0 1,0-1,0 0,0 0,0 1,0-1,0 0,0 1,-1-1,1 0,0 0,-1 1,1-1,-1 0,1 0,-1 0,0 0,1 1,-1-1,0 0,0 0,0 0,0-1,0 1,0 0,0 0,0 0,0-1,-2 2,-4 3,0-1,0 0,-1 0,0 0,1-1,-1 0,0-1,-1 1,1-2,0 1,-1-1,-14 0,5-1</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3.863"/>
    </inkml:context>
    <inkml:brush xml:id="br0">
      <inkml:brushProperty name="width" value="0.05" units="cm"/>
      <inkml:brushProperty name="height" value="0.05" units="cm"/>
      <inkml:brushProperty name="ignorePressure" value="1"/>
    </inkml:brush>
  </inkml:definitions>
  <inkml:trace contextRef="#ctx0" brushRef="#br0">77 0,'10'0,"1"0,0 1,-1 0,1 1,18 4,-27-5,0 0,0-1,0 1,0 0,0 0,0 0,-1 1,1-1,0 0,-1 1,1-1,-1 1,1 0,-1-1,0 1,1 0,-1 0,0 0,0 0,-1 0,1 0,0 0,-1 0,1 0,-1 0,1 0,-1 0,0 1,0-1,0 0,0 0,-1 0,1 0,0 0,-2 4,0 0,0-1,-1 0,0 1,0-1,0 0,0 0,-1 0,0-1,0 1,0-1,0 0,-7 5,-63 42,65-46,-47 35,56-40,0 0,-1 0,1 1,0-1,0 0,0 0,0 0,0 0,-1 1,1-1,0 0,0 0,0 0,0 0,0 1,0-1,0 0,0 0,0 0,0 1,0-1,0 0,0 0,0 1,0-1,0 0,0 0,0 0,0 1,0-1,0 0,0 0,0 0,0 1,0-1,0 0,0 0,1 0,-1 0,0 1,0-1,0 0,0 0,0 0,1 0,-1 0,0 1,16 3,16-2,71-20,-86 16</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4.180"/>
    </inkml:context>
    <inkml:brush xml:id="br0">
      <inkml:brushProperty name="width" value="0.05" units="cm"/>
      <inkml:brushProperty name="height" value="0.05" units="cm"/>
      <inkml:brushProperty name="ignorePressure" value="1"/>
    </inkml:brush>
  </inkml:definitions>
  <inkml:trace contextRef="#ctx0" brushRef="#br0">58 1,'-3'7,"-2"5,1 4,-2-1,-1 1,1 0,2 2,1 0,-2 1,0 0,1 0,1 1,0-4</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2.273"/>
    </inkml:context>
    <inkml:brush xml:id="br0">
      <inkml:brushProperty name="width" value="0.025" units="cm"/>
      <inkml:brushProperty name="height" value="0.025" units="cm"/>
      <inkml:brushProperty name="ignorePressure" value="1"/>
    </inkml:brush>
  </inkml:definitions>
  <inkml:trace contextRef="#ctx0" brushRef="#br0">19 4,'-2'2,"0"0,0 0,1 0,-1 0,1 0,0 1,-1-1,1 0,0 1,0-1,1 1,-1 0,0-1,1 1,0 0,0-1,-1 1,1 0,1-1,-1 1,0 0,1-1,-1 1,1-1,0 1,0-1,0 1,0-1,0 1,1-1,-1 0,1 0,-1 0,1 0,0 0,0 0,0 0,0 0,0-1,0 1,5 2,-5-3,-1 0,1 1,0-1,0 0,-1 0,1 0,0-1,0 1,0 0,0-1,0 1,0-1,0 1,0-1,0 0,0 0,0 0,1 0,-1 0,0-1,0 1,0-1,0 1,0-1,0 0,-1 1,1-1,0 0,0 0,0-1,-1 1,1 0,0 0,-1-1,0 1,1-1,-1 0,0 1,1-1,-1 0,0 0,0 0,-1 1,1-1,0 0,-1 0,1 0,-1 0,1 0,-1-1,0 1,0-2,0 1,0 1,0 0,0-1,0 1,0-1,-1 1,1-1,-1 1,0 0,1-1,-1 1,0 0,-1 0,1 0,0 0,0 0,-1 0,1 0,-1 0,0 0,0 1,1-1,-1 0,0 1,0 0,-1 0,1-1,0 1,0 0,0 1,-1-1,1 0,0 1,-1-1,1 1,-4-1,-10 0</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4.931"/>
    </inkml:context>
    <inkml:brush xml:id="br0">
      <inkml:brushProperty name="width" value="0.05" units="cm"/>
      <inkml:brushProperty name="height" value="0.05" units="cm"/>
      <inkml:brushProperty name="ignorePressure" value="1"/>
    </inkml:brush>
  </inkml:definitions>
  <inkml:trace contextRef="#ctx0" brushRef="#br0">8 12,'0'-3,"-3"-2,-1 1</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5.276"/>
    </inkml:context>
    <inkml:brush xml:id="br0">
      <inkml:brushProperty name="width" value="0.05" units="cm"/>
      <inkml:brushProperty name="height" value="0.05" units="cm"/>
      <inkml:brushProperty name="ignorePressure" value="1"/>
    </inkml:brush>
  </inkml:definitions>
  <inkml:trace contextRef="#ctx0" brushRef="#br0">161 0,'-7'12,"-1"-1,1-1,-2 0,0 0,0 0,0-1,-18 13,13-11,1 0,1 1,-16 19,27-30,0-1,1 1,-1 0,0 0,1 0,-1 0,1 0,-1 0,1 0,-1 0,1 1,0-1,-1 0,1 0,0 0,0 0,0 0,0 0,0 1,0-1,0 0,0 0,1 0,-1 0,0 0,1 0,-1 1,1-1,-1 0,1 0,-1 0,1-1,0 1,-1 0,1 0,0 0,0 0,0-1,0 1,0 0,0-1,0 1,0 0,0-1,0 0,0 1,2 0,4 1,0 1,0-2,0 1,0 0,15 0,-4-2</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5.609"/>
    </inkml:context>
    <inkml:brush xml:id="br0">
      <inkml:brushProperty name="width" value="0.05" units="cm"/>
      <inkml:brushProperty name="height" value="0.05" units="cm"/>
      <inkml:brushProperty name="ignorePressure" value="1"/>
    </inkml:brush>
  </inkml:definitions>
  <inkml:trace contextRef="#ctx0" brushRef="#br0">95 0,'-3'4,"-2"3,-2 5,-1 3,1 3,-1 1,0 1,3 0,-3-3,1-1,2-1,-3-2,2 0,0 1,2-2</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6.127"/>
    </inkml:context>
    <inkml:brush xml:id="br0">
      <inkml:brushProperty name="width" value="0.05" units="cm"/>
      <inkml:brushProperty name="height" value="0.05" units="cm"/>
      <inkml:brushProperty name="ignorePressure" value="1"/>
    </inkml:brush>
  </inkml:definitions>
  <inkml:trace contextRef="#ctx0" brushRef="#br0">113 1,'-4'0,"-3"0,-5 3,-3 2,-3-1,-1 3,0 0,5 2,9-1,9-1,6 1,6 3,-1 2,-2 3,-1 2,-2-2</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7.172"/>
    </inkml:context>
    <inkml:brush xml:id="br0">
      <inkml:brushProperty name="width" value="0.05" units="cm"/>
      <inkml:brushProperty name="height" value="0.05" units="cm"/>
      <inkml:brushProperty name="ignorePressure" value="1"/>
    </inkml:brush>
  </inkml:definitions>
  <inkml:trace contextRef="#ctx0" brushRef="#br0">77 16,'0'-1,"0"0,0 1,0-1,0 1,0-1,0 0,0 1,-1-1,1 1,0-1,0 0,-1 1,1-1,0 1,-1-1,1 1,-1-1,1 1,0-1,-1 1,1 0,-1-1,1 1,-1 0,1-1,-1 1,0 0,1-1,-1 1,1 0,-1 0,-1 0,-25 3,25-2,0-1,0 1,0-1,0 1,1 0,-1 0,0 0,1 0,-1 0,0 0,1 1,0-1,-1 0,1 1,0-1,-1 1,1-1,0 1,0 0,0 0,1-1,-1 1,0 0,1 0,-1 0,1 0,-1 2,2-1,0 0,1 0,-1-1,1 1,0-1,0 1,0-1,0 0,0 0,0 1,0-2,1 1,-1 0,4 1,-3 0,1-1,-1 0,0 1,0 0,0-1,-1 1,1 0,0 1,-1-1,2 4,-2-2,-1 1,0-1,0 1,0-1,-1 1,0 0,0-1,0 1,-1-1,0 1,-2 8,-23 63,18-56,1-5</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8.536"/>
    </inkml:context>
    <inkml:brush xml:id="br0">
      <inkml:brushProperty name="width" value="0.05" units="cm"/>
      <inkml:brushProperty name="height" value="0.05" units="cm"/>
      <inkml:brushProperty name="ignorePressure" value="1"/>
    </inkml:brush>
  </inkml:definitions>
  <inkml:trace contextRef="#ctx0" brushRef="#br0">191 0,'-74'6,"69"-5,-1 0,1 1,-1-1,1 1,0 0,0 0,-1 1,1 0,1 0,-9 6,13-9,-1 1,0 0,1 0,-1 0,1 0,-1-1,1 1,-1 0,1 0,0 0,-1 0,1 0,0 0,0 0,0 0,0 0,0 0,0 0,0 0,0 0,0 0,0 0,0 0,1 0,-1 0,0 0,1 0,-1 0,1 0,-1 0,1 0,0-1,-1 1,1 0,0 0,-1-1,1 1,0 0,1 0,43 31,-29-22,-14-9,-1 0,1 1,0-1,-1 0,1 1,-1-1,1 1,-1-1,0 1,1 0,-1 0,0-1,0 1,0 0,-1 0,1 0,0 0,-1 0,1 0,-1 0,0 0,0 0,0 3,0-2,-1 0,0-1,0 1,-1 0,1-1,-1 0,1 1,-1-1,1 0,-1 0,0 1,0-1,0-1,-5 4,-6 4,0-2,0 1,-1-2,1 0,-17 5,12-6</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8.857"/>
    </inkml:context>
    <inkml:brush xml:id="br0">
      <inkml:brushProperty name="width" value="0.05" units="cm"/>
      <inkml:brushProperty name="height" value="0.05" units="cm"/>
      <inkml:brushProperty name="ignorePressure" value="1"/>
    </inkml:brush>
  </inkml:definitions>
  <inkml:trace contextRef="#ctx0" brushRef="#br0">120 0,'0'7,"0"5,-3 7,-1 4,-1 4,2 5,-3 3,0 2,-2 5,-3 5,0 5,-1-1,-2-1,1-4,0 1,2-7</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0.237"/>
    </inkml:context>
    <inkml:brush xml:id="br0">
      <inkml:brushProperty name="width" value="0.05" units="cm"/>
      <inkml:brushProperty name="height" value="0.05" units="cm"/>
      <inkml:brushProperty name="ignorePressure" value="1"/>
    </inkml:brush>
  </inkml:definitions>
  <inkml:trace contextRef="#ctx0" brushRef="#br0">288 2,'-18'-1,"1"1,0 0,0 2,-1 0,1 1,0 0,1 1,-21 9,36-13,0 0,0 1,0-1,-1 1,1-1,0 1,0-1,0 1,0 0,0-1,1 1,-1 0,0 0,0 0,0 0,1-1,-1 1,0 0,1 0,-1 1,1-1,-1 0,1 0,0 0,-1 0,1 0,0 0,0 1,0-1,0 0,0 0,0 0,0 0,0 1,0-1,1 0,-1 0,1 2,2 3,1 0,0 0,1 0,-1-1,10 9,-10-11,-1 0,0 0,0 0,-1 0,1 0,0 1,-1-1,0 1,0-1,0 1,0 0,-1 0,2 5,-4-6,1 0,-1 0,0 0,0 1,-1-1,1 0,-1 0,1-1,-1 1,0 0,0-1,0 1,-1-1,1 1,0-1,-1 0,0 0,1 0,-1 0,0-1,0 1,0-1,0 0,-7 2,3 0,-1-1,0 0,0 0,0-1,-1 0,1 0,0-1,-17-1,8-3</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0.572"/>
    </inkml:context>
    <inkml:brush xml:id="br0">
      <inkml:brushProperty name="width" value="0.05" units="cm"/>
      <inkml:brushProperty name="height" value="0.05" units="cm"/>
      <inkml:brushProperty name="ignorePressure" value="1"/>
    </inkml:brush>
  </inkml:definitions>
  <inkml:trace contextRef="#ctx0" brushRef="#br0">197 1,'-2'30,"-2"-1,-2 0,0 1,-2-2,-1 1,-15 30,-8 30,-64 155,88-205,6-23</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056"/>
    </inkml:context>
    <inkml:brush xml:id="br0">
      <inkml:brushProperty name="width" value="0.05" units="cm"/>
      <inkml:brushProperty name="height" value="0.05" units="cm"/>
      <inkml:brushProperty name="ignorePressure" value="1"/>
    </inkml:brush>
  </inkml:definitions>
  <inkml:trace contextRef="#ctx0" brushRef="#br0">109 2,'2'-1,"-1"1,1 0,-1 0,1 0,0 0,-1 0,1 0,-1 0,1 1,-1-1,1 1,-1-1,1 1,-1-1,1 1,-1 0,1 0,-1-1,0 1,0 0,1 0,-1 1,0-1,0 0,0 0,0 1,0-1,0 0,-1 1,1-1,0 1,-1-1,1 1,-1-1,1 1,-1-1,0 1,0-1,0 1,0 0,0-1,0 1,0-1,0 1,0 0,-1-1,1 1,-2 1,0 5,0-1,-1 0,-1 0,1 0,-1 0,0-1,0 0,-1 1,-5 5,-97 82,107-94,0 0,0 0,0 0,0 0,0 0,0 0,-1 1,1-1,0 0,0 0,0 0,0 0,0 0,0 0,0 1,0-1,0 0,0 0,0 0,0 0,0 1,0-1,0 0,0 0,0 0,0 0,0 0,0 1,0-1,0 0,0 0,0 0,0 0,0 1,0-1,0 0,0 0,1 0,-1 0,0 0,0 0,0 0,0 1,0-1,0 0,0 0,1 0,-1 0,0 0,0 0,0 0,0 0,0 0,1 0,-1 0,0 0,0 0,0 0,0 0,1 0,-1 0,0 0,0 0,20 0,21-6,-36 5,19-4,45-15,-56 14</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251"/>
    </inkml:context>
    <inkml:brush xml:id="br0">
      <inkml:brushProperty name="width" value="0.025" units="cm"/>
      <inkml:brushProperty name="height" value="0.025" units="cm"/>
      <inkml:brushProperty name="ignorePressure" value="1"/>
    </inkml:brush>
  </inkml:definitions>
  <inkml:trace contextRef="#ctx0" brushRef="#br0">142 0,'-11'8,"0"0,0 1,1 0,0 1,1 0,-12 15,-11 12,29-35,1 0,-1 1,1-1,0 1,0 0,0 0,0 0,0 0,1 0,-1 0,1 1,-1 2,2-5,0 0,0 0,0-1,0 1,0 0,0-1,0 1,1 0,-1-1,0 1,0 0,1-1,-1 1,0-1,1 1,-1-1,1 1,-1 0,0-1,1 1,0-1,-1 0,2 1,27 7,74-11,-85 3</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636"/>
    </inkml:context>
    <inkml:brush xml:id="br0">
      <inkml:brushProperty name="width" value="0.05" units="cm"/>
      <inkml:brushProperty name="height" value="0.05" units="cm"/>
      <inkml:brushProperty name="ignorePressure" value="1"/>
    </inkml:brush>
  </inkml:definitions>
  <inkml:trace contextRef="#ctx0" brushRef="#br0">1 1,'19'0,"-4"-1,0 1,0 1,0 0,-1 1,26 6,-36-6,0-1,-1 1,1 0,-1-1,0 1,1 1,-1-1,0 1,0-1,-1 1,1 0,0 0,-1 0,0 0,0 0,0 1,0-1,0 0,-1 1,1 0,-1-1,0 1,0 0,0 0,-1 0,0 0,1 4,-1 9,-1 1,0-1,-1 0,-5 19,-3 34,9-55</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969"/>
    </inkml:context>
    <inkml:brush xml:id="br0">
      <inkml:brushProperty name="width" value="0.05" units="cm"/>
      <inkml:brushProperty name="height" value="0.05" units="cm"/>
      <inkml:brushProperty name="ignorePressure" value="1"/>
    </inkml:brush>
  </inkml:definitions>
  <inkml:trace contextRef="#ctx0" brushRef="#br0">1 1,'3'0,"5"0,4 0,3 0,3 0,1 0,1 0,0 0,0 0,-3 0</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2.301"/>
    </inkml:context>
    <inkml:brush xml:id="br0">
      <inkml:brushProperty name="width" value="0.05" units="cm"/>
      <inkml:brushProperty name="height" value="0.05" units="cm"/>
      <inkml:brushProperty name="ignorePressure" value="1"/>
    </inkml:brush>
  </inkml:definitions>
  <inkml:trace contextRef="#ctx0" brushRef="#br0">75 1,'-3'3,"-2"5,1 4,-3 3,1 3,0 1,-1 1,0 0,-3 0,2 0,1 0,2-3</inkml:trace>
  <inkml:trace contextRef="#ctx0" brushRef="#br0" timeOffset="1">172 20,'-4'7,"0"5,-4 4,1 3,-3 1,1 1,1-1,0-3,0-1,2 0,2 0,2 2,0-4</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2.635"/>
    </inkml:context>
    <inkml:brush xml:id="br0">
      <inkml:brushProperty name="width" value="0.05" units="cm"/>
      <inkml:brushProperty name="height" value="0.05" units="cm"/>
      <inkml:brushProperty name="ignorePressure" value="1"/>
    </inkml:brush>
  </inkml:definitions>
  <inkml:trace contextRef="#ctx0" brushRef="#br0">0 1,'0'0</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3.135"/>
    </inkml:context>
    <inkml:brush xml:id="br0">
      <inkml:brushProperty name="width" value="0.05" units="cm"/>
      <inkml:brushProperty name="height" value="0.05" units="cm"/>
      <inkml:brushProperty name="ignorePressure" value="1"/>
    </inkml:brush>
  </inkml:definitions>
  <inkml:trace contextRef="#ctx0" brushRef="#br0">35 1,'3'0,"0"0,0 0,0 0,1 0,-1 1,0-1,0 1,0 0,0 0,0 0,0 0,-1 1,1-1,0 1,3 2,-4-2,-1 0,0-1,0 1,0 0,0 0,0 0,-1 0,1 0,-1 0,1 0,-1 0,0 0,1 0,-1 0,0 0,0 0,-1 0,1 0,0 0,-1 0,1 0,-1 0,0 0,-1 3,0 3,0-1,1 1,0 0,0 15,2-16,-2 0,1 1,-1-1,0 0,-4 13,4-18,0 0,0 1,-1-1,1 0,-1 0,1 0,-1 0,0 0,1-1,-1 1,0 0,0-1,0 1,0-1,-1 0,1 0,0 0,0 0,-1 0,1 0,-4 0,-11 2,1-2</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3.551"/>
    </inkml:context>
    <inkml:brush xml:id="br0">
      <inkml:brushProperty name="width" value="0.05" units="cm"/>
      <inkml:brushProperty name="height" value="0.05" units="cm"/>
      <inkml:brushProperty name="ignorePressure" value="1"/>
    </inkml:brush>
  </inkml:definitions>
  <inkml:trace contextRef="#ctx0" brushRef="#br0">149 0,'-7'0,"-5"0,-4 3,-3 2,-1 2,3 4,7 3,9 3,8 2,3 0,-1 1,-5-3,-6-5,-6 0,-6-3,-2-3,-4-2,4-2</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6.001"/>
    </inkml:context>
    <inkml:brush xml:id="br0">
      <inkml:brushProperty name="width" value="0.05" units="cm"/>
      <inkml:brushProperty name="height" value="0.05" units="cm"/>
      <inkml:brushProperty name="ignorePressure" value="1"/>
    </inkml:brush>
  </inkml:definitions>
  <inkml:trace contextRef="#ctx0" brushRef="#br0">1 36,'0'-2,"1"0,-1 0,1 1,-1-1,1 0,0 1,0-1,0 0,0 1,0-1,0 1,1 0,-1-1,0 1,1 0,-1 0,1 0,-1 0,1 0,-1 0,1 0,0 0,-1 1,1-1,0 1,0-1,0 1,-1 0,1 0,0 0,3 0,4-1,0 0,-1 1,1 1,0-1,11 3,-18-2,1-1,0 1,-1 0,1 0,-1 0,1 0,-1 0,0 0,0 1,1-1,-1 1,0-1,0 1,0 0,0 0,2 3,-4-3,1-1,0 1,-1 0,1 0,-1 0,1 0,-1 0,0 0,0 0,0 0,0 0,0 0,0 0,0-1,-1 1,1 0,-2 3,-3 7,-1 0,-1-1,0 1,0-1,-14 14,-4 10,25-34,-1-1,1 1,0-1,-1 1,1-1,0 1,-1-1,1 1,0 0,0-1,0 1,-1-1,1 1,0 0,0-1,0 1,0 0,0-1,0 1,0-1,0 1,1 0,-1-1,0 1,0-1,0 1,1 0,-1-1,0 1,1-1,-1 1,0-1,1 1,-1-1,1 1,-1-1,1 1,-1-1,1 0,-1 1,1-1,-1 0,1 0,0 1,-1-1,1 0,-1 0,1 0,0 0,-1 1,1-1,0 0,-1 0,1 0,-1 0,1-1,0 1,-1 0,1 0,0-1,51-6,-42 5,188-40,-181 39</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6.515"/>
    </inkml:context>
    <inkml:brush xml:id="br0">
      <inkml:brushProperty name="width" value="0.05" units="cm"/>
      <inkml:brushProperty name="height" value="0.05" units="cm"/>
      <inkml:brushProperty name="ignorePressure" value="1"/>
    </inkml:brush>
  </inkml:definitions>
  <inkml:trace contextRef="#ctx0" brushRef="#br0">76 11,'27'36,"-26"-31,1 0,-1 0,-1 0,1 0,-1 1,0-1,0 0,0 0,-1 1,0-1,0 0,0 0,-1 0,0 0,-3 8,3-10,1 1,-1 0,0-1,-1 1,1-1,-1 1,1-1,-1 0,0 0,0 0,0-1,-1 1,1-1,-1 0,1 0,-1 0,0 0,1 0,-1-1,-5 1,8-5,8-7,11-7,21-9,18-13,-53 37,-1-1,0 0,0 0,0 0,-1 0,1 0,-1-1,1 1,-1-1,0 1,-1-1,3-6,-4 8,0 0,0 1,0-1,0 0,-1 1,1-1,-1 0,1 1,-1-1,1 0,-1 1,0-1,0 1,0-1,0 1,0-1,0 1,0 0,0 0,-1-1,1 1,0 0,-1 0,1 0,-1 0,1 1,-1-1,0 0,1 1,-1-1,0 1,1-1,-5 1,-2-3,-1 1,0 1,1 0,-1 0,-13 0,11 3,1-1,-1 2,1-1,-10 5,3-1</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035"/>
    </inkml:context>
    <inkml:brush xml:id="br0">
      <inkml:brushProperty name="width" value="0.05" units="cm"/>
      <inkml:brushProperty name="height" value="0.05" units="cm"/>
      <inkml:brushProperty name="ignorePressure" value="1"/>
    </inkml:brush>
  </inkml:definitions>
  <inkml:trace contextRef="#ctx0" brushRef="#br0">154 1,'-18'12,"-6"3,1 0,1 2,-31 30,52-46,0 0,-1 0,1 0,1 0,-1 0,0 0,0 0,0 1,0-1,1 0,-1 1,1-1,-1 0,1 1,-1-1,1 1,0-1,0 0,0 1,0-1,0 1,0-1,0 1,0-1,1 3,0-2,0 0,1-1,-1 1,1 0,-1-1,1 1,0-1,-1 0,1 0,0 1,0-1,0 0,0 0,0-1,2 2,7 1,1 0,-1 0,1-1,0-1,12 0,-4-1,5 1,0-2,0 0,38-8,-46 4</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366"/>
    </inkml:context>
    <inkml:brush xml:id="br0">
      <inkml:brushProperty name="width" value="0.05" units="cm"/>
      <inkml:brushProperty name="height" value="0.05" units="cm"/>
      <inkml:brushProperty name="ignorePressure" value="1"/>
    </inkml:brush>
  </inkml:definitions>
  <inkml:trace contextRef="#ctx0" brushRef="#br0">107 1,'-4'3,"0"5,-4 0,0 3,1 2,-1 3,1 2,-2-3,0 0,2 1,-1-3,1 0,1 1,2 2,-1 1,-1-2</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701"/>
    </inkml:context>
    <inkml:brush xml:id="br0">
      <inkml:brushProperty name="width" value="0.025" units="cm"/>
      <inkml:brushProperty name="height" value="0.025" units="cm"/>
      <inkml:brushProperty name="ignorePressure" value="1"/>
    </inkml:brush>
  </inkml:definitions>
  <inkml:trace contextRef="#ctx0" brushRef="#br0">97 1,'-3'3,"-4"5,-2 4,2 3,-2 3,0 1,-1-2,2-1,1 0,-1-3,1 0,1 2,2 0,2-2</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696"/>
    </inkml:context>
    <inkml:brush xml:id="br0">
      <inkml:brushProperty name="width" value="0.05" units="cm"/>
      <inkml:brushProperty name="height" value="0.05" units="cm"/>
      <inkml:brushProperty name="ignorePressure" value="1"/>
    </inkml:brush>
  </inkml:definitions>
  <inkml:trace contextRef="#ctx0" brushRef="#br0">174 0,'-13'4,"-8"3,-4 5,0 0,0 1,2 2,1 2,7 1,10-3,9-4,7-3,5-3,3-3,2-2,0 0,0-1,-3 0</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033"/>
    </inkml:context>
    <inkml:brush xml:id="br0">
      <inkml:brushProperty name="width" value="0.05" units="cm"/>
      <inkml:brushProperty name="height" value="0.05" units="cm"/>
      <inkml:brushProperty name="ignorePressure" value="1"/>
    </inkml:brush>
  </inkml:definitions>
  <inkml:trace contextRef="#ctx0" brushRef="#br0">99 1,'-7'6,"-2"6,-3 4,1 3,2 1,0 1,0-1,3 1,2-1,-2 0,0 0,2-1,0 1,2-1,1-3</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577"/>
    </inkml:context>
    <inkml:brush xml:id="br0">
      <inkml:brushProperty name="width" value="0.05" units="cm"/>
      <inkml:brushProperty name="height" value="0.05" units="cm"/>
      <inkml:brushProperty name="ignorePressure" value="1"/>
    </inkml:brush>
  </inkml:definitions>
  <inkml:trace contextRef="#ctx0" brushRef="#br0">131 1,'-6'1,"1"1,-1 0,1 0,-1 1,1 0,0 0,0 0,-7 7,10-8,1-1,0 1,0 0,0 0,0-1,0 1,0 0,1 0,-1 0,1 0,-1 0,1 0,0 0,0 0,-1 0,2 1,-1-1,0 0,0 0,1 0,-1 0,1 0,-1 0,1 0,0 0,0-1,0 1,2 3,1 2,0 1,-1-1,0 1,0 0,-1 0,0 0,0 0,1 13,-3-18,-1 0,1 0,-1 1,1-1,-1 0,0 0,0 0,0 0,-1 0,1 0,-1 0,1 0,-1-1,0 1,0-1,0 1,-1-1,1 0,-1 1,1-1,-1-1,0 1,1 0,-1-1,-4 2,-28 9,18-9</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920"/>
    </inkml:context>
    <inkml:brush xml:id="br0">
      <inkml:brushProperty name="width" value="0.05" units="cm"/>
      <inkml:brushProperty name="height" value="0.05" units="cm"/>
      <inkml:brushProperty name="ignorePressure" value="1"/>
    </inkml:brush>
  </inkml:definitions>
  <inkml:trace contextRef="#ctx0" brushRef="#br0">95 0,'0'14,"0"10,-3 8,-5 8,0 5,-3 3,-3 2,2-3,-1 2,1-5,4-3,3-8</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144"/>
    </inkml:context>
    <inkml:brush xml:id="br0">
      <inkml:brushProperty name="width" value="0.05" units="cm"/>
      <inkml:brushProperty name="height" value="0.05" units="cm"/>
      <inkml:brushProperty name="ignorePressure" value="1"/>
    </inkml:brush>
  </inkml:definitions>
  <inkml:trace contextRef="#ctx0" brushRef="#br0">73 1,'1'0,"0"0,0 0,0 0,0 0,0 0,0 0,0 1,0-1,0 0,0 0,-1 1,1-1,0 1,0-1,0 1,0-1,-1 1,1-1,0 1,0 0,-1-1,1 1,-1 0,1 0,-1-1,1 1,-1 0,1 1,0 1,0-1,-1 1,0 0,0-1,0 1,0 0,0-1,0 1,0 0,-2 3,-1 4,0-1,0 1,-1-1,-7 14,-20 10,27-29,0-1,0 1,0-1,1 1,0 1,-1-1,1 0,1 1,-1-1,-3 10,6-14,0 1,1-1,-1 1,0-1,1 1,-1 0,0-1,1 1,-1-1,1 1,-1-1,1 0,-1 1,1-1,-1 1,1-1,0 0,-1 0,1 1,-1-1,1 0,0 0,-1 0,1 0,0 1,-1-1,1 0,0 0,-1 0,1 0,0-1,-1 1,1 0,1 0,25-3,50-20,-31 8,-29 10</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480"/>
    </inkml:context>
    <inkml:brush xml:id="br0">
      <inkml:brushProperty name="width" value="0.05" units="cm"/>
      <inkml:brushProperty name="height" value="0.05" units="cm"/>
      <inkml:brushProperty name="ignorePressure" value="1"/>
    </inkml:brush>
  </inkml:definitions>
  <inkml:trace contextRef="#ctx0" brushRef="#br0">0 1,'3'0,"0"-1,1 2,-1-1,0 0,0 0,0 1,0 0,0-1,0 1,0 0,0 1,-1-1,1 0,0 1,-1 0,1-1,-1 1,1 0,-1 0,0 0,0 1,0-1,0 1,0-1,-1 1,1-1,1 5,-1 1,0-1,0 1,0 1,-1-1,-1 0,1 0,-1 0,-1 0,-1 12,-17 73,17-75</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817"/>
    </inkml:context>
    <inkml:brush xml:id="br0">
      <inkml:brushProperty name="width" value="0.05" units="cm"/>
      <inkml:brushProperty name="height" value="0.05" units="cm"/>
      <inkml:brushProperty name="ignorePressure" value="1"/>
    </inkml:brush>
  </inkml:definitions>
  <inkml:trace contextRef="#ctx0" brushRef="#br0">1 60,'6'-5,"0"0,0 1,1 0,-1 0,1 1,0 0,0 0,0 1,12-3,71-11,-83 15,26-2,49 2,-62 1,-3 0</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1.301"/>
    </inkml:context>
    <inkml:brush xml:id="br0">
      <inkml:brushProperty name="width" value="0.05" units="cm"/>
      <inkml:brushProperty name="height" value="0.05" units="cm"/>
      <inkml:brushProperty name="ignorePressure" value="1"/>
    </inkml:brush>
  </inkml:definitions>
  <inkml:trace contextRef="#ctx0" brushRef="#br0">211 0,'-14'1,"0"-1,1 2,-1 0,0 0,1 1,0 1,0 0,0 1,0 1,1 0,-1 0,2 1,-13 9,23-15,-1 0,1 0,0 0,0 1,-1-1,1 0,0 1,0-1,0 1,0-1,1 1,-1-1,0 1,1-1,-1 1,0 3,1-5,0 1,1 0,-1 0,0 0,0-1,1 1,-1 0,0 0,1-1,-1 1,1 0,-1-1,1 1,-1-1,1 1,-1 0,1-1,0 1,-1-1,1 0,0 1,-1-1,1 1,1-1,2 2,1-1,-1 0,1 0,-1 0,1 0,0-1,-1 0,1 0,0 0,6-2,32-9,-34 7,0 2,1-1,-1 1,1 0,-1 1,15 0,-21 1,-1 1,1-1,0 1,-1 0,1 0,0 0,-1 0,1 0,-1 0,0 1,1-1,-1 1,0 0,0 0,0 0,0 0,0 0,0 0,-1 0,1 0,-1 1,0-1,1 1,-1-1,0 1,0 0,0 3,10 31,-7-21</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2.577"/>
    </inkml:context>
    <inkml:brush xml:id="br0">
      <inkml:brushProperty name="width" value="0.05" units="cm"/>
      <inkml:brushProperty name="height" value="0.05" units="cm"/>
      <inkml:brushProperty name="ignorePressure" value="1"/>
    </inkml:brush>
  </inkml:definitions>
  <inkml:trace contextRef="#ctx0" brushRef="#br0">52 1,'-2'0,"0"1,0-1,0 1,0 0,0-1,0 1,0 0,1 0,-1 1,0-1,1 0,-1 0,1 1,-1-1,1 1,0 0,-1-1,1 1,0 0,0 0,0-1,0 1,1 0,-2 4,0-1,0 1,1-1,-1 1,1 0,0-1,1 1,-1 10,2-13,0 0,-1 0,1 0,0-1,1 1,-1 0,0-1,1 1,-1-1,1 1,0-1,0 0,0 1,0-1,0 0,3 2,-4-4,0 1,0-1,0 1,0-1,0 1,0-1,0 1,0-1,0 0,0 1,0-1,0 0,0 0,0 0,0 0,0 0,1 0,-1 0,0-1,0 1,0 0,0-1,0 1,0 0,0-1,0 1,0-1,0 0,0 1,-1-1,1 0,0 1,0-1,0 0,-1 0,1 0,0 0,-1 1,1-1,-1 0,1 0,-1 0,0 0,1 0,-1-2,1 0,0 0,0 0,-1 0,1 0,-1 0,0 0,0 0,0 0,0 0,-1 0,1 0,-1 1,1-1,-1 0,0 0,0 0,-1 1,1-1,-4-4,2 1,-1 1,1 1,-1-1,-1 0,1 1,-1 0,1 0,-9-5,-5 0</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3.485"/>
    </inkml:context>
    <inkml:brush xml:id="br0">
      <inkml:brushProperty name="width" value="0.05" units="cm"/>
      <inkml:brushProperty name="height" value="0.05" units="cm"/>
      <inkml:brushProperty name="ignorePressure" value="1"/>
    </inkml:brush>
  </inkml:definitions>
  <inkml:trace contextRef="#ctx0" brushRef="#br0">191 1,'-19'1,"-1"0,1 2,0 0,0 1,-21 7,38-10,0 0,0-1,0 1,0 0,0 0,0 0,1 0,-1 1,0-1,0 0,1 1,-1-1,1 1,-1 0,1-1,-2 4,3-4,-1 1,1-1,0 0,0 1,-1-1,1 1,0-1,0 0,1 1,-1-1,0 1,0-1,1 0,-1 1,0-1,1 1,0-1,-1 0,2 2,4 6,1-1,0 1,1-1,-1-1,14 10,3 6,-21-21,-1 0,0 1,0-1,0 1,0 0,0-1,0 1,-1 0,1 0,-1 0,0 0,0 0,0 1,0-1,-1 0,1 0,-1 0,0 1,0-1,0 0,0 1,-1-1,1 0,-1 0,0 0,0 1,0-1,0 0,-1 0,1 0,-1-1,0 1,-2 3,-2 0,0 1,0-1,-1-1,0 1,0-1,0-1,-1 1,1-1,-1 0,0-1,-14 4,5-2</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4.734"/>
    </inkml:context>
    <inkml:brush xml:id="br0">
      <inkml:brushProperty name="width" value="0.025" units="cm"/>
      <inkml:brushProperty name="height" value="0.025" units="cm"/>
      <inkml:brushProperty name="ignorePressure" value="1"/>
    </inkml:brush>
  </inkml:definitions>
  <inkml:trace contextRef="#ctx0" brushRef="#br0">81 17,'25'-11,"-11"5,-30 12,12-5,1 0,0 0,0 0,1 1,-1 0,0-1,0 1,1 0,-1 0,1 0,-1 1,1-1,0 1,0-1,0 1,-3 5,5-6,-1 0,1 1,-1-1,1 0,-1 0,1 0,0 1,0-1,0 0,1 0,-1 1,0-1,1 0,0 0,-1 0,1 0,0 0,0 0,0 0,0 0,0 0,1 0,-1 0,0-1,4 3,-4-3,0 0,0 0,0 0,0 0,0 0,0 0,0 0,0 0,-1 0,1 0,0 1,-1-1,1 0,-1 0,1 1,-1-1,0 0,1 1,-1-1,0 1,0-1,0 0,0 1,0-1,0 0,0 1,-1-1,1 0,0 1,-1-1,1 0,-1 1,0-1,1 0,-1 0,0 0,0 1,0-1,1 0,-1 0,-2 0,-3 4,-1-1,1 0,-1 0,0 0,-15 4,16-6,-6 2</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3.834"/>
    </inkml:context>
    <inkml:brush xml:id="br0">
      <inkml:brushProperty name="width" value="0.05" units="cm"/>
      <inkml:brushProperty name="height" value="0.05" units="cm"/>
      <inkml:brushProperty name="ignorePressure" value="1"/>
    </inkml:brush>
  </inkml:definitions>
  <inkml:trace contextRef="#ctx0" brushRef="#br0">86 0,'0'7,"0"8,0 5,0 6,-4 5,0 7,-1 7,-1 6,-1 4,-2 3,1-3,-3 0,2 1,2-4,-1-2,0-12</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7.539"/>
    </inkml:context>
    <inkml:brush xml:id="br0">
      <inkml:brushProperty name="width" value="0.05" units="cm"/>
      <inkml:brushProperty name="height" value="0.05" units="cm"/>
      <inkml:brushProperty name="ignorePressure" value="1"/>
    </inkml:brush>
  </inkml:definitions>
  <inkml:trace contextRef="#ctx0" brushRef="#br0">263 0,'-50'2,"1"2,-87 18,135-22,0 0,-1 0,1 0,0 0,0 0,-1 1,1-1,0 1,0-1,0 1,0-1,-1 1,1 0,0-1,0 1,0 0,0 0,0 0,1 0,-1 0,0 0,0 0,1 0,-1 0,-1 2,3-2,-1 1,0-1,1 1,-1-1,1 0,-1 0,1 1,0-1,0 0,-1 0,1 0,0 1,0-1,0 0,0 0,0 0,0-1,3 2,5 5,1-1,0 0,0-1,17 6,-18-8,4 1,1 1,-1 0,0 1,21 12,-32-17,-1 0,1 0,-1 1,1-1,-1 1,1-1,-1 1,0-1,0 1,1 0,-1-1,-1 1,1 0,0 0,0 0,-1 0,2 2,-3-2,1 0,0 0,-1 1,1-1,-1 0,1 0,-1 0,0 0,0 0,0 0,0-1,0 1,0 0,-1 0,1-1,-1 1,1-1,-1 1,1-1,-3 2,-4 2,0-1,0 1,-1-1,1-1,-1 0,1 0,-1 0,-17 1,11-2</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7.877"/>
    </inkml:context>
    <inkml:brush xml:id="br0">
      <inkml:brushProperty name="width" value="0.05" units="cm"/>
      <inkml:brushProperty name="height" value="0.05" units="cm"/>
      <inkml:brushProperty name="ignorePressure" value="1"/>
    </inkml:brush>
  </inkml:definitions>
  <inkml:trace contextRef="#ctx0" brushRef="#br0">103 1,'-2'32,"-2"1,-1-1,-2 0,-1 0,-21 54,-15 57,41-124,3-3</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287"/>
    </inkml:context>
    <inkml:brush xml:id="br0">
      <inkml:brushProperty name="width" value="0.05" units="cm"/>
      <inkml:brushProperty name="height" value="0.05" units="cm"/>
      <inkml:brushProperty name="ignorePressure" value="1"/>
    </inkml:brush>
  </inkml:definitions>
  <inkml:trace contextRef="#ctx0" brushRef="#br0">91 1,'0'0,"1"-1,-1 1,1 0,-1 0,1 0,-1 1,0-1,1 0,-1 0,1 0,-1 0,1 0,-1 0,1 1,-1-1,0 0,1 0,-1 1,1-1,-1 0,0 1,1-1,-1 0,0 1,0-1,1 0,-1 1,0-1,0 1,1-1,-1 0,0 1,0 0,-3 18,-16 14,17-31,1 0,0 1,-1-1,1 1,0-1,0 1,1-1,-1 1,1 0,-1-1,1 1,0 0,0 0,0-1,0 1,0 0,1-1,-1 1,1 0,0-1,0 1,0-1,0 1,0-1,0 1,1-1,1 3,-1-1,0 0,0 0,0 1,-1-1,1 1,-1-1,1 7,-2-9,-1 0,1 0,0 0,-1 0,1 0,-1 0,1-1,-1 1,0 0,0 0,0 0,0 0,0-1,0 1,-1-1,1 1,0-1,-1 1,0-1,1 0,-4 2,-3 3,0-1,-1-1,0 0,-12 4,3-1</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623"/>
    </inkml:context>
    <inkml:brush xml:id="br0">
      <inkml:brushProperty name="width" value="0.05" units="cm"/>
      <inkml:brushProperty name="height" value="0.05" units="cm"/>
      <inkml:brushProperty name="ignorePressure" value="1"/>
    </inkml:brush>
  </inkml:definitions>
  <inkml:trace contextRef="#ctx0" brushRef="#br0">1 4,'2'1,"0"0,0 1,0-1,0 1,-1 0,1-1,0 1,-1 0,0 0,1 0,-1 0,0 1,0-1,0 0,0 0,1 4,7 11,-7-15,1 1,0 0,1-1,-1 0,0 0,1 0,-1 0,1-1,-1 1,1-1,0 0,0 0,-1 0,9 0,-11-1,1 0,-1 1,0-1,1 0,-1 0,0 0,1 0,-1 0,0-1,1 1,-1 0,0-1,0 1,1-1,-1 1,0-1,0 0,0 1,1-1,-1 0,0 0,0 0,0 0,0 0,-1 0,1 0,0 0,0 0,-1 0,1 0,0 0,-1-1,1 1,-1 0,0 0,1-1,-1 1,0 0,0-1,0 1,0 0,0-1,0 1,0-3,-1 2,1 0,-1 0,0 1,1-1,-1 0,0 0,0 0,0 1,0-1,0 0,0 1,-1-1,1 1,-1-1,1 1,-1 0,1 0,-1 0,0 0,1 0,-1 0,0 0,0 0,-4 0,-2-2,0 2,0-1,0 1,-14 0,4 1</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953"/>
    </inkml:context>
    <inkml:brush xml:id="br0">
      <inkml:brushProperty name="width" value="0.05" units="cm"/>
      <inkml:brushProperty name="height" value="0.05" units="cm"/>
      <inkml:brushProperty name="ignorePressure" value="1"/>
    </inkml:brush>
  </inkml:definitions>
  <inkml:trace contextRef="#ctx0" brushRef="#br0">1 0,'2'2,"-1"-1,1 1,0 0,0-1,-1 1,1 0,-1 0,1 0,-1 0,0 1,0-1,0 0,0 0,1 5,11 18,-10-23,1 1,-1-1,1 0,-1-1,1 1,0 0,0-1,0 0,0 0,0 0,0-1,0 1,7-1,-10 0,0 0,0 0,1 1,-1-1,0 0,0 0,0 0,0-1,0 1,0 0,0 0,0 0,0-1,0 1,0-1,0 1,0-1,0 1,0-1,0 1,0-1,0 0,0 0,-1 1,1-1,0 0,-1 0,1 0,0 0,-1 0,1 0,-1 0,1 0,-1 0,0 0,0 0,1 0,-1 0,0 0,0 0,0 0,0 0,0-1,0 1,0 0,0 0,-1 0,1 0,0 0,-1 0,1 0,-1-1,-1-1,0 0,0 0,0 0,-1 1,1-1,-1 1,1 0,-1-1,0 1,0 0,0 1,0-1,0 0,0 1,0 0,-1 0,1 0,0 0,-1 0,1 1,-1-1,1 1,-1 0,1 0,-5 1,-11 2</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9.285"/>
    </inkml:context>
    <inkml:brush xml:id="br0">
      <inkml:brushProperty name="width" value="0.05" units="cm"/>
      <inkml:brushProperty name="height" value="0.05" units="cm"/>
      <inkml:brushProperty name="ignorePressure" value="1"/>
    </inkml:brush>
  </inkml:definitions>
  <inkml:trace contextRef="#ctx0" brushRef="#br0">1 15,'0'6,"0"-1,0 1,1-1,0 1,0-1,1 0,-1 1,1-1,0 0,1 0,-1 0,1 0,0-1,0 1,0-1,1 0,0 1,6 5,-6-8,-1 0,0 0,1 0,-1 0,1-1,0 0,-1 1,1-1,0-1,0 1,0 0,-1-1,1 0,0 0,0 0,0 0,0-1,0 1,0-1,-1 0,1 0,0-1,-1 1,1-1,-1 0,1 0,4-3,-6 4,-1 0,1-1,0 1,-1 0,1-1,0 1,-1-1,0 1,1-1,-1 0,0 0,0 0,0 1,0-1,0 0,-1 0,1 0,-1 0,1 0,-1-1,1 1,-1 0,0 0,0 0,0 0,-1 0,1 0,0 0,-1 0,1-1,-1 1,0 0,1 1,-1-1,0 0,0 0,-1 0,0-1,0-1,-1 1,1 0,0 0,-1 1,0-1,0 0,0 1,0 0,0 0,0 0,0 0,-1 0,1 0,-1 1,0 0,1 0,-1 0,0 0,1 0,-8 0,-6 4,1 0</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0.324"/>
    </inkml:context>
    <inkml:brush xml:id="br0">
      <inkml:brushProperty name="width" value="0.05" units="cm"/>
      <inkml:brushProperty name="height" value="0.05" units="cm"/>
      <inkml:brushProperty name="ignorePressure" value="1"/>
    </inkml:brush>
  </inkml:definitions>
  <inkml:trace contextRef="#ctx0" brushRef="#br0">250 10,'-15'-3,"0"0,0 1,0 1,0 1,0 0,0 1,-1 0,-17 5,33-6,-1 0,1 0,-1 0,0 0,1 0,-1 0,1 0,-1 0,1 0,-1 0,1 0,-1 0,1 0,-1 0,1 1,-1-1,1 0,-1 0,1 1,-1-1,1 0,-1 1,1-1,0 0,-1 1,1-1,0 1,-1-1,1 0,0 1,0-1,-1 1,1-1,0 1,0-1,0 1,-1-1,1 2,17 13,33 9,-50-24,7 3,1 1,-1-1,0 1,0 0,-1 1,0-1,1 1,6 8,-12-12,0 1,0-1,0 0,0 1,0 0,0-1,0 1,-1-1,1 1,-1 0,1 0,-1-1,0 1,0 0,1 0,-1 0,0-1,-1 1,1 0,0 0,0-1,-1 1,1 0,-1 0,0-1,1 1,-1 0,0-1,0 1,0-1,0 1,0-1,0 0,0 1,-1-1,1 0,-1 0,1 0,0 0,-1 0,0 0,-1 1,-7 4,0 0,-1 0,0-1,1 0,-2-1,1 0,0-1,-1-1,1 1,-1-2,0 1,0-2,0 0,-14-1,10-3</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0.668"/>
    </inkml:context>
    <inkml:brush xml:id="br0">
      <inkml:brushProperty name="width" value="0.05" units="cm"/>
      <inkml:brushProperty name="height" value="0.05" units="cm"/>
      <inkml:brushProperty name="ignorePressure" value="1"/>
    </inkml:brush>
  </inkml:definitions>
  <inkml:trace contextRef="#ctx0" brushRef="#br0">135 1,'1'2,"0"0,1 0,-1 0,0 1,0-1,-1 1,1-1,0 1,-1-1,0 1,1-1,-1 1,0-1,0 1,-1 4,-7 43,5-40,-8 35,-3 0,-29 65,21-59,-17 64,35-99</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225"/>
    </inkml:context>
    <inkml:brush xml:id="br0">
      <inkml:brushProperty name="width" value="0.05" units="cm"/>
      <inkml:brushProperty name="height" value="0.05" units="cm"/>
      <inkml:brushProperty name="ignorePressure" value="1"/>
    </inkml:brush>
  </inkml:definitions>
  <inkml:trace contextRef="#ctx0" brushRef="#br0">134 1,'4'0,"-1"0,0 0,0 0,0 0,0 1,0-1,0 1,0 0,0 0,0 0,0 0,0 0,0 1,0-1,-1 1,1 0,-1 0,1 0,-1 0,0 0,4 5,-5-5,0 1,0-1,-1 1,1 0,-1-1,1 1,-1 0,0-1,0 1,0 0,0-1,0 1,-1 0,1-1,-1 1,0-1,1 1,-1-1,0 1,-1-1,1 1,0-1,-1 0,1 0,-4 3,4-3,0-1,0 1,1 0,-1 0,0-1,1 1,-1 0,1 0,-1 0,1 0,0 0,0 0,0 0,0 0,0 0,0-1,1 1,-1 0,0 0,1 0,0 0,-1 0,1-1,0 1,0 0,0-1,0 1,0 0,1-1,-1 1,0-1,1 0,2 3,15 25,-18-27,-1 0,0-1,0 1,0-1,0 1,0 0,0-1,0 1,0-1,-1 1,1-1,-1 1,1 0,-1-1,0 0,1 1,-1-1,0 1,0-1,0 0,0 0,-2 2,-3 3,0-1,-1 0,1 0,-1 0,0-1,0 0,-1-1,0 0,1 0,-12 3,13-4,-1-1,1 1,-1-1,1 0,-1-1,1 1,-1-1,0-1,1 1,-1-1,1 0,-1-1,-8-2,3-5,4 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5.833"/>
    </inkml:context>
    <inkml:brush xml:id="br0">
      <inkml:brushProperty name="width" value="0.025" units="cm"/>
      <inkml:brushProperty name="height" value="0.025" units="cm"/>
      <inkml:brushProperty name="ignorePressure" value="1"/>
    </inkml:brush>
  </inkml:definitions>
  <inkml:trace contextRef="#ctx0" brushRef="#br0">31 18,'64'-13,"-51"9,-44 13,28-8,1 0,-1-1,0 1,0 0,1 0,-1 0,1 1,-1-1,1 1,-1-1,1 1,0 0,0 0,0 0,0 0,0 0,0 0,-1 3,2-2,1 0,0 0,0 0,0 0,0 0,0 0,0 0,1 0,0 0,0 0,-1 0,2-1,-1 1,0 0,0-1,1 1,1 2,-1-3,-1 1,1 0,-1-1,0 1,0 0,0-1,-1 1,1 0,-1 0,1 0,-1 0,0 0,0 0,0-1,-1 5,0-5,1-1,-1 1,0 0,0 0,0-1,0 1,-1 0,1-1,0 0,-1 1,1-1,-1 0,1 1,-1-1,0 0,1 0,-1 0,0-1,0 1,0 0,1-1,-1 1,-3 0,-11 2</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617"/>
    </inkml:context>
    <inkml:brush xml:id="br0">
      <inkml:brushProperty name="width" value="0.05" units="cm"/>
      <inkml:brushProperty name="height" value="0.05" units="cm"/>
      <inkml:brushProperty name="ignorePressure" value="1"/>
    </inkml:brush>
  </inkml:definitions>
  <inkml:trace contextRef="#ctx0" brushRef="#br0">93 1,'6'0,"0"0,1 0,-1 1,0 0,0 0,0 1,0-1,0 1,10 5,-15-6,1 0,-1 0,0-1,0 1,0 0,0 0,0 0,0 1,0-1,0 0,-1 0,1 0,0 1,-1-1,1 0,-1 1,1-1,0 3,-1-2,0 0,0 1,-1-1,1 1,0-1,-1 0,0 1,1-1,-1 0,0 0,0 1,0-1,-1 0,-1 3,-9 10,0 0,-1-1,-1-1,0 0,-17 12,-36 35,66-60,1 0,0 0,-1 0,1 1,0-1,-1 0,1 0,0 0,0 1,-1-1,1 0,0 1,0-1,0 0,-1 1,1-1,0 0,0 1,0-1,0 0,0 1,0-1,-1 0,1 1,0-1,0 0,0 1,0-1,0 0,1 1,-1-1,0 1,0-1,0 0,0 1,0-1,0 0,1 1,-1-1,0 0,0 1,0-1,1 0,-1 1,21 2,23-8,78-21,-105 23</inkml:trace>
</inkml:ink>
</file>

<file path=ppt/ink/ink1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955"/>
    </inkml:context>
    <inkml:brush xml:id="br0">
      <inkml:brushProperty name="width" value="0.05" units="cm"/>
      <inkml:brushProperty name="height" value="0.05" units="cm"/>
      <inkml:brushProperty name="ignorePressure" value="1"/>
    </inkml:brush>
  </inkml:definitions>
  <inkml:trace contextRef="#ctx0" brushRef="#br0">131 18,'-1'-1,"1"0,-1 0,1 0,-1 0,0 0,1 0,-1 0,0 0,0 0,0 1,0-1,0 0,0 0,0 1,0-1,0 1,0-1,0 1,0-1,0 1,0-1,0 1,-1 0,1 0,0 0,-2 0,0 0,0 0,0 1,-1 0,1 0,0 0,0 0,0 0,0 1,-5 3,0 0,0 1,0 0,1 1,0 0,-11 13,16-17,1 0,-1 0,1 0,0 0,0 0,0 0,0 0,1 0,-1 1,1-1,0 0,0 0,0 1,0-1,2 6,-2-8,0 1,1-1,-1 0,0 0,1 0,-1 0,1 0,-1 0,1 0,0 0,-1 0,1 0,0 0,0 0,0 0,0 0,0 0,0-1,0 1,0 0,0-1,0 1,0-1,0 1,0-1,0 0,1 1,-1-1,0 0,0 0,0 0,1 0,-1 0,0 0,0 0,0 0,1-1,-1 1,0 0,0-1,0 1,0-1,0 1,2-1,-2 0,0 0,1 1,-1-1,0 0,1 0,-1 0,0 0,0 0,0 0,0 0,0 0,0 0,0-1,0 1,-1 0,1 0,0-1,-1 1,1-1,-1 1,1-1,-1 1,0-1,0 1,1-1,-1 1,0-2,-1 0,1-1,0 1,-1 0,0 0,0 0,0 0,0 0,0 0,-1 0,1 0,-4-4,-7-7</inkml:trace>
</inkml:ink>
</file>

<file path=ppt/ink/ink1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282"/>
    </inkml:context>
    <inkml:brush xml:id="br0">
      <inkml:brushProperty name="width" value="0.05" units="cm"/>
      <inkml:brushProperty name="height" value="0.05" units="cm"/>
      <inkml:brushProperty name="ignorePressure" value="1"/>
    </inkml:brush>
  </inkml:definitions>
  <inkml:trace contextRef="#ctx0" brushRef="#br0">0 1,'3'3,"2"5,-1 4,0 3,-2 2,0 3,-2 0,1 0,-1-3</inkml:trace>
</inkml:ink>
</file>

<file path=ppt/ink/ink1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601"/>
    </inkml:context>
    <inkml:brush xml:id="br0">
      <inkml:brushProperty name="width" value="0.05" units="cm"/>
      <inkml:brushProperty name="height" value="0.05" units="cm"/>
      <inkml:brushProperty name="ignorePressure" value="1"/>
    </inkml:brush>
  </inkml:definitions>
  <inkml:trace contextRef="#ctx0" brushRef="#br0">1 20,'0'0</inkml:trace>
  <inkml:trace contextRef="#ctx0" brushRef="#br0" timeOffset="1">136 0,'4'0,"0"0</inkml:trace>
</inkml:ink>
</file>

<file path=ppt/ink/ink1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936"/>
    </inkml:context>
    <inkml:brush xml:id="br0">
      <inkml:brushProperty name="width" value="0.05" units="cm"/>
      <inkml:brushProperty name="height" value="0.05" units="cm"/>
      <inkml:brushProperty name="ignorePressure" value="1"/>
    </inkml:brush>
  </inkml:definitions>
  <inkml:trace contextRef="#ctx0" brushRef="#br0">0 0,'4'0,"3"0,2 0</inkml:trace>
</inkml:ink>
</file>

<file path=ppt/ink/ink1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29"/>
    </inkml:context>
    <inkml:brush xml:id="br0">
      <inkml:brushProperty name="width" value="0.05" units="cm"/>
      <inkml:brushProperty name="height" value="0.05" units="cm"/>
      <inkml:brushProperty name="ignorePressure" value="1"/>
    </inkml:brush>
  </inkml:definitions>
  <inkml:trace contextRef="#ctx0" brushRef="#br0">176 1,'-27'664,"-25"561,43-895,0-9,-29 207,18-341,11-115,-2 37,10-94</inkml:trace>
</inkml:ink>
</file>

<file path=ppt/ink/ink1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30"/>
    </inkml:context>
    <inkml:brush xml:id="br0">
      <inkml:brushProperty name="width" value="0.05" units="cm"/>
      <inkml:brushProperty name="height" value="0.05" units="cm"/>
      <inkml:brushProperty name="ignorePressure" value="1"/>
    </inkml:brush>
  </inkml:definitions>
  <inkml:trace contextRef="#ctx0" brushRef="#br0">0 82,'91'-17,"507"-6,565-12,-793 28,903 13,-758 30,55 3,-490-37,-42-3,-1 3,58 8,-57-4,-22-4</inkml:trace>
</inkml:ink>
</file>

<file path=ppt/ink/ink1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31"/>
    </inkml:context>
    <inkml:brush xml:id="br0">
      <inkml:brushProperty name="width" value="0.05" units="cm"/>
      <inkml:brushProperty name="height" value="0.05" units="cm"/>
      <inkml:brushProperty name="ignorePressure" value="1"/>
    </inkml:brush>
  </inkml:definitions>
  <inkml:trace contextRef="#ctx0" brushRef="#br0">0 2332,'5'-1,"0"0,0 0,0 0,-1 0,1-1,-1 0,1 0,-1 0,1-1,-1 1,0-1,0 0,-1 0,1 0,0-1,-1 1,0-1,0 0,0 0,3-6,3-4,-1 0,-1-1,0 0,8-27,1-11,125-377,-95 300,-25 66,43-91,6-12,-19 39,-1-8,-18 44,18-64,-38 109,3 0,1 1,34-64,4 1,19-33,-65 128,1 0,1 1,1 0,0 1,0 0,1 1,19-14,-21 18,0 1,0 1,0 0,1 0,0 1,0 1,0 0,0 0,1 1,-1 0,1 1,-1 0,1 1,-1 1,1 0,-1 0,1 1,-1 0,13 5,7 4,0 1,-1 2,0 1,-1 2,36 26,-56-37,135 101,-123-89,0 2,-1 1,0 0,19 30,59 104,-27-38,-15-25,61 131,-96-177,3-1,2-1,35 46,104 113,-106-142,116 96,8 5,-162-140,1-1,1-1,1-1,0-1,1-1,1-1,1-1,0-2,1 0,0-2,1-1,31 6,14 1,-46-9,1-1,1-2,-1-1,33 1,0-5,-15 1,0-1,1-3,-1-2,-1-1,73-21,-63 7,-1-3,-2-2,91-57,31-34,-168 112,0 0,0 1,1 0,-1 1,0 0,1 0,0 0,0 1,-1 0,1 1,0-1,0 2,0-1,-1 1,12 2,15 5,0 1,39 16,-22-7,-7-1,48 25,2 1,67 16,-136-52,2 0,-1-2,1-1,34 1,58 6,-59-3,-36-5,1 2,-1 0,0 1,-1 2,1 1,-1 0,30 19,9 10,68 55,-127-91,8 5,1 0,-1-1,2 0,-1-1,0-1,1 0,0 0,0-1,0-1,1 0,-1-1,0-1,15 0,21-4,0-1,54-13,-76 12</inkml:trace>
</inkml:ink>
</file>

<file path=ppt/ink/ink1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0.686"/>
    </inkml:context>
    <inkml:brush xml:id="br0">
      <inkml:brushProperty name="width" value="0.05" units="cm"/>
      <inkml:brushProperty name="height" value="0.05" units="cm"/>
      <inkml:brushProperty name="ignorePressure" value="1"/>
    </inkml:brush>
  </inkml:definitions>
  <inkml:trace contextRef="#ctx0" brushRef="#br0">77 193,'1'4,"0"-1,0 1,-1 0,1 0,-1 0,0 0,0-1,0 1,0 0,-2 6,1-3,-3 35,-1 0,-3-1,-1 0,-3 0,-28 69,50-141,11-57,8-33,9-31,-39 152,1 0,0 0,0 0,0-1,0 1,0 0,0 0,0 0,0 0,0-1,0 1,0 0,0 0,0 0,0 0,0-1,0 1,0 0,0 0,0 0,0 0,1-1,-1 1,0 0,0 0,0 0,0 0,0 0,0-1,0 1,1 0,-1 0,0 0,0 0,0 0,0 0,1 0,-1 0,0 0,0 0,0-1,0 1,1 0,-1 0,0 0,0 0,0 0,0 0,1 0,-1 0,0 0,0 1,0-1,0 0,1 0,-1 0,0 0,0 0,0 0,0 0,0 0,1 0,-1 0,0 1,10 15,4 24,-7-10,2 0,1 0,1-1,2 0,1-1,22 34,-35-60,-1-1,1 0,0 1,0-1,0 0,0 0,0 1,0-1,0 0,0 0,0 0,1 0,-1-1,0 1,1 0,-1 0,0-1,1 1,-1-1,1 1,-1-1,4 1,-4-2,0 1,0-1,0 1,1-1,-1 0,0 0,0 0,0 1,0-1,0 0,0 0,0 0,0 0,-1 0,1-1,0 1,-1 0,1 0,-1 0,1-2,3-6,-1-1,-1 1,0-1,0 1,0-19,7-127,0-23,-9 139,0 23</inkml:trace>
</inkml:ink>
</file>

<file path=ppt/ink/ink1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2.367"/>
    </inkml:context>
    <inkml:brush xml:id="br0">
      <inkml:brushProperty name="width" value="0.05" units="cm"/>
      <inkml:brushProperty name="height" value="0.05" units="cm"/>
      <inkml:brushProperty name="ignorePressure" value="1"/>
    </inkml:brush>
  </inkml:definitions>
  <inkml:trace contextRef="#ctx0" brushRef="#br0">331 3,'-3'-2,"-6"9,-5 10,-8 19,2 2,2 1,-13 41,17-44,-112 328,104-280,3 1,-11 124,28-181,2 0,0 0,2-1,1 1,1-1,2 0,1 0,0 0,2-1,2 0,15 29,-18-42</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4.130"/>
    </inkml:context>
    <inkml:brush xml:id="br0">
      <inkml:brushProperty name="width" value="0.025" units="cm"/>
      <inkml:brushProperty name="height" value="0.025" units="cm"/>
      <inkml:brushProperty name="ignorePressure" value="1"/>
    </inkml:brush>
  </inkml:definitions>
  <inkml:trace contextRef="#ctx0" brushRef="#br0">43 4,'-5'4,"1"1,0 0,0 0,1 0,-1 0,1 1,0 0,1-1,-1 1,1 0,0 0,-1 8,3-12,0-1,0 1,0 0,0 0,0 0,0-1,0 1,1 0,-1 0,1-1,-1 1,1 0,0-1,0 1,-1 0,1-1,0 0,2 3,-1-2,1-1,-1 1,0-1,1 1,-1-1,1 0,-1 0,1 0,-1-1,1 1,0 0,-1-1,1 0,0 1,-1-1,4-1,1 1,1-1,-1 0,0-1,0 0,0 0,0 0,0-1,-1 0,1 0,8-6,-13 8,-1 0,1 0,0 0,-1 0,1-1,0 1,-1 0,0-1,1 1,-1-1,0 1,0-1,0 0,0 1,0-1,0 0,0 0,-1 0,1 0,0 0,-1 0,0 0,1 0,-1 0,0 0,0 0,0 0,-1 0,1 1,0-1,-1 0,1 0,-1 0,0 0,1 0,-1 0,0 1,0-1,0 0,0 0,-3-1,1 0,0 0,-1 0,1 1,-1-1,0 1,1 0,-1 0,0 1,-1-1,1 1,0 0,0 0,0 0,-1 0,-8 1,-5-1</inkml:trace>
</inkml:ink>
</file>

<file path=ppt/ink/ink1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3.534"/>
    </inkml:context>
    <inkml:brush xml:id="br0">
      <inkml:brushProperty name="width" value="0.05" units="cm"/>
      <inkml:brushProperty name="height" value="0.05" units="cm"/>
      <inkml:brushProperty name="ignorePressure" value="1"/>
    </inkml:brush>
  </inkml:definitions>
  <inkml:trace contextRef="#ctx0" brushRef="#br0">1 412,'1'-4,"0"0,0 0,0 0,1 0,0 0,-1 0,4-4,6-13,93-310,-102 307,-10 33,-13 39,17-31,-1 8,0-1,-2 44,7-62,-1-1,2 1,-1-1,0 0,1 1,0-1,0 0,1 0,0 1,0-1,0-1,0 1,1 0,-1 0,1-1,0 1,1-1,6 7,-8-10,-1 1,1-1,0 0,0 0,0 0,0 0,0 0,0 0,0 0,0-1,0 1,1-1,-1 0,0 1,0-1,0 0,1 0,-1 0,0-1,0 1,4-1,-1-1,-1 0,1 0,-1-1,0 1,0-1,0 0,0 0,-1 0,6-6,2-5,0 0,-1 0,-1-1,12-24,26-87,-50 136,0 0,0 0,1 1,0-1,1 1,0 0,1-1,0 1,0 0,2-1,3 18,-4-20,1-1,1 0,-1-1,1 1,1 0,-1-1,1 0,0 1,0-2,1 1,0 0,0-1,0 0,1 0,-1 0,1-1,10 6,-4-4</inkml:trace>
</inkml:ink>
</file>

<file path=ppt/ink/ink1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4.650"/>
    </inkml:context>
    <inkml:brush xml:id="br0">
      <inkml:brushProperty name="width" value="0.05" units="cm"/>
      <inkml:brushProperty name="height" value="0.05" units="cm"/>
      <inkml:brushProperty name="ignorePressure" value="1"/>
    </inkml:brush>
  </inkml:definitions>
  <inkml:trace contextRef="#ctx0" brushRef="#br0">55 1,'-3'6,"-2"6,1 5,1 1,0 2,2 1,-3 0,-1-1,1 0,1 0,-2-3,-1-2,1 0,1-2</inkml:trace>
</inkml:ink>
</file>

<file path=ppt/ink/ink1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5.579"/>
    </inkml:context>
    <inkml:brush xml:id="br0">
      <inkml:brushProperty name="width" value="0.05" units="cm"/>
      <inkml:brushProperty name="height" value="0.05" units="cm"/>
      <inkml:brushProperty name="ignorePressure" value="1"/>
    </inkml:brush>
  </inkml:definitions>
  <inkml:trace contextRef="#ctx0" brushRef="#br0">233 32,'-22'21,"-46"33,62-50,0 0,0 0,0-1,0 1,-1-2,1 1,-1-1,0 0,1 0,-1-1,0 1,0-2,0 1,-10-1,16 0,-1 0,1 0,-1 0,1-1,0 1,-1 0,1-1,-1 1,1-1,0 1,-1-1,1 0,0 1,0-1,0 0,0 0,-1 0,1 0,0 0,1 0,-1 0,0 0,0 0,0-1,1 1,-1 0,0-1,1 1,-1 0,1-1,0 1,-1-1,1 1,0 0,0-1,0 1,0-1,0 1,0-1,0 1,1 0,0-2,0-1,0 0,0 0,1 0,0 1,0-1,0 1,0-1,1 1,-1 0,1 0,0 0,0 0,6-4,2 0,0 1,1 1,-1 0,1 0,1 1,-1 1,0 0,1 0,22 0,10 2,66 7,-1 0,-51-7,-43 1</inkml:trace>
</inkml:ink>
</file>

<file path=ppt/ink/ink1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6.283"/>
    </inkml:context>
    <inkml:brush xml:id="br0">
      <inkml:brushProperty name="width" value="0.05" units="cm"/>
      <inkml:brushProperty name="height" value="0.05" units="cm"/>
      <inkml:brushProperty name="ignorePressure" value="1"/>
    </inkml:brush>
  </inkml:definitions>
  <inkml:trace contextRef="#ctx0" brushRef="#br0">0 0,'5'3,"-1"0,1 0,-1 0,1-1,0 0,0 0,10 3,-11-4,0 0,1 1,-1-1,0 1,0 0,0 0,0 1,6 4,-9-6,0 1,0 0,0 0,0-1,0 1,-1 0,1 0,0 0,-1 0,1 0,-1 0,0 0,0 0,0 0,0 0,0 0,0 0,0 0,0 0,-1 0,1 0,-1 0,0-1,0 1,0 2,-24 33,21-32,0 0,0 0,0 1,1-1,0 1,-5 12,7-17,1 0,0 0,0 0,0 0,0-1,0 1,0 0,0 0,0 0,0 0,0 0,1 0,-1-1,0 1,1 0,-1 0,0 0,1-1,-1 1,1 0,-1-1,2 2,0-1,-1 1,1-1,1 0,-1 0,0 0,0 0,0 0,0 0,1-1,-1 1,0-1,3 1,16 1,1-1,26-3,-20 1,-10 1</inkml:trace>
</inkml:ink>
</file>

<file path=ppt/ink/ink1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6.978"/>
    </inkml:context>
    <inkml:brush xml:id="br0">
      <inkml:brushProperty name="width" value="0.05" units="cm"/>
      <inkml:brushProperty name="height" value="0.05" units="cm"/>
      <inkml:brushProperty name="ignorePressure" value="1"/>
    </inkml:brush>
  </inkml:definitions>
  <inkml:trace contextRef="#ctx0" brushRef="#br0">0 0,'19'8,"-1"-1,1-1,0 0,0-2,1 0,29 2,124-5,-12-1,-78 5,-1-3,111-13,-163 4,-18 2</inkml:trace>
</inkml:ink>
</file>

<file path=ppt/ink/ink1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8.742"/>
    </inkml:context>
    <inkml:brush xml:id="br0">
      <inkml:brushProperty name="width" value="0.05" units="cm"/>
      <inkml:brushProperty name="height" value="0.05" units="cm"/>
      <inkml:brushProperty name="ignorePressure" value="1"/>
    </inkml:brush>
  </inkml:definitions>
  <inkml:trace contextRef="#ctx0" brushRef="#br0">11 0,'-2'2,"1"1,0-1,0 0,0 1,0-1,0 1,0-1,1 1,-1-1,1 1,0 0,-1-1,1 1,0-1,1 1,-1 0,0-1,1 1,1 3,18 54,-18-54,34 73,87 141,-4-11,-101-172,-2 1,-1 1,18 75,-24-70,-2 0,-2 0,-2 1,-2 0,-1-1,-3 1,-2 0,-1-1,-3 0,-1-1,-2 0,-2 0,-26 51,16-43,-2-1,-2-2,-3-1,-1-1,-54 57,69-85</inkml:trace>
</inkml:ink>
</file>

<file path=ppt/ink/ink1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39.138"/>
    </inkml:context>
    <inkml:brush xml:id="br0">
      <inkml:brushProperty name="width" value="0.05" units="cm"/>
      <inkml:brushProperty name="height" value="0.05" units="cm"/>
      <inkml:brushProperty name="ignorePressure" value="1"/>
    </inkml:brush>
  </inkml:definitions>
  <inkml:trace contextRef="#ctx0" brushRef="#br0">31 0,'1'53,"0"-19,-1-1,-2 0,-9 56,-9 17,20-106,0-1,0 1,0 0,0 0,0 0,0 0,0 0,0 0,1 0,-1 0,0 0,0 0,0 0,0 0,0 0,0 0,0 0,0 0,0 0,0 0,0 0,0 0,0 0,1 0,-1 0,0 0,0 0,0 0,0 0,0 0,0 0,0 0,0 0,0 0,0 0,0 0,0 0,0 0,0 0,1 0,-1 0,0 0,0 0,0 1,0-1,0 0,0 0,0 0,9-13,15-28,-16 27,-1 3,2-5,0 0,2 1,0 0,15-15,-25 28,1 0,0 0,0 0,0 0,0 0,0 1,0-1,0 1,1-1,-1 1,0 0,1 0,-1 0,1 0,0 1,-1-1,1 1,-1-1,1 1,0 0,-1 0,1 0,0 0,-1 0,1 1,0-1,-1 1,1 0,-1 0,1 0,-1 0,1 0,-1 1,0-1,0 0,0 1,3 2,0 2,-1 0,0 0,0 1,-1-1,1 1,-1 0,-1 0,1 0,-1 0,-1 0,1 0,-1 1,0-1,-1 1,0 9,0-6,1 1,1-1,0 0,0 0,7 17,-3-14</inkml:trace>
</inkml:ink>
</file>

<file path=ppt/ink/ink1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4.866"/>
    </inkml:context>
    <inkml:brush xml:id="br0">
      <inkml:brushProperty name="width" value="0.05" units="cm"/>
      <inkml:brushProperty name="height" value="0.05" units="cm"/>
      <inkml:brushProperty name="ignorePressure" value="1"/>
    </inkml:brush>
  </inkml:definitions>
  <inkml:trace contextRef="#ctx0" brushRef="#br0">1 426,'10'-132,"0"-4,-12 100,1 27,0-1,0 0,1 0,0 0,1 1,0-1,1 0,0 1,4-12,-3 22,1 10,0 12,-3 0,1 0,1 0,1 0,7 23,-10-42,1 1,-1-1,1 1,0-1,0 0,0 0,0 0,1 0,0 0,-1 0,2-1,-1 1,0-1,1 0,-1 0,1 0,0 0,0-1,0 0,0 0,1 0,-1 0,0 0,1-1,-1 0,9 1,-8-2,0 0,0-1,0 1,0-1,-1-1,1 1,0-1,0 1,-1-1,1-1,-1 1,1-1,-1 1,0-1,0 0,-1-1,1 1,0-1,-1 1,0-1,0 0,0-1,-1 1,1 0,-1-1,2-5,2-3,-1-1,0 0,-1 0,0 0,-2-1,1 1,-1-26,-1-13,0 49,-2 14,0 11,0 7,0 0,2 0,8 44,-9-66,2 0,-1 1,1-1,-1 0,2-1,-1 1,1 0,0-1,0 1,0-1,1 0,0 0,0 0,0 0,0-1,1 0,0 0,0 0,0 0,0-1,1 0,8 4,1-2</inkml:trace>
</inkml:ink>
</file>

<file path=ppt/ink/ink1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5.766"/>
    </inkml:context>
    <inkml:brush xml:id="br0">
      <inkml:brushProperty name="width" value="0.05" units="cm"/>
      <inkml:brushProperty name="height" value="0.05" units="cm"/>
      <inkml:brushProperty name="ignorePressure" value="1"/>
    </inkml:brush>
  </inkml:definitions>
  <inkml:trace contextRef="#ctx0" brushRef="#br0">208 74,'-4'6,"0"0,-1-1,1 1,-1 0,0-1,0 0,-1-1,1 1,-1-1,0 0,0 0,-1-1,1 0,-1 0,-7 2,11-3,0-1,0 0,-1 0,1 0,-1 0,1-1,0 0,-1 1,1-1,-1 0,1-1,-1 1,1-1,-1 1,1-1,0 0,-1 0,1 0,0-1,0 1,0-1,0 0,0 0,0 0,0 0,1 0,-1-1,1 1,0-1,-1 0,1 0,-2-4,2 5,1-1,0 1,0-1,0 0,0 1,1-1,-1 0,1 0,-1 1,1-1,0 0,0 0,0 0,0 1,1-1,-1 0,1 0,0 1,0-1,0 0,0 1,0-1,0 1,1 0,-1-1,1 1,-1 0,1 0,0 0,0 0,0 0,0 0,1 0,-1 1,0-1,5-1,-1-1,1 1,0 0,-1 1,1-1,0 1,0 1,0-1,1 1,-1 0,0 1,0 0,1 0,7 1,33 6,0-2,75-3,-107-3</inkml:trace>
</inkml:ink>
</file>

<file path=ppt/ink/ink1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6.310"/>
    </inkml:context>
    <inkml:brush xml:id="br0">
      <inkml:brushProperty name="width" value="0.05" units="cm"/>
      <inkml:brushProperty name="height" value="0.05" units="cm"/>
      <inkml:brushProperty name="ignorePressure" value="1"/>
    </inkml:brush>
  </inkml:definitions>
  <inkml:trace contextRef="#ctx0" brushRef="#br0">1 18,'0'-1,"1"0,0-1,-1 1,1 0,0 0,-1 0,1 1,0-1,0 0,0 0,0 0,0 1,0-1,0 0,0 1,0-1,0 1,1-1,-1 1,0 0,0-1,0 1,1 0,-1 0,0 0,0 0,1 0,1 0,37 1,-37-1,-1 1,1-1,0 1,-1-1,1 1,-1 0,1 0,-1 0,1 1,-1-1,0 0,0 1,1 0,-1-1,0 1,-1 0,1 0,0 0,0 0,-1 0,1 1,-1-1,0 0,0 1,0-1,0 1,0-1,0 1,-1 0,1-1,-1 1,0 0,0-1,0 1,0 3,-2 8,-1-1,0 0,-1-1,0 1,-10 19,10-22,4-9,-1-1,1 1,-1 0,1 0,0 0,-1 0,1 0,0 0,0 0,0-1,-1 1,1 0,0 0,0 0,1 0,-1 0,0 0,0 0,0 0,1 0,-1 0,0 0,1-1,-1 1,0 0,1 0,0 0,-1-1,1 1,-1 0,1-1,0 1,1 1,0-1,1 0,0 0,1 1,-1-2,0 1,0 0,0-1,0 1,1-1,3 0,11-1,1-1,25-5,4-2,-29 6</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5.546"/>
    </inkml:context>
    <inkml:brush xml:id="br0">
      <inkml:brushProperty name="width" value="0.025" units="cm"/>
      <inkml:brushProperty name="height" value="0.025" units="cm"/>
      <inkml:brushProperty name="ignorePressure" value="1"/>
    </inkml:brush>
  </inkml:definitions>
  <inkml:trace contextRef="#ctx0" brushRef="#br0">32 0,'14'0,"21"2,-35-2,1 0,-1 0,0 0,0 0,0 0,0 0,0 0,0 0,1 0,-1 0,0 0,0 0,0 0,0 0,0 0,0 0,0 1,0-1,1 0,-1 0,0 0,0 0,0 0,0 0,0 0,0 1,0-1,0 0,0 0,0 0,0 0,0 0,0 0,0 1,0-1,0 0,0 0,0 0,0 0,0 0,0 0,0 1,0-1,0 0,0 0,0 0,0 0,0 0,0 0,-1 0,1 1,0-1,0 0,0 0,0 0,0 0,0 0,0 0,-20 11,12-7,0 0,1 0,-1 1,1 0,-8 6,14-11,1 1,-1 0,0-1,1 1,-1 0,0-1,1 1,-1 0,1 0,0 0,-1-1,1 1,0 0,-1 0,1 0,0 0,0 0,0 0,0 0,0 0,0-1,0 3,1-2,0 1,0-1,0 1,0-1,0 0,0 0,0 1,0-1,0 0,1 0,-1 0,1 0,-1 0,1-1,-1 1,1 0,2 0,-1 0,1 1,-1-1,0 1,0 0,0 0,0 0,0 0,0 0,-1 1,1-1,-1 1,0 0,1 0,-1 0,0 0,-1 0,3 6,-3-8,-1 1,0-1,1 0,-1 1,0-1,0 1,0-1,0 1,-1-1,1 0,0 1,0-1,-1 0,1 1,-1-1,0 0,1 1,-2 1,0-1,0 0,0 0,0 0,0 0,-1 0,1-1,0 1,-1-1,1 0,-1 1,0-1,-3 1,-13 3,1-3</inkml:trace>
</inkml:ink>
</file>

<file path=ppt/ink/ink1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6:16.158"/>
    </inkml:context>
    <inkml:brush xml:id="br0">
      <inkml:brushProperty name="width" value="0.05" units="cm"/>
      <inkml:brushProperty name="height" value="0.05" units="cm"/>
      <inkml:brushProperty name="ignorePressure" value="1"/>
    </inkml:brush>
  </inkml:definitions>
  <inkml:trace contextRef="#ctx0" brushRef="#br0">0 42,'3'-4,"2"-3,2-2,1-2,-1 1</inkml:trace>
</inkml:ink>
</file>

<file path=ppt/ink/ink1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6:45.247"/>
    </inkml:context>
    <inkml:brush xml:id="br0">
      <inkml:brushProperty name="width" value="0.05" units="cm"/>
      <inkml:brushProperty name="height" value="0.05" units="cm"/>
      <inkml:brushProperty name="ignorePressure" value="1"/>
    </inkml:brush>
  </inkml:definitions>
  <inkml:trace contextRef="#ctx0" brushRef="#br0">1 0,'0'0</inkml:trace>
</inkml:ink>
</file>

<file path=ppt/ink/ink17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6:26:04.105"/>
    </inkml:context>
    <inkml:brush xml:id="br0">
      <inkml:brushProperty name="width" value="0.05292" units="cm"/>
      <inkml:brushProperty name="height" value="0.05292" units="cm"/>
      <inkml:brushProperty name="color" value="#0070C0"/>
    </inkml:brush>
  </inkml:definitions>
  <inkml:trace contextRef="#ctx0" brushRef="#br0">1786 3122 0,'278'-79'16,"-199"65"-16,-13 1 0,14 0 0,-1 0 16,0 0-16,14-1 0,-14 1 15,1 0-15,-1 0 0,1 13 0,-14-14 16,-13 1-16,-1 13 0,-12 0 0,0-13 16,-14 13-16,1 0 0,-14 0 15,0 0-15,0 0 0</inkml:trace>
  <inkml:trace contextRef="#ctx0" brushRef="#br0" timeOffset="309.48">1931 3228 0,'53'13'0,"-26"-13"16,26-13-16,0 13 0,0 0 0,26-13 16,0 13-16,14-14 15,-14 1-15,14 13 0,-14-13 0,1 0 0,-1 0 16,-13-1-16,0 14 0,-13-13 16,0 13-16,13-13 15,-13 0-15,-40 13 0,14 0 16,-14 0-16,0 0 0,1 0 15,-28 26 17,1-13-32</inkml:trace>
  <inkml:trace contextRef="#ctx0" brushRef="#br0" timeOffset="5776.45">5358 2355 0,'26'0'0,"-26"13"15,0 0-15,0 14 32,0-14-32,14 0 0,-14 0 0,0 1 15,13 39-15,0-27 0,0 14 16,0-14-16,1 14 0,-1-14 0,0 14 15,0-14-15,27 27 16,-40-26-16,13-1 0,0 1 0,1-14 16,-14 13-16,13-12 0,-13 25 15,0-25-15,0-1 0,0 0 16,0 13-16,0-12 0,-13 12 16,-1-13-16,14 1 0,-26 12 15,13-26-15,0 13 16,-1-13-16,-12 14 0,13-14 15,-1 0-15,1 13 0</inkml:trace>
  <inkml:trace contextRef="#ctx0" brushRef="#br0" timeOffset="6753.43">1296 2302 0,'-145'13'15,"132"0"-15,-14-13 16,14 14-16,-27-1 16,27-13-16,-13 13 15,12 0-15,1 0 0,0 14 31,13-14-31,0 0 0,0 14 0,0-1 16,0 1-16,13-14 16,-13 40-16,13-27 0,-13 27 15,0-26-15,14 12 0,-14-12 16,0 39-16,0-39 16,0-1-16,13 27 0,-13-13 15,0-1-15,0 1 16,0-27-16,0 0 15,0 1-15,0-1 0,0 0 16,13 0-16,-13 1 0,13-14 16,-13 13-16,14-13 15,-1 13-15,0-13 0,13 0 16,-12 0-16,-1 0 16,0 0-16,14 0 0,-1-13 15,1 13-15,-14 0 16</inkml:trace>
  <inkml:trace contextRef="#ctx0" brushRef="#br0" timeOffset="13222.35">21246 6350 0,'0'53'0,"0"-27"0,-13 14 16,13 0-16,-13 26 0,-1-13 0,1 13 15,-13 0-15,12-13 0,-25 79 16,26-79-16,-1 13 0,1-13 16,0 0-16,0-13 0,13 0 0,0 52 15,0-65-15,0-1 16,13 1-16,0-14 0,0 13 15,14 1-15,-1-14 0,1 0 16,52 14-16,-26-14 0,13-13 0,-13 13 16,26-13-16,1 13 0,92-13 15,-93 14-15,14-14 16,13 0-16,-14 13 0,14-13 0,-13 13 16,-1-13-16,1 0 0,-14 13 0,14-13 15,-14 13-15,1-13 0,-14 14 16,53-14-16,-66 0 15,-27 0-15,40 0 0,-39 0 16,12-14-16,-12 1 0,-14 0 16,0 0-16,1 0 0,-1-1 15,13-39-15,-13 14 0,1-1 16,-14 0-16,0-13 0,13 0 0,-13-26 16,0 13-16,0-27 0,0 1 15,0-1-15,0-13 0,-13-13 0,13 27 16,0-1-16,0 14 0,0-1 15,0-39-15,0 80 0,0-1 16,0 13-16,0-12 0,0 25 16,0 1-16,-14 0 0,14 0 15,-13 13-15,0 0 16,0 0-16,0 0 0,-14 0 0,1 13 0,-14-13 16</inkml:trace>
  <inkml:trace contextRef="#ctx0" brushRef="#br0" timeOffset="16709.65">20638 3691 0,'105'-40'0,"-52"27"15,0 13-15,0-13 0,26 0 0,-12-1 0,-1 14 16,13-13-16,-13 0 0,14 13 16,-14-13-16,13 13 0,-13-14 15,14 14-15,-27 0 0,0 0 0,-1-13 16,-12 13-16,0 0 0,-14 0 16,1 0-16,-14 0 0,0 0 0,0 0 15,1 0-15,-1 0 0,13 0 16,-12 0-16,-14 13 15,-14 1 1,1-14 0,13 13-16,-13-13 15,0 0-15,-1 13 0,1-13 0,-13 13 16</inkml:trace>
  <inkml:trace contextRef="#ctx0" brushRef="#br0" timeOffset="17926.27">2355 4260 0,'39'0'15,"-25"-13"-15,39 13 16,39-14-16,-39 1 0,0 13 16,66-26-16,-66 26 15,0-14-15,0 14 0,0-13 0,0 13 16,-14 0-16,1-13 0,-13 13 0,25 0 16,-25 0-16,-1 0 15,-12 0-15,12 0 16,-13 0-16,1 13 0,-1-13 15,0 0-15,-13 13 0,13 1 16,0-14 0</inkml:trace>
  <inkml:trace contextRef="#ctx0" brushRef="#br0" timeOffset="18481.4">4829 4128 0,'105'0'16,"-38"-14"-16,-14 14 0,-1-13 15,-12 13-15,66-26 0,-66 26 16,52-27-16,-65 27 0,-1-13 15,1 13-15,-1 0 0,-13 0 16,1-13-16,-1 13 0,0 0 0,0 0 16,0 0-16,1 13 15,-28 0 1,14 0-16,0 1 0,0-1 16,-13 0-16,13 0 0</inkml:trace>
  <inkml:trace contextRef="#ctx0" brushRef="#br0" timeOffset="21996.46">8665 6919 0,'-26'-13'0,"12"-1"0,1 14 16,0-13-16,-14 13 0,14 0 15,-13-13-15,-1 13 0,-12-13 16,12 13-16,-39 0 0,-40 0 15,53 13-15,-53 0 16,54 0-16,-15 14 0,28-14 16,-14 14-16,13-14 0,-13 13 0,14 14 15,-14 13-15,0 13 16,39-13-16,-12 26 16,26-39-16,0 13 0,0-13 0,0-1 15,13 14-15,0 0 0,14-13 16,26 52-16,26-25 15,27-15-15,-53-25 16,0-14-16,13 0 0,-13 1 0,79-1 16,-52-26-16,-1 13 0,53-27 15,-66 14 1,-13 0-16,66-67 0,-92 54 16,-1-14-16,1 14 0,-14-14 15,0 0-15,0-13 0,-13 14 16,-13-14-16,0 0 0,0 0 0,-40-53 15,13 66-15,-39-39 0,26 39 16,13 14-16,-39-14 16,13 14-16,26 13 15,0-1-15,27 14 0,-13 0 16,-1 14 0,40-1-1,1-13-15,12 13 0</inkml:trace>
  <inkml:trace contextRef="#ctx0" brushRef="#br0" timeOffset="22696.29">11165 6654 0,'-145'14'0,"39"12"16,40-13-16,-13 14 0,12-14 0,1 13 15,-66 40-15,66-26 16,13 0-16,-66 52 15,26 14-15,67-53 0,-14 13 16,14 53-16,26-52 16,0 52-16,13-66 0,40 52 15,-14-52-15,1-13 0,26 0 16,0-1-16,106 14 16,14-26-16,-94-14 15,14-13-15,-13 0 0,-1 0 0,1-13 16,-14 0-16,1-14 0,65-13 15,-79 14-15,-13-14 0,-13 14 0,39-54 16,-52 27-16,-1 14 16,14-146-1,-40 79-15,-53-27 16,13 81-16,-66-81 0,40 67 16,-79-27-16,79 67 15,-1 0-15,1-1 0,-53-13 16,27 27-16,39 0 15,26 13-15,1 0 0,-14 0 16,27 0-16,26 13 16,14 0-16,-1-13 15</inkml:trace>
  <inkml:trace contextRef="#ctx0" brushRef="#br0" timeOffset="23393.69">13560 6601 0,'-542'146'16,"422"-67"0,68-39-16,-1 13 0,13 0 15,-39 66-15,52-53 16,-13 53-16,27-53 16,13 66-16,0-65 15,13-1-15,40 53 0,-26-53 0,26-26 16,66 66-1,40-27-15,-1-39 16,-78-14-16,-1-13 0,80 14 0,-93-27 16,53 0-16,-66 0 15,53-14-15,-67 1 0,1 0 16,53-40-16,-67 27 16,14-1-16,0-12 0,12-41 15,-25 40-15,26-65 16,-13-14-16,-27 66 0,0-14 15,-39-118 1,-14 79-16,0 54 0,14-1 16,-27 0-16,0 13 0,0 0 0,0 14 15,0-14-15,0 14 16,-66-14-16,-13 0 0,92 40 16,-13-13-16,-53 0 0,67 13 15,12 0-15,-39 0 16,-13 0-16,52 0 15</inkml:trace>
  <inkml:trace contextRef="#ctx0" brushRef="#br0" timeOffset="27505.58">4908 8308 0,'-13'-40'15,"0"27"-15,-1 13 16,1-13-16,0 13 0,-14-13 16,-12 13-16,-1 0 0,0 13 15,1-13-15,-14 13 0,13 0 16,-53 40-16,41-26 0,25-1 16,-26 27-16,27-27 0,12 1 15,-12 52-15,39 1 16,14 12-16,-1-39 15,27 66-15,-13-53 16,-14-13-16,14 0 0,26 80 16,-53-81-16,40 81 0,-40-1 15,-13-66 1,0-13-16,-13 13 0,0-13 0,-40 53 16,27-53-16,-14 0 0,-26 26 15,-14-26 1,41-40-16,-1 1 0,-26-14 15,0-27-15,39 14 0,1-14 16,-14-65 0,40 79-16,13-14 0,-13 1 0,40-14 15,-27 13-15,40 14 16,-26 13-16,-1 0 16,14 13-16,-1 14 0,54 39 0,-14 27 15,1 13-15,-27 39 16,13 27-1,-26-13-15,-27-80 16,0 1-16,0-14 0,14 13 0,-14-13 16,13 66-16,-12-79 15,25 40-15,1-27 16,-27-39-16,14-1 0,-14-13 16,0-13-16,27 0 15,-27-13-15,40-13 16</inkml:trace>
  <inkml:trace contextRef="#ctx0" brushRef="#br0" timeOffset="29813.09">3585 9036 0,'-13'0'0,"39"-14"15,1 14 1,39-26-16,-13 26 0,13-13 16,-13-1-16,26 1 0,-26 0 15,13 0-15,53-14 0,-79 14 16,13 13-16,66-13 15,-66 13-15,-40 0 16,0-13-16,14 13 16,-14 0-16</inkml:trace>
  <inkml:trace contextRef="#ctx0" brushRef="#br0" timeOffset="30064.67">4313 8758 0,'79'13'0,"-39"0"16,-1 0-16,-25 1 15,39 39 1,-40-1-16,0-12 15,-13-13-15,-40 78 16,27-78-16,0 13 0,-14-14 16,14 1-16,-13 12 0,-1-26 15</inkml:trace>
  <inkml:trace contextRef="#ctx0" brushRef="#br0" timeOffset="30341.71">3704 9803 0,'53'-27'16,"13"14"-1,-26 0-15,13 0 0,-13-1 16,12 1-16,54-13 0,-53 26 15,40-27-15,-40 14 0,-14 13 16,14-13-16,27-14 16,-54 27-16,1 0 0,12-13 15,-25 13-15,12-13 0,-13 13 16</inkml:trace>
  <inkml:trace contextRef="#ctx0" brushRef="#br0" timeOffset="30600.88">4551 9446 0,'106'26'16,"-93"-13"-16,27 14 15,-14-14-15,0 13 0,-12-12 16,12 25-16,1 1 16,-27 0-16,0-14 15,0 14-15,0 13 16,-14-27-16,1-13 0,13 14 0,-26 13 16</inkml:trace>
  <inkml:trace contextRef="#ctx0" brushRef="#br0" timeOffset="30953.82">3903 10821 0,'145'-39'31,"-105"26"-31,0-1 0,65-12 16,-12-1-1,-40 14-15,39-13 0,-52 26 16,40-27-16,-54 14 16,-13 13-16,27-13 0,-27 13 15,0-13-15</inkml:trace>
  <inkml:trace contextRef="#ctx0" brushRef="#br0" timeOffset="31204.09">4405 10517 0,'53'0'16,"80"27"-1,-107-14-15,0 0 0,1 0 0,-1 1 16,14 25-16,-14 1 15,-12 26-15,-14-13 16,-27 13-16,14-39 16,0 12-16,0-12 15,-14-14-15,-13 40 0</inkml:trace>
  <inkml:trace contextRef="#ctx0" brushRef="#br0" timeOffset="32904.74">7911 5927 0,'-13'39'16,"26"-12"-16,0 52 16,1 1-16,-1-41 0,0-12 15,0 52-15,0-13 16,1-26-16,-14 13 0,13-40 15,-13 14-15</inkml:trace>
  <inkml:trace contextRef="#ctx0" brushRef="#br0" timeOffset="33207.25">7871 6363 0,'-13'80'16,"13"-67"-16,13 0 0,1 0 0,-14 1 15,13-1-15,13 13 16,1-13-16,-1 1 16,14-14-1,-27 0-15,14-14 0,-14 1 0,13 0 16,-13 0-16,1 0 15,12-14-15,-13 14 16,1-14-16,-1 27 0,0-26 16,0 13-1,27-27-15,-14 27 0,-12 0 16</inkml:trace>
  <inkml:trace contextRef="#ctx0" brushRef="#br0" timeOffset="33588.32">11060 5503 0,'13'40'16,"13"26"-16,14 0 15,-27-26-15,0 13 0,14 26 16,-1 40 0,-12-79-16,12 26 15,-13-13-15,0-13 16,-13-14-16</inkml:trace>
  <inkml:trace contextRef="#ctx0" brushRef="#br0" timeOffset="33874.62">11126 6019 0,'-14'27'0,"28"-14"16,-1 27-16,0-27 0,0 0 15,14 27-15,-1-27 0,-12 0 16,38 0-16,-38 1 15,12-14-15,14 0 0,-14 0 16,14 0-16,-27-14 0,0 14 16,1-13-16,-1 0 0,13 0 15,-26 0-15,14-1 0,-1 1 16,-13 0-16,13 13 0,0-13 16,-13-1-16,14 14 15,12-26-15,-13 26 0,0-13 16</inkml:trace>
  <inkml:trace contextRef="#ctx0" brushRef="#br0" timeOffset="34233.86">13639 5543 0,'-13'79'15,"13"-39"-15,26 145 16,-26-145-16,14 0 0,-14-1 16,13 1-16,0 13 15,-13-27-15,13-12 0,-13 12 0,0-13 16,14 14-16,-14-14 16,13 0-16,-13 0 0</inkml:trace>
  <inkml:trace contextRef="#ctx0" brushRef="#br0" timeOffset="34538.76">13547 6072 0,'0'27'15,"0"-14"-15,0 0 16,26 14-16,1-1 0,-1 0 15,-13-12-15,0-1 16,14-13-16,-14 13 0,14-13 16,-14 0-16,40 0 0,-27-13 15,14 0-15,-14-1 16,-12 1-16,12-13 0,-13 13 0,1-1 16,25-25-16,-39 25 15,13-12-15,-13 13 16,14-1-1</inkml:trace>
  <inkml:trace contextRef="#ctx0" brushRef="#br0" timeOffset="38112.06">7871 8969 0,'14'14'0,"-1"-1"16,0-13-16,40 13 16,-13 0-16,-1 1 0,1-14 0,13 13 15,53-13-15,-40 0 16,-13 13-16,13-26 0,-13 13 0,13 0 16,0 0-16,-13-13 0,0 13 15,0-14-15,40-12 16,-54 13-16,14-1 0,-13-12 0,-14 13 15,40-27-15,-39 14 0,-1-1 16,1 1-16,-14-1 0,0-13 16,1 14-16,-14-53 0,-27-14 15,14 40-15,-14 0 0,1 14 16,-14-14-16,1 13 0,-1 0 16,-79-39-16,53 52 0,-1 1 15,-91-1-15,78 14 0,1 13 16,0 0-16,-14 0 0,14 13 15,-14 1-15,-66 25 0,80-12 16,0-1-16,-1 27 0,14-26 16,13 12-16,-53 41 0,67-27 15,-1-14-15,13 14 0,14-13 16,0 39-16,26-39 0,0-14 16,1 14-16,25 0 0,1-14 15</inkml:trace>
  <inkml:trace contextRef="#ctx0" brushRef="#br0" timeOffset="38717.03">10821 9128 0,'172'-13'16,"-53"0"0,-66-1-16,14 1 0,-1-13 0,-13 13 15,79-40-15,-26 0 16,-53 13-16,-14 14 0,1-14 15,0 0-15,-14 0 0,14-52 16,-27 52-16,-13-13 0,-13 0 16,-40-52-16,-66-41 15,-13 80-15,65 39 16,-12 14-16,-80 0 16,67 13-16,-133 26 15,119-12-15,-13 12 0,-93 53 16,14 14-16,118-40 15,1-13-15,-40 52 0,66-39 16,13-13-16,-26 66 0,40-53 16,26 0-16,0-14 15,66 107-15,-13-107 0,66 28 16,-40-41-16</inkml:trace>
  <inkml:trace contextRef="#ctx0" brushRef="#br0" timeOffset="39251.58">13176 9287 0,'106'0'0,"-13"0"0,13 0 15,-27 0-15,0 0 16,1-13-16,-1 13 0,0-14 0,67-12 15,-67 13-15,80-27 16,-13-13-16,-67 27 16,-13-1-16,0-12 15,-13 12-15,13-13 0,27-39 0,-53 39 16,-14 1-16,27-54 0,-40 0 16,-26 40-16,0 1 15,-14-15-15,-12 15 0,-28-15 0,-78-38 16,-146-1-1,172 92-15,-80 1 0,-65 13 16,118 13 0,-118 40-16,118-26 0,14 13 0,-119 52 15,26 14 1,119-53-16,13 0 0,-52 53 16,39-14-16,53-26 15,26-39-15,14 13 0</inkml:trace>
</inkml:ink>
</file>

<file path=ppt/ink/ink17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6:26:54.436"/>
    </inkml:context>
    <inkml:brush xml:id="br0">
      <inkml:brushProperty name="width" value="0.05292" units="cm"/>
      <inkml:brushProperty name="height" value="0.05292" units="cm"/>
      <inkml:brushProperty name="color" value="#0070C0"/>
    </inkml:brush>
  </inkml:definitions>
  <inkml:trace contextRef="#ctx0" brushRef="#br0">9816 1945 0,'0'13'16,"13"-13"46</inkml:trace>
  <inkml:trace contextRef="#ctx0" brushRef="#br0" timeOffset="477.7">10279 1826 0,'0'39'16,"0"-12"0,0-14-16,0 13 0,13-12 15,-13 12-15,0 1 0,14 12 16,-14 1-1,0-27-15,13 0 0,-13 1 16,0-1-16,0 0 0,13-13 16</inkml:trace>
  <inkml:trace contextRef="#ctx0" brushRef="#br0" timeOffset="797.38">10253 1865 0,'13'-13'0,"0"-27"0,0 40 16,1 0-16,-1 0 0,0 0 0,13 0 15,14 14-15,-27-1 16,14 0-16,-14 0 0,0 1 15,1-1-15,-1 13 0,-13-13 0,0 14 16,0-14-16,0 14 0,0-14 16,-13 40-16,-1-40 0,1 13 15,0-12-15,0-1 0,-1 0 0,-12 14 16,13-14-16,-1-13 16,1 0-16,0 13 0,0-26 31</inkml:trace>
  <inkml:trace contextRef="#ctx0" brushRef="#br0" timeOffset="1151.28">10716 1879 0,'-40'39'0,"40"-26"15,-13 1-15,13-1 0,0 0 0,-14 14 16,14-14-16,0 0 0,0 0 16,0 1-16,14-1 15,-1 0-15,0-13 0,0 13 16,1-13-16,-1 0 0,0 0 0,0-13 16,1 13-16,-1 0 0,0-13 15,13 0-15,-26-1 0,14-12 16,-14 13-16,0-1 0,0 1 15,-27-13-15,27 12 16,-13 1-16,0 0 0,13 0 0,-13 13 16,-1-13-16,1 13 0,0 0 15,0-14-15,-1 14 0,1 0 16,0 14-16,0-14 0</inkml:trace>
  <inkml:trace contextRef="#ctx0" brushRef="#br0" timeOffset="1469.26">10914 1614 0,'0'-13'16,"13"39"0,-13-13-1,0 1-15,14 25 0,-14-25 16,0 12-16,0 0 0,13 1 0,-13-1 15,13 1-15,-13-1 0,13 14 16,-13-27-16,13 0 0,-13 1 16,14 25-16,-14-12 15,13-14-15,-13 0 16,0 1-16,13-14 16,0 13-16,1-13 31,-1 0-31,0 0 15,0 0-15,-13-13 16,13 13 0</inkml:trace>
  <inkml:trace contextRef="#ctx0" brushRef="#br0" timeOffset="1814.58">10835 1839 0,'13'0'16,"0"-13"-16,0-1 0,14 1 16,-14 0-16,14 0 15,-1-1-15,-13 14 0,0-13 16,1 13-16,-1-13 0,0 13 15</inkml:trace>
  <inkml:trace contextRef="#ctx0" brushRef="#br0" timeOffset="2545.96">11404 1574 0,'-14'27'16,"14"12"-16,0 41 15,14-41 1,-1 1-16,-13 0 0,13 0 0,-13-1 0,13-12 16,-13-1-16,13 1 0,-13-1 15,14-13-15,-14 1 0,0 12 0,13-13 16,-13 0-16,0 1 0,0-1 15,0 0 1,-27-39 0,14-54-1,13-92 1,0 119 0,13 14-16,1 12 0,-1 1 0,-13-1 15,13 14-15,14-13 0,-14 12 16,0 14-16,0 0 15,1 14-15,-1 12 16,-13-13-16,0 14 0,0-14 0,0 13 16,-13 1-16,13-1 0,-27 14 15,14-13-15,13-14 16,-27 13-16,27-13 0,-13 1 0,13-1 16,-13-13-16</inkml:trace>
  <inkml:trace contextRef="#ctx0" brushRef="#br0" timeOffset="2802.04">11562 1693 0,'80'-53'0,"-67"53"15,0 0-15,27 14 16,-27-1-16,0 0 16,1 0-16,-14 1 15,0-1-15,13 0 0,-13 13 16,0-12-16,13-1 0,-13 0 15,0 0-15,0 1 16,13-41 15,-13 14-31,13-14 16,-13 14-16,0 0 0,14 0 16,-1 0-16,-13-1 0,13 1 0,0 0 15,-13 0-15,53-27 16</inkml:trace>
  <inkml:trace contextRef="#ctx0" brushRef="#br0" timeOffset="3931.86">11972 1614 0,'0'13'0,"0"0"15,0 1-15,0-1 16,0 0-16,0 0 0,0 1 16,14-1-16,-1 0 0,-13 0 15,13-13-15,0 0 16,-13 13-16,14-13 0,-1-13 0,0 13 15,0 0-15,0-13 16,-13 0-16,14 0 0,-28-1 16,14 1-16,0 0 0,-13 0 15,0 13-15,13-14 0,-13 14 0,13-13 16,-13 13-16,-1 0 16,1 0-1,40-13 16,-14 13-31,0 0 0,0 0 16,0-13-16,1 13 0,12 0 0,1-13 16,-14 13-16,0 0 15,0 0-15,1 13 16,-1 0 0,-13 0-16,-13 0 0,13 1 15,0 12-15,0 1 16,0-14-16,0 0 0,0 0 15,0 0 1,26 1 0,-13-14-16,0-14 15,14 1-15,-1-26 16,-26 25-16,14-52 16,-1 27-16,-13-28 15,0 41-15,13-14 16,-13 1-16,0 25 15,0-12-15,0 13 0,0-1 16,-13 28 0,0-1-16,13 13 15,0-12-15,0-1 16,0 13-16,0 1 0,0 12 16,0-12-16,13 13 0,0-14 15,-13-13-15,13 0 0,0 1 0,1-1 16,-1 0-16,0-13 15,0 13-15,1-13 16,12-13-16,-13 13 0,-13-13 16,27-14-16,-14 14 15,0 0-15,-13 0 0,13 0 16,1-1 0,-14 28-1,0-1 1,0 0-16,13-13 15,-13 13-15,13-13 16,0 13 0,1-13-16,-1-13 15,0 13-15,0-13 16,1 13-16,-1-13 0,13 13 16,-13 0-1,1 13 1,-1-13-16,-13 13 15,13-13-15,0 0 0,1 0 16,-1 0-16,0 0 16,0 0-16,1-13 15,-1 0-15,0 0 0,0-1 16,0-12-16,-13 13 16,14-27-16,-1 13 15,0 14-15,-13-13 0,13 13 16,1 26 15,-14 13-31,0-13 16,0 14-16,0-1 0,0 1 0,13-1 15,-13-12-15,0-1 16,0 13-16,0-13 16,0 1-16,0-1 15</inkml:trace>
  <inkml:trace contextRef="#ctx0" brushRef="#br0" timeOffset="4081.95">12912 1548 0,'26'-27'16,"-13"27"-1,27-13-15,13-13 16,-40 12-16,27 1 15,-14-13-15,-12 26 16</inkml:trace>
  <inkml:trace contextRef="#ctx0" brushRef="#br0" timeOffset="4641.18">14962 1442 0,'-13'0'15,"39"13"1,-12-13-16,25 0 0,-25 0 16,-1 0-16,26 0 0,-12-13 15,-1 13-15,-12 0 0,12 0 16,1-13-16,-14 13 16</inkml:trace>
  <inkml:trace contextRef="#ctx0" brushRef="#br0" timeOffset="4834.41">15280 1323 0,'39'13'31,"-25"0"-15,-1-13-16,0 14 0,0-1 0,1 27 16,-1-1-16,0 1 15,-13-27-15,0 0 16,0 14-16,0 26 15,0-27-15,-13-26 0,13 13 16</inkml:trace>
  <inkml:trace contextRef="#ctx0" brushRef="#br0" timeOffset="5179.42">15849 1217 0,'-67'27'15,"67"-14"-15,-13-13 0,13 13 0,-13 0 16,13 0-16,13 1 0,-13 25 16,13-25-16,1-1 15,-1 0-15,0 14 0,27 12 16,-14-12-1,-13-1-15,1-13 0,-14 1 16,0-1-16,-14 0 16,1 0-16,0 1 0,-13-1 15,12 0-15,-12-13 16,13 13-16,-14 0 0,1-13 16,12 14-1,1-14-15</inkml:trace>
  <inkml:trace contextRef="#ctx0" brushRef="#br0" timeOffset="5629.06">16073 1389 0,'-13'-13'15,"0"0"-15,0 13 16,0 13-1,13 0-15,-14 0 16,1 1-16,13 12 16,0-13-16,0 0 15,0 14 1,13-14-16,1-13 0,-1 0 16,0 0-1,0 0-15,14-13 16,-14 0-16,-13-1 15,13 1-15,-13 0 0,13 0 16,-13 0 0,0-1-16,14 14 15,-14 14 1,13-1 0,0-13-1,0 13-15,0 0 16,1-13-16,-14 13 0,13-13 15,0 14-15,0-14 16,1 0-16,-1 0 0,0 0 16,14 0-1,-14 0 1</inkml:trace>
  <inkml:trace contextRef="#ctx0" brushRef="#br0" timeOffset="6091.21">16378 1363 0,'0'-14'16,"13"28"15,-13-1-15,13 27-1,-13-27 1,0 0-1,13-26 32,1 13-31,-1 0 0,0 0-1,0 0 1,1 13 15,-1-26-15,0 0-1,0 13 1,0 0 0,-13-14-16,14 14 15,-1 0-15,0-13 16,0 13-16,1 0 15,-1 0 1,0-13-16</inkml:trace>
  <inkml:trace contextRef="#ctx0" brushRef="#br0" timeOffset="6602.25">16788 1085 0,'13'39'16,"-13"-25"-16,40 52 15,-14 0 1,-13-40-16,-13 14 0,14-13 15,-1 12-15,-13 14 16,0-40-16,0 1 0,0-1 0,0 13 16,13-12-16,-13-1 15,-13 0 1,13-39 15,0 12-31,0-12 0,13-53 16,14 12-1,-14 41-15,13-14 0,-13 14 16,1 13-16,12-1 16,1 1-16,-14 13 15,-13 13-15,13-13 0,0 14 16,-13-1-16,0 0 0,0 13 16,-13 1-16,13-14 15,-13 0-15,0 14 16,13-14-16,-14 0 15,1-13-15,13 14 16,0-41 0</inkml:trace>
  <inkml:trace contextRef="#ctx0" brushRef="#br0" timeOffset="6869.1">17119 1177 0,'39'-13'0,"-26"13"16,1 13-16,-1-13 15,0 14-15,0 12 16,-13 1-16,14-27 16,-14 13-16,13 13 15,-13-13-15,-132-132 0,277 252 16,-145-120-16,13-13 16,1-13-1,-14-1-15,13 1 16,-13 0-16,13-13 15,0 26-15,-13-14 0,13 1 16,-13 0-16,14 13 0,-14-13 16,13 13-16,0 0 0,0-14 15</inkml:trace>
  <inkml:trace contextRef="#ctx0" brushRef="#br0" timeOffset="8356.83">17701 1151 0,'-53'53'0,"53"-40"16,0 0-16,0 1 0,-14 12 16,28-13-16,-14 0 0,13 14 15,-13-14-15,13-13 0,0 13 16,1 1-16,-1-14 16,13 0-16,-12-14 15,12 14-15,-26-13 16,0 0-16,13 0 0,-13-1 15,-13 1-15,0-13 16,13 13-16,-27-1 0,1 1 16,13 13-1,-1 0 1,54 0 15,-13-13-15,-1 13-16,14 0 0,-1-13 15,-25 13-15,-1 0 0,0 0 16,0 0-16,1 0 16,-1 0-16,-13 13 15,0 0 1,0 0 0,-13 1-16,13-1 0,0 0 15,0 0-15,0 0 16,0 1-16,13-14 15,-13 13-15,13-13 16,0-13-16,0 13 16,1-14-16,-1 1 15,0 0-15,0-13 0,1 12 16,-14-12-16,13-1 0,-13 14 16,0-13-16,13-27 0,-13 13 15,0 14-15,13 12 16,-13-12-16,0 13 15,0-1-15,-13 54 32,13-27-32,0 1 0,0 12 15,0-13-15,0 27 0,13 0 16,1-14-16,-14-13 16,13 1-16,0 12 15,13-13-15,-12 1 16,12-14-16,-13 0 15,1 0-15,-1 0 0,-13-14 0,13 14 16,0-13-16,14 0 16,-14 13-1,-13-13 1,13 13-16,0 13 16,1 0-1,-14 0 1,13-13-1,0 0-15,-13 14 16,13-14 0,1 0-16,-1 0 15,0 0 1,0 0 0,0 0-16,1 0 15,-1 0 1,0-14-16,0 14 0,1-13 15,-1 0-15,13 0 16,-12-1-16,-1 1 16,0 0-16,-13 0 0,13-1 15,-13 1-15,13 0 16,1 0-16,-14 26 47,0 0-47,13 14 15,-13-14-15,13 0 16,-13 0-16,13-13 16,1 14-16,-1-14 15,0 0-15,0 0 16,-13-14-16,13 1 0,1 0 16,-14 0-16,13-27 15,-13 14-15,13-1 16,-13 1-16,13-41 0,14 1 15,-27 53 1,0-13-16,0 12 16,0 54-1,0-13 1,13 39 0,-13-27-16,13 1 15,1 0-15,-14-27 16,13 13-16,-13-12 15,13-1-15,-13 0 16</inkml:trace>
  <inkml:trace contextRef="#ctx0" brushRef="#br0" timeOffset="8554.99">18706 1019 0,'79'-14'0,"-12"-12"16,-28 13-1,27-1-15,-26 1 0,13-13 16,-27 13-16,14-1 16,-13 1-16,-14 0 15,0 13-15</inkml:trace>
  <inkml:trace contextRef="#ctx0" brushRef="#br0" timeOffset="19937.07">5490 3942 0,'13'-13'16,"-26"0"0,-27 13 15,14 13-31,-14-13 0,1 13 15,-1-13-15,13 14 0,1-14 16,-27 13-16,27 0 0,12-13 16,-12 0-16,13 13 0,-1-13 15,1 0-15,0 13 0,0-13 16,0 14-16,13-1 16,0 0-16,0 0 0,0 1 15,0 12-15,13-13 0,0 53 16,0 14-16,0-41 0,-13 1 15,14 0-15,-1 79 16,-13-53-16,-13 80 0,13-80 16,-14 13-16,1 67 15,0-67-15,0 67 16,0-1-16,-14 1 16,14-27-16,13-53 0,-13-27 15,13 14-15,0-13 0,0 26 16,13-26-16,-13-14 15,0-12-15,13 25 0,0-26 16,1 1-16,25 12 16,14 1-16,-26-14 15,39 13-15,-13-12 16,0-1-16,-27 0 16,14 0-16,-1 0 15,-25 1-15,25-1 0,-25-26 16,-1 13-16,0-14 15</inkml:trace>
  <inkml:trace contextRef="#ctx0" brushRef="#br0" timeOffset="20610.09">6099 4392 0,'-14'93'16,"14"-67"-16,0 1 15,0-1-15,0 1 0,0-1 0,0 0 16,0 14-16,-13-27 0,13 27 15,13-27-15,-13 0 16,0 1-16,0-1 16,14-13-16,-1 13 0,0-13 15</inkml:trace>
  <inkml:trace contextRef="#ctx0" brushRef="#br0" timeOffset="21495.21">7964 4180 0,'26'0'16,"1"14"-16,-14-14 0,-13 13 0,13-13 15,1 26-15,-1-12 16,-13-1-16,0 13 0,-13 14 15,-14 13-15,14-27 0,-27 27 16,27-26-16,0-14 16,0 0-16,13 0 0,-14 1 15,1-1-15,0 0 0,13 0 16,13-13 15,0 0-31,1 0 0,-1 0 0,0 0 16,13 0-16,80-26 31,-79 26-31,-1 0 16,-13-13-16,1 13 15,-1 0-15,0 0 0</inkml:trace>
  <inkml:trace contextRef="#ctx0" brushRef="#br0" timeOffset="22183.02">9816 4008 0,'-13'0'16,"66"-13"-1,-27 0-15,27 0 16,13 13-16,-26-13 16,26 26-1,-39 13 1,-14 1-16,0 12 15,-13 1 1,13 26-16,-13-53 16,0 14-16,-13 13 0,13-27 15,0 13-15,0 1 16,13-1-16,-13 1 16,0-14-16,13 0 15,1-13 1</inkml:trace>
  <inkml:trace contextRef="#ctx0" brushRef="#br0" timeOffset="22402.9">10014 4313 0,'80'0'16,"-67"0"0,40-14-16,-13 14 15,39-13 1,-52 13-16,-14 0 16,0-13-16</inkml:trace>
  <inkml:trace contextRef="#ctx0" brushRef="#br0" timeOffset="23558.36">6019 5728 0,'53'-13'0,"-26"26"16,-14-13-16,0 13 15,-13 1 1,0-1-16,0 13 0,0-12 16,-13-1-16,13 0 0,0 0 15,0 1 1,0-1-16,13 0 15,0 0-15,1-13 16,-14 13-16,13-13 16,0 14-16,-13 12 15,-13-13-15,0 1 16,-27 25 0,13-26-1,14-13-15,0 0 0,0 0 16</inkml:trace>
  <inkml:trace contextRef="#ctx0" brushRef="#br0" timeOffset="23766.59">6350 5662 0,'53'79'16,"-40"-26"-1,0 27 1,-13-54-16,0 40 16,0-39-16,14-14 15,-14 27-15,0-1 16,0-25 0</inkml:trace>
  <inkml:trace contextRef="#ctx0" brushRef="#br0" timeOffset="24434.2">8189 5596 0,'26'-13'0,"1"-1"15,-14 14 1,-39 14 15,26-1-31,-27 0 16,14 0-16,0 1 16,13-1-1,13 0 1,27 0-16,-27 1 15,0-14-15,13 26 16,1-13-16,-14 0 16,-13 40-1,-26-13 1,12-27-16,-52 40 16,53-40-16,0-13 15,-14 14-15,14-1 16,0-13-16,0 0 15</inkml:trace>
  <inkml:trace contextRef="#ctx0" brushRef="#br0" timeOffset="25262.14">10067 5583 0,'53'-27'16,"-26"27"-1,-14 0-15,13 0 16,-12 0-16,-1 27 16,-13-14-1,-13 13-15,-1-12 0,14-1 16,-26 13-16,26-12 16,-13-1-16,13 0 0,-13 0 15,13 0 1,0 1-16,13-14 15,13 0-15,-13 0 16,14 0-16,-14 0 16,0 0-16,14-14 0,-14 1 15,40 0-15,-27-13 16,1 12-16</inkml:trace>
  <inkml:trace contextRef="#ctx0" brushRef="#br0" timeOffset="25429.94">10530 5503 0,'0'106'15,"0"-79"-15,0-160 0,14 305 0,-14-132 16,0-14-16,13-12 16,-13-1-16,0 13 0,0-12 15,0-1-15,0 13 0,0-12 16</inkml:trace>
  <inkml:trace contextRef="#ctx0" brushRef="#br0" timeOffset="26212.39">10279 3440 0,'93'-14'16,"-54"1"-16,14 13 0,-13-13 0,105 0 16,-92-1-1,0 14-15,0 0 0,-26-13 0,12 13 0,-12 13 16,92 40 0,-93-13-16,-12-14 15,12 107-15,-13-67 0,-13 0 16,0 0-16,0 133 15,0-133-15,13 66 16,-13-66-16,14 80 16,12-1-16,-13-79 15,1 14-15,12 79 0,-13-93 16,27 79-16,-27-65 16,0-14-16,27 66 0,-27-66 15,14 53-15,-1-26 16,-12-14-16,-1-39 15,0-14-15,-13 41 0,0-28 16,13-26-16,-13 14 16,0-14-16,0 0 0,0 1 0,-13 12 15,13 0-15,-13 1 16,0-27-16,-1 13 16,1 0-16,0-13 0,-40 27 15,-40-1-15,40-12 16,-26 12-16,26-13 0,-132 27 15,79-14 1</inkml:trace>
  <inkml:trace contextRef="#ctx0" brushRef="#br0" timeOffset="29457.79">16338 3784 0,'79'13'0,"-65"0"16,-1 0-16,-13 0 0,0 1 16,0 12-16,0-13 0,-13 14 0,-1-1 15,-12 1-15,-14 39 16,14-53-16,13 0 0,-1 1 15,1-1-15,0 0 0,0 0 16,-1-13-16,14 14 16,14-14-1,25 0 1,-25 0-16,12 0 16,0 0-16,-12-14 0,12 14 15,27-13-15,-40 13 0,40-13 16,-40 0-16,14 13 0,-14-14 0,0 14 15,14-13-15,-14 13 16,0 0-16,1-13 0</inkml:trace>
  <inkml:trace contextRef="#ctx0" brushRef="#br0" timeOffset="29686.07">17119 3691 0,'-27'13'16,"14"0"-16,13 14 0,-40 52 15,27-52-15,-14 12 16,14-12-16,0-1 0,0 14 0,0-14 16,-1-12-16,14-1 0,-13 13 0,0-12 15,13-1-15,-13 0 0,13 0 16,-14-13-16,14 14 15</inkml:trace>
  <inkml:trace contextRef="#ctx0" brushRef="#br0" timeOffset="29890.83">16761 3836 0,'0'-13'0,"14"40"16,12-1-1,1 1 1,52 26 0,-53-40-16,1-13 0,-1 13 15,-13-13-15,14 0 0,-1 0 0,1 0 16,-1 0-16,1 0 0,-14 0 16,13 0-16</inkml:trace>
  <inkml:trace contextRef="#ctx0" brushRef="#br0" timeOffset="30587.71">17608 3678 0,'40'0'15,"-27"0"-15,0 0 0,0 13 16,1 0-16,-1 0 16,-13 1-16,-13-1 15,13 0-15,-14 0 0,1 1 0,13-1 16,-13 0-16,13 0 15,0 14 1,26-14-16,-12 0 16,-1-13-16,13 13 0,-12 1 15,-1-14-15,0 13 0,-13 0 16,13-13-16,-13 13 0,0 1 0,-13-1 16,13 0-16,-13 0 15,0 0-15,-1-13 0,1 14 0,0-1 16,-14-13-16,14 13 0,0-13 15,0 13-15,-14-13 0,14 14 0,-13-14 16,-1 13-16,14 0 0</inkml:trace>
  <inkml:trace contextRef="#ctx0" brushRef="#br0" timeOffset="31259.29">16735 4921 0,'93'27'16,"-93"-1"-1,-14-13-15,14 1 0,-13 12 0,0 1 16,-14-1-16,27-13 16,0 0-1,14-13-15,-1 14 0,0-14 16,0 13-16,1-13 0,-1 13 0,0-13 16,-13 13-16,26 14 15,-26-14-15,0 0 16,0 1-16,0-1 0,-13 0 0,13 0 15,-13 0-15,0 1 0,0-1 0,-1-13 16,1 13-16,13 0 0,-13-13 16,0 0-16,13 14 0,-14-14 15,28-27 1</inkml:trace>
  <inkml:trace contextRef="#ctx0" brushRef="#br0" timeOffset="31446.16">17251 4921 0,'0'27'15,"-13"-1"1,13 1-16,-14-1 0,1 14 0,0-14 16,0 14-16,-1-14 0,1 14 0,13-13 15,-26 25-15,26-38 16,-13-1-16,13 13 0,-14-12 0,14-1 15,0 0-15</inkml:trace>
  <inkml:trace contextRef="#ctx0" brushRef="#br0" timeOffset="31642.09">17013 5080 0,'26'26'15,"-13"-26"-15,27 27 16,-13-14-16,-14-13 0,26 27 16,-12-27-16,-14 13 0,14 0 15,-1-13-15,1 13 0,-1-13 0,-13 0 16,14 14-16,-14-14 0,27 0 16</inkml:trace>
  <inkml:trace contextRef="#ctx0" brushRef="#br0" timeOffset="31974.39">17740 4974 0,'14'0'0,"-28"0"0,41 0 0,-14 0 15,0 13-15,0-13 0,1 27 16,-14-14-1,0 0-15,0 14 0,-14-14 0,14 13 16,-13 1-16,0-1 0,13-12 0,-13 12 16,13-13-16,-13 1 0,13-1 15,0 0-15,0 0 0,13 0 16,0-13-16,0 14 0,0-14 16,14 0-16,-14 0 15,0-14-15,1 14 0,-1 0 16,0-13-16,14 13 0,-14-13 15,0 13-15,0-13 0,-26-14 32,0 27-32,13-13 0</inkml:trace>
  <inkml:trace contextRef="#ctx0" brushRef="#br0" timeOffset="32722.29">18785 3506 0,'40'-40'15,"-27"53"-15,1-13 0,-1 13 16,-13 1-16,13-1 0,-13 0 0,13 0 16,-13 1-16,13-1 15,-13 13-15,0-12 0,0-1 0,0 13 0,0-13 16,14 1-16,-14 12 0,0-13 15,0 14-15,0-14 0,0 0 0,13 14 16,-13-14-16,0 0 0,0 14 0,0-14 16,0 0-16</inkml:trace>
  <inkml:trace contextRef="#ctx0" brushRef="#br0" timeOffset="32863.76">18944 4008 0,'0'-13'16,"0"0"0,13 13-1</inkml:trace>
  <inkml:trace contextRef="#ctx0" brushRef="#br0" timeOffset="33253.19">18984 4683 0,'53'0'15,"-40"0"-15,0 40 0,-13-27 0,13 0 16,-13 0-16,0 1 0,0 12 16,0-13-16,0 14 0,0-1 15,-13 14-15,13-14 0,0 1 16,0-14-16,0 14 0</inkml:trace>
  <inkml:trace contextRef="#ctx0" brushRef="#br0" timeOffset="33391.69">19209 5265 0,'0'-13'32</inkml:trace>
  <inkml:trace contextRef="#ctx0" brushRef="#br0" timeOffset="34115">16034 3492 0,'-172'106'0,"145"-66"0,-12 0 16,12 13-16,-13 0 0,14-1 0,13 1 15,0 14-15,-1-15 0,14 54 16,14-40-16,12-13 0,0-13 15,14 13-15,66 13 16,-40-26-16,80-1 0,-67-25 16,0-1-16,1-13 0,-1 0 15,1-13-15,-1-1 0</inkml:trace>
  <inkml:trace contextRef="#ctx0" brushRef="#br0" timeOffset="34518.23">17462 3215 0,'106'66'15,"-53"-40"-15,-13 1 0,0 26 0,13-14 16,-14 1-16,-12 0 0,12-1 0,41 133 15,-67-132 1,0 0-16,-13 13 0,0-14 16,0 1-16,-13 0 0,0 13 0,0-14 15,-14 14-15,1-13 0,-1 0 0,1 13 16,-14-27-16,14 14 0,-14-14 16,13 1-16</inkml:trace>
  <inkml:trace contextRef="#ctx0" brushRef="#br0" timeOffset="35023.08">16153 4842 0,'-66'66'15,"39"13"-15,14-26 0,0 53 16,13-40-16,13-13 0,0 13 15,27 53-15,-14-66 16,1 0-16,12-13 0,1 13 0,13-27 16,0 14-16,0-14 0,13-12 0,0-1 15,-13-13-15,0 0 0,26 0 16,-12-13-16,-1-14 0,13 14 0,-13-13 16,14-14-16,-27 13 0</inkml:trace>
  <inkml:trace contextRef="#ctx0" brushRef="#br0" timeOffset="35331.92">17793 4591 0,'40'26'0,"-14"-13"0,1 0 0,-1 14 16,14 13-16,0-1 0,13 1 0,-27 0 15,14-1-15,-1 1 0,-12 13 16,-1-13-16,14 52 0,-27-52 16,-13 0-16,0-14 0,0 14 15,-13-1-15,0 1 0,-14 0 0,1 13 16,-40 13-16,13-40 15,13 1-15,-13-1 0,-13-13 0,0 1 16,13-1-16</inkml:trace>
  <inkml:trace contextRef="#ctx0" brushRef="#br0" timeOffset="39212.58">12025 6218 0,'0'53'16,"0"-40"-1,0 13 1,0 1-16,0-1 0,0 1 0,0-1 0,0 1 16,14-1-16,-14 1 0,0-14 0,0 13 15,0 1-15,0-14 0,13 0 16,-13 14-16,0-14 0,13 0 15,-13 0 1</inkml:trace>
  <inkml:trace contextRef="#ctx0" brushRef="#br0" timeOffset="39670.08">12025 6218 0,'106'-27'15,"-79"27"-15,-14 13 0,0-13 0,0 14 16,-13-1-16,0 0 16,0 27-16,0-14 0,-13-12 15,0 25-15,0-12 0,-1-14 0,1 13 16,0-12-16,-14 12 16,14-13-16,13 1 0,-26 12 15,13-13 1,26 0-1,0 1-15,0-14 0,0 0 16,1 13-16,12-13 16,-13 0-16,1 13 0,-1-13 15,0 0-15,0 0 0,1 0 0,-1 13 16,0-13-16,0 0 0,0 0 0,1 0 16,-1 0-16,0 14 0,0-14 15,1 0-15</inkml:trace>
  <inkml:trace contextRef="#ctx0" brushRef="#br0" timeOffset="40027.4">12859 6178 0,'0'0'0,"-13"13"16,-1 0-16,1 1 0,13-1 15,-13 13-15,0 14 0,-1-13 16,1-1-16,0 14 0,0-14 0,13 1 16,-14-14-16,14 13 0,-13 1 15,0-1-15,13-13 0,-13 27 16,0-27-16,13 1 16,-14-1-16</inkml:trace>
  <inkml:trace contextRef="#ctx0" brushRef="#br0" timeOffset="40286.06">12475 6271 0,'66'13'15,"-53"0"-15,54 14 0,-1 12 16,-40-26-16,27 14 16,0-1-16,-40-12 15,14-1-15,-14 0 0,13-13 0,-12 13 16,-1-13-16,27 14 0,-27-14 16,0 0-16,0 0 0,1 0 15,-1 0-15</inkml:trace>
  <inkml:trace contextRef="#ctx0" brushRef="#br0" timeOffset="40674.44">13626 6019 0,'-159'119'16,"133"-92"-16,13-1 0,-14 14 15,1 39 1,12-39-16,14-27 0,14 14 0,-14-14 15,13 0-15,0 14 16,0-14-16,40 13 0,0-12 16,-40-14-16,14 0 15,-1 0-15,-12 0 0,12 0 16,-13-14-16,14 14 0,-14 0 0,0-13 16,0 13-16,1 0 0,-1 0 0,0 0 31</inkml:trace>
  <inkml:trace contextRef="#ctx0" brushRef="#br0" timeOffset="41717.12">12237 7580 0,'0'-13'0,"13"0"15,0 13-15,1-13 16,-1 13-16,0 0 0,0 0 15,1 13-15,12-13 0,-13 0 0,0 13 16,14 0-16,-27 1 0,13-1 16,0 0-16,-13 13 0,0-12 0,0 12 15,-13 1-15,0 12 0,0-12 0,-1-1 16,1 1-16,0-14 0,0 13 16,-14 1-16,14-14 0,0-13 15,0 13-15,-1 1 0,1-14 16,13 13-1,27-26 1,-1-1 0,-13 14-16,14 0 15,-14-13-15,13 13 0,54-13 16,-54 0-16,1 13 0,-14 0 16,13-14-16,-12 14 0,-1 0 15,0 0-15,0 0 16,1 0-16,-14 14 15,13-14-15,-13 13 16</inkml:trace>
  <inkml:trace contextRef="#ctx0" brushRef="#br0" timeOffset="42193.5">13123 7501 0,'-13'26'16,"13"-12"-1,-13-1-15,0 13 0,-27 80 16,27-66 0,0-14-16,-1-12 0,14 12 0,-13 0 15,13-12-15,-13 12 0,13-13 16,0 1-16,-13 12 0,13-13 15</inkml:trace>
  <inkml:trace contextRef="#ctx0" brushRef="#br0" timeOffset="42411.35">12846 7633 0,'52'53'0,"-25"-40"0,13 14 16,-1-14-16,-12 14 0,-1-14 15,27 0-15,-40 0 16,40 0-16,-40 1 0,14-1 16,-1 0-16,-12-13 0,-1 13 15,0-13-15</inkml:trace>
  <inkml:trace contextRef="#ctx0" brushRef="#br0" timeOffset="43601.77">13705 7448 0,'53'-13'0,"-39"26"15,-1-13-15,-13 13 0,13-13 16,-13 13-16,-13 1 0,13-1 15,0 0-15,-13 0 0,-1 1 0,14-1 16,-13 0-16,0 0 0,13 1 16,0-1-1,13 0-15,0-13 0,1 0 16,-1 13-16,0-13 0,0 0 0,0 13 16,1-13-16,12 14 15,-26-1-15,13 0 0,-26 0 16,13 1-16,-13-1 15,0-13-15,-1 13 16,1 0-16,-13 1 0,-1 12 0,1-13 16,-14 0-16,14 14 0,-14-14 0</inkml:trace>
  <inkml:trace contextRef="#ctx0" brushRef="#br0" timeOffset="44143.95">12700 8242 0,'198'0'16,"-131"0"-16,12-13 0,0 13 0,1-14 16,-1 14-16,14-13 0,79-13 15,-80-1-15,-12 14 0,-1 0 16,0-14-16,1 14 0,-1-13 0,-13 12 15,120-65 1,-134 53-16,1-1 0,-13 1 0,0-1 16,-1-13-16,14-26 0,-13 27 15,0-28-15,-27 28 16,0-41-16,-13 27 0,0 14 16,-13-1-16,0 0 0,-14 1 0,-12-1 15,12 0-15,-13 1 0,-13 12 16,1-12-16,-1 12 0,-13 1 15,-1-1-15,-12 14 0,0-14 0,-14 14 16,14 0-16,-27 0 0,13 13 16,-13-13-16,1 13 0,-134 13 15,107 13-15,0-13 0,0 27 0,12-13 16,1 12-16,0 14 0,13 0 16,-13 13-16,27 0 0,-93 67 15,92-54-15,27-13 0,-53 80 16,92-93-16,1 0 0,-1-14 0,27 1 15,-13 13-15,13-27 0,13 14 16,40 66 0,14-53-16,-28-27 0,14 1 15,0-1-15,0-13 0,-13 1 0,13-1 16,-14-13-16,94 13 16</inkml:trace>
  <inkml:trace contextRef="#ctx0" brushRef="#br0" timeOffset="58591.41">3995 10253 0,'-13'-14'0,"13"1"16,13 0-16,0 13 15,14-13 1,-14 26-16,0-13 0,1 0 16,-1 13-16,0-13 0,0 13 0,1 1 15,-1-1-15,0 0 0,-13 0 16,0 1-16,0 12 0,0-13 16,-13 14-16,0-14 0,-1 13 0,-12 1 15,13-1-15,-14 1 0,-26 12 16,40-25-16,-13-1 0,12 0 15,1-13-15,0 13 0,0-13 0,-1 14 16,1-14-16,13 13 0,-13-13 16,0 0-16,52 0 31,14 0-15,0 0-16,-40 0 15,14 0-15,26-13 0,-27 13 0,1 0 16,-14 0-16,13 0 0,1-14 15,-14 14-15,40 0 0,-40 0 16,14-13-16,-1 13 0</inkml:trace>
  <inkml:trace contextRef="#ctx0" brushRef="#br0" timeOffset="58910.6">5106 10226 0,'-26'27'0,"26"-14"15,-13 0-15,0 14 0,-1-14 0,1 13 16,-13 1-16,12-1 0,1 1 16,0-1-16,0-13 0,-1 14 0,1-14 15,0 13-15,0-12 0,0-1 0,13 0 16,-14 0-16,14 1 0,-13-14 16,13 13-16,-13-13 0</inkml:trace>
  <inkml:trace contextRef="#ctx0" brushRef="#br0" timeOffset="59149.57">4789 10372 0,'13'13'0,"0"-13"0,27 40 15,-27-27 1,14 0-16,-1 14 0,1-14 16,12 13-16,28 14 15,-54-27-15,13-13 16,1 0-16,-14 13 0,13-13 0,-12 0 16,12 0-16,1 0 0</inkml:trace>
  <inkml:trace contextRef="#ctx0" brushRef="#br0" timeOffset="60135.25">5583 10213 0,'79'13'0,"-66"0"16,1 1-16,-14 12 15,0-13-15,0 1 16,-14-1-16,14 0 0,0 0 0,-13 0 15,0 1-15,0 12 16,13-13-16,13 1 31,13-14-15,-12 0-16,12 0 0,-13 0 16,0 13-16,1-13 0,-1 13 0,0 0 15,0 1 1,-13 12-16,0-13 0,-13-13 0,13 27 15,-13-27-15,0 13 0,-1 13 16,-25-12-16,12-1 0,14 0 16,-13 0-16,-1-13 0,1 13 15,-1-13-15,1 0 0,-1 0 16,-12 0-16,-27 0 0</inkml:trace>
  <inkml:trace contextRef="#ctx0" brushRef="#br0" timeOffset="60785.18">3704 9962 0,'-119'39'0,"93"-26"0,12 1 15,-12-1-15,13 0 0,-1 0 0,-12 1 16,13-1-16,13 0 0,-27 14 15,27-14-15,0 0 0,0 27 16,0-27-16,0 13 16,14 1-16,-14-1 0,13 40 0,-13-26 15,0-13-15,13-1 16,-26 14-16,13 13 0,0-27 0,0 14 16,-13-1-16,13 1 0,0-13 0,-14 12 15,14-12-15,-13 26 16,13-14-16,0-12 0,0-14 15,0 0-15,0 14 0,13-1 16,-13-13-16,14 1 0,-1-1 16,-13 0-16,13 0 0,13 1 0,-12-14 15,12 0-15,-13 13 0,14-13 16,-1-13-16,14 13 0,92-27 16,-92 14-16,13-14 15,13 14-15,-13-13 0</inkml:trace>
  <inkml:trace contextRef="#ctx0" brushRef="#br0" timeOffset="61458.39">5755 9856 0,'39'0'15,"41"13"-15,12-13 16,-65 0-16,-1 0 0,1 0 16,-1 13-16,-13-13 0,14 13 15,-1 1-15,-12-1 0,-1 0 0,0 0 16,27 53-16,-40-39 16,13 13-16,0-14 0,0 53 15,1-52-15,12 52 16,-13-39-16,14 13 0,-14-13 0,13-1 15,-12 1-15,12 53 16,-13-54-16,1-12 0,-1 12 0,0 1 16,0 13-16,1-40 0,-14 14 15,0-1-15,0 14 0,-14-27 16,1 14-16,0-14 0,0 13 16,-14-13-16,1 14 0,-1-14 15,1-13-15,13 13 0,-14-13 0,-13 14 16,27-14-16,-13 0 15,12 0-15,1 0 0,0-14 16,13 1-16</inkml:trace>
  <inkml:trace contextRef="#ctx0" brushRef="#br0" timeOffset="62917.49">7673 10186 0,'-13'-13'0,"13"0"15,0 39 16,0-12-31,0-1 16,13 27 0,-13-27-16,0 0 15,0 14 1,0-14-16,0 0 16,0 0-1,0-52 16,13 12-15,-13 14-16,13 0 16,-13-1-16,0 1 0,14 0 0,-1 13 15,-13-13-15,13 13 0,-13-14 16,13 14-16,1 0 0,-1 0 16,0 14-16,0-14 0,0 0 15,1 13-15,-14 0 0,13-13 0,0 13 16,-13 1-16,13-14 0,1 13 15,-14 0-15,13-13 0,-13 13 16,13-13-16,-13 14 16,0-41 15,13 14-15,-13 0-16,14 13 0,-1-14 0,0 1 15,0 13 1,0 0-16,27 0 15,-27 13-15,1 14 16,-1-27-16,0 13 16,-13 0-16,13-13 0,-13 14 0,0-1 15,13-13-15,-13 13 0,14-13 16,-14 13-16,13-13 16,0 0-16,0 0 15,1 0-15</inkml:trace>
  <inkml:trace contextRef="#ctx0" brushRef="#br0" timeOffset="63824.45">8281 10253 0,'0'-14'16,"-13"28"15,0-1 0,13 0-15,13 0-16,-13 1 16,27-14-1,-14 0 1,0 0-16,0 0 31,1 0-15,-1 0-16,-13 13 0,13-13 15,0 0-15,1 0 16,-1 0 0,0 0-16,0 0 0,14-27 15,-14-12 1,0 25-16,-13 1 15,0 0-15,0-14 0,13 14 0,-13-13 16,0 13-16,0-40 16,0 39-16,0 1 15,-13 13-15,13-13 0,-13 39 32,13-12-32,0-1 15,-13 0-15,13 14 0,0-14 0,0 0 16,0 13-16,13 27 15,27 0 1,-27-39-16,0-14 0,0 13 16,14-13-1,-14 0-15,0-13 0,0 13 0,14-14 16,-1-12-16,-12-1 16,-1 1-16,0-14 0,0 14 0,0-14 15,-13 0-15,14 14 0,-14-1 0,13 1 16,-13 0-16,13 12 0,-13-12 15,0 13-15,0-1 0,0 1 16,0 40 0,-13-14-1,13 13-15,0-12 0,-13 12 0,13 0 16,0 1-16,0-1 0,13-12 16,-13 39-16,26-27 15,-26 0-15,14-12 0,-1-1 16,0 0-16,0-13 15,1 0-15,12-13 0,-13 13 16,0-13-16,1 13 16,-1-14-16,0 1 0,0 13 15,1 13 1,-1-13-16,-13 14 16,0-1-1,0 0 1,13 0-1,0-26-15</inkml:trace>
  <inkml:trace contextRef="#ctx0" brushRef="#br0" timeOffset="64111.42">8771 10028 0,'-13'0'15,"52"0"1,-12 0 0,-14-14-16,14 14 0,-14 0 15,13 0-15</inkml:trace>
  <inkml:trace contextRef="#ctx0" brushRef="#br0" timeOffset="64617.19">9419 9962 0,'-26'66'15,"26"-40"-15,0 1 16,0-1-16,-14 14 0,14-14 16,0 1-16,-13 52 0,0 14 15,13-80 1,0 0-16,0 0 0,-13 14 15,13-54 17,26-52-17,-13 39-15,1 1 16,-1 12-16,0-13 0,14 14 0,-1-14 16,-26 27-16,13 13 0,1-13 15,-1 13-15,-13 13 16,-27 40-1,14-40-15,0 14 16,-14-1-16,14 1 16,-13-1-16,12-13 15</inkml:trace>
  <inkml:trace contextRef="#ctx0" brushRef="#br0" timeOffset="65119.03">9737 9882 0,'-27'40'15,"27"-27"1,-13 0-16,13 14 15,0-14-15,13 27 16,-13-27-16,27 0 16,-14-13-1,0 0-15,0 0 16,1 0-16,-14-13 0,26 13 16,-13 0-1,-13 13-15,13-13 0,1 13 16,-1 1-16,-13-1 0,13 0 15,-13 0-15,13 1 0,-13 25 16,0-26-16,0 14 0,0-1 16,0 1-16,-13-1 0,0 1 0,0-1 15,-1 1-15,1-14 0,0 0 0,-13 14 16,12-14-16,14 0 16,-13-13-16,0 0 15,13-13 1,0-14-16,13 14 15,-13 0-15,13 0 0,1-1 0,-14 1 0,13 0 16,0 0-16,13 0 0,-12-1 16,-1 14-16,0-26 15,0 13-15,1-1 0</inkml:trace>
  <inkml:trace contextRef="#ctx0" brushRef="#br0" timeOffset="65804.49">11284 9551 0,'-66'-13'16,"53"13"-16,-27 13 15,27-13-15,0 14 0,0-14 16,-1 0-16,1 13 0,13 0 15,-13-13-15,0 27 0,13-14 16,0 13-16,0-12 0,0 12 0,-13 0 16,13 27-16,0-26 15,0 12-15,0-12 0,0-1 0,-14 14 16,14 0-16,-13-14 0,13 1 0,-13-1 16,0 27-16,-1-26 15,1-14-15,13 13 0,-13-13 0,13 1 16,-13-1-16,13 0 0,-13 0 0,13 1 15,0-1-15,0 0 0,0 0 16,13 1-16,0-14 16,0 13-16,14-13 15,-1 0-15,1 0 0,12 0 0,-12 0 16,-1 0-16,54-13 0,-28-1 16,-25 14-16,-1-13 0,14 0 15,-13 13-15,-1-13 0,14-1 16,-27 1-16</inkml:trace>
  <inkml:trace contextRef="#ctx0" brushRef="#br0" timeOffset="66292.45">11893 9737 0,'93'53'16,"-93"-27"0,0-13-16,-14 0 15,14 1-15,0-1 0,-13-13 0,13 13 16,-13 0-16,26 1 16,0-1-1,1 0-15,-1 0 16,-13 1-1,0-1-15,0 0 16,0 0-16,-13-13 0,-1 13 0,1 1 0,0-1 16,-27 13-16,14-12 15,13-14-15,-1 13 0,-12 0 16,-1-13 0,54-26-1</inkml:trace>
  <inkml:trace contextRef="#ctx0" brushRef="#br0" timeOffset="66475.31">12263 9776 0,'14'-13'0,"-14"26"16,0 1-16,-14 38 15,1-38-15,13 12 16,-13 1-16,0-1 0,13-13 0,-13 14 0,13-1 15,-14-13-15,14 14 0,-13-14 16,13 0-16,0 1 0,0-1 16,-13-13-16,13 13 0</inkml:trace>
  <inkml:trace contextRef="#ctx0" brushRef="#br0" timeOffset="66665.5">12118 9882 0,'0'0'0,"13"27"16,0-27-1,40 39 1,0-12 0,-26-27-16,-1 13 0,-13-13 15,14 0-15,-1 0 0</inkml:trace>
  <inkml:trace contextRef="#ctx0" brushRef="#br0" timeOffset="67034.16">12793 9829 0,'66'13'15,"-53"1"-15,0-1 16,-13 0-16,0 14 0,0-14 16,-13 0-16,0 14 0,0-14 0,-1 0 15,14 0-15,-13 0 16,0 14-16,0-14 0,13 0 15,-14 1 1,28-14 0,-1 0-16,0 13 0,0-13 0,-13-13 15,27 13-15,-14 0 0,0 0 0,0 0 16,1-14-16,12 14 0,-13-13 16,1 13-16,-1-13 0,0 0 0,0 13 15,1-14-15</inkml:trace>
  <inkml:trace contextRef="#ctx0" brushRef="#br0" timeOffset="67363.09">12898 9406 0,'67'-13'0,"-54"13"0,0 0 16,0 13-16,27 13 0,13 14 16,26 39-1,-52-52-15,-14-1 16,13 14-16,14 26 0,-27-26 16,-13-14-16,14 14 0,-1 0 0,-13-14 15,0 14-15,0 0 0,-13-14 16,13 14-16,-14-1 0,1-12 0,-13 39 15,12-40-15,1 1 0,-27 13 16,40-14-16,-13-13 16,13 1-16</inkml:trace>
  <inkml:trace contextRef="#ctx0" brushRef="#br0" timeOffset="67787.27">14433 9790 0,'40'0'16,"-27"0"-16,0-14 15,40 14-15,-40 0 0,40 0 16,-26 0-16,26-13 16,-27 13-16,-13 0 15,27 0-15,-27 0 0,0 0 0,1 0 16,-1 13-16,0-13 16,-13 14-16</inkml:trace>
  <inkml:trace contextRef="#ctx0" brushRef="#br0" timeOffset="68003.39">14499 9975 0,'40'0'0,"-14"0"0,-12 0 0,12 0 15,0 0-15,1 0 0,-1 0 0,1 0 16,13 0-16,-14 0 0,14 0 16,-14 0-16,53-13 0,-52 13 15,-1 0-15,1 0 0,-1-14 0,1 14 16</inkml:trace>
  <inkml:trace contextRef="#ctx0" brushRef="#br0" timeOffset="68861.75">16417 9432 0,'0'67'0,"0"-41"0,0-13 16,-13 0-16,13 40 0,0-13 15,0-13-15,-13-1 0,13 0 16,0-12-16,-13 12 0,13-13 16,0 1-16,-14 12 0,14-13 15,0 0-15,0 1 0,-13-1 16,13-53-1,0 27 1,13-13-16,1-1 0,12-65 16,67-54-1,-67 106-15,1 14 0,-1-1 16,1 1-16,-1 13 0,1-1 0,-14 1 16,0 0-16,13 13 0,-12 0 15,-1 0-15,-13 13 0,0 0 16,0 1-16,-13 12 0,-1 1 15,-12-1-15,0 1 0,-1-1 16,1 0-16,-1 1 0,14-14 0,-14 0 16,14 1-16,0-1 0,13 0 0,-13 0 15,0 1-15,13-1 0,0 0 16,0 0-16,0 0 0,13 1 16,0-1-16,0 0 15,14-13-15,-14 13 0,13-13 0,-12 14 16,12-14-16,1 0 0,25 0 15,54 0 1,-66-14-16,-14 14 0,14-13 16,0 13-16,-27-13 0,13 0 15</inkml:trace>
  <inkml:trace contextRef="#ctx0" brushRef="#br0" timeOffset="69209.82">17992 9155 0,'53'-40'16,"-40"40"-16,-79 40 0,145-80 0,-66 40 0,14 0 16,12 0-16,-12 13 15,13 0-15,-14 1 0,0 12 0,27 27 16,-26-27-16,-14 1 16,14 13-16,-14 26 15,0-27-15,-13 28 0,0-41 0,0 14 16,0-14-16,-13 27 0,0-26 15,13-1-15,0 0 0,-14-12 16,14-1-16,0 13 0</inkml:trace>
  <inkml:trace contextRef="#ctx0" brushRef="#br0" timeOffset="69359.67">18428 10028 0,'-13'13'15,"13"-40"17,0 14-32</inkml:trace>
  <inkml:trace contextRef="#ctx0" brushRef="#br0" timeOffset="75714.41">4141 10888 0,'0'158'0,"-13"-118"16,13 0-16,0 13 0,-14-14 15,14 1-15,-13 0 0,13-1 0,0 14 16,-13-26-16,13 12 0,0-12 0,-13-1 16,13 1-16,0-1 0,0-12 15,0 25-15,0-26 16,0 1-16,13-1 0,-13 0 0,0 0 15,13-13-15,-13 14 16,13-14-16,1 0 16,12 0-16,-13 0 0,14 0 0,-1 0 15,27 0-15,-13-14 0,13 14 16,26-13-16,53 0 16,-52 0-16,-1-1 0,14 14 0,-1-13 15,1 13-15,-1-13 0,14 13 16,-13-13-16,39 13 0,252-27 15,-252 14-15,0 13 0,14-13 16,-14 0-16,1 13 0,25-14 16,-12 1-16,13 13 0,158-26 15,-158 26-15,13-14 0,-13 14 0,-1-13 16,14 13-16,0 0 16,-13 0-16,13-13 0,0 13 0,0 0 15,0 0-15,0 0 0,0 0 0,0 0 16,172 0-16,-13-13 15,-159 26-15,-1-26 0,1 13 16,0 0-16,-13 0 0,13 0 0,0 0 16,-13 0-16,0 0 0,13-13 15,-14 13-15,1 0 0,0 0 0,0 0 16,13 0-16,-27 0 0,14 0 16,0 0-16,-14 0 0,1-14 0,-1 14 15,146 0-15,-26-13 16,-120 13-16,107-13 0,-120 13 15,93-13-15,-119-1 16,0 14-16,-14 0 0,120-13 16,-106 0-16,79 0 0,-79 13 15,-14-14-15,1 14 0,-14-13 16,14 0-16,79 0 16,-27 0-16,1-1 15,-80 1-15,0 13 0,14-13 16,-14 13-16,-13-13 0,-14 13 0,14-14 15,0 14-15,-13-13 0,13 13 0,-27 0 16,14 0-16,-14-13 0,1 13 0,-1 0 16,1-13-16,-1 13 0,1 0 15,-14 0-15,13-14 0,1 14 16,-1 0-16,1 0 0,-1-13 0,1 13 0,12 0 16,14-13-16,-13 13 15,0 0-15,-1-13 0,14 13 16,40-13-16,-53-1 0,12 14 15,1-13-15,40 0 16,-53 13-16,52-13 0,-52-1 16,-14 14-16,1-13 0,39 0 15,-13 13-15,-27-13 16,1 13-16,-14-13 0,13 13 16,1 0-16,-14-14 0,14 14 15,-14 0-15,-13-13 0,13 13 16,0 0-16,1 0 15,-14-13-15,13 13 16,-13-13 31,0-1-31,0 1-16,0-13 15,0 12-15,0 1 16,13-13-16,-13 13 0,0-14 15,0 1-15,0-1 16,13 1-16,-13-1 0,0-12 0,0-1 16,0 0-16,0 14 0,0-27 15,0 26-15,0-12 16,0 25-16,0 1 0,0 0 0,0 0 16,0 0-16,0-1 0,0 1 15,0 0 1,-13 13-1,0 0 1</inkml:trace>
  <inkml:trace contextRef="#ctx0" brushRef="#br0" timeOffset="75934.5">18904 10239 0,'-39'27'16,"26"-1"-1,13-12-15,-14 12 16,1-13-16,0 14 0,0-14 0,-1 13 16,-12 1-16,13-1 0,-1-12 15,-12-1-15,26 0 0,-26 13 16,26-12-16,-14-14 15</inkml:trace>
  <inkml:trace contextRef="#ctx0" brushRef="#br0" timeOffset="76120.89">18785 10319 0,'27'0'0,"-1"13"16,1 13-16,-14-12 15,27 12-15,-14 1 16,1-14 0,-14 0-16,13 0 0,-12 1 15,12-14-15,-26 13 16</inkml:trace>
  <inkml:trace contextRef="#ctx0" brushRef="#br0" timeOffset="76769.67">19407 9472 0,'93'27'0,"-80"-1"16,0-13-16,-13 0 0,0 1 15,0-1-15,0 0 0,-13 14 16,0-1-16,0 1 0,-14-1 16,14 0-16,-14-12 0,-12 25 15,26-25-15,-14 12 0,14-13 16,0 0 0,26-13-1,27 0 1,-14 0-16,-13 0 15,14 0-15,26 0 0,-27 0 16,14-13-16,-14 13 0,1 0 16,-1 0-16,27 0 0,-27-13 15,1 13-15,-1 0 0,1 0 0,-14-13 16,14 13-16,-1 0 0,0-13 16</inkml:trace>
  <inkml:trace contextRef="#ctx0" brushRef="#br0" timeOffset="77404.61">20757 9379 0,'-27'53'15,"14"-39"1,0 39-16,-1-14 0,-12-12 16,13 12-16,0-12 0,-1-1 0,-12 1 15,13 12-15,-14-12 16,14-1-16,0-12 0,-1 12 0,1-13 16,13 0-16,-13 1 0,0-14 0,13 13 15</inkml:trace>
  <inkml:trace contextRef="#ctx0" brushRef="#br0" timeOffset="77622.14">20571 9393 0,'27'26'15,"13"1"-15,-27-1 0,13 1 16,1-14-16,118 93 15,-105-80-15,0-13 16,-14 14-16,14-1 0,-14-13 16,1 1-16,26 25 15,-40-25-15,0-1 0</inkml:trace>
  <inkml:trace contextRef="#ctx0" brushRef="#br0" timeOffset="79537.39">13004 10358 0,'27'80'15,"-27"-54"-15,13 14 0,-13 13 16,13-13-16,0 26 0,-13-13 0,14 13 16,-14 0-16,0 0 15,13 66-15,-13-66 0,0-13 0,0 14 16,0-15-16,-13 54 16,13-66-16,0 0 0,-14-1 0,14 1 15,0 13-15,0-27 0,0 1 16,0-14-16,-13 14 0,13-14 0,0 13 15,0 1 1,0-14-16,0 0 0,-13-13 16,13 13-16,13 1 15,0-14 1,40 0 0,-39-14-16,-1 14 15,13 0-15,1 0 0,39-13 16,-26 13-16,-1-13 15,14 13-15,-13-13 0,13 13 0,0 0 0,0-13 16,26 13-16,-13-14 0,0 14 0,14-13 16,-1 13-16,0-13 15,1 0-15,-1 13 0,14-14 0,-1 1 16,1 13-16,0-13 0,26 0 0,13-1 16,-40 1-16,28 13 0,-15-13 15,134-13-15,-107 12 0,-13 1 16,132-13-16,-132 12 0,14 1 15,-14 13-15,-14-13 0,28 13 16,-14-13-16,13 13 0,-13-14 0,-13 1 16,26 13-16,-13-13 0,-13 13 0,13-13 15,-13 13-15,0-13 0,13 13 16,-13 0-16,26-14 0,-26 14 16,0 0-16,-14 0 0,14-13 0,0 13 15,0 0-15,13 0 0,-13 0 0,0 0 16,-1-13-16,1 13 0,132 0 15,-132 0-15,0 0 16,0 0-16,0 0 0,0 0 0,-1 0 0,1 0 16,0 0-16,0 0 0,-13-13 15,12 13-15,-12 0 0,0 0 0,105 0 16,-119 0-16,14 0 0,0 0 16,-14 0-16,0 0 0,1 0 15,-1 0-15,0 0 0,-12 0 16,52-14-16,-66 14 0,-14 0 0,1 0 15,0 0-15,-14-13 0,14 13 16,-27 0-16,53-13 16,-53 13-16,14 0 15,-14 0-15,14-13 0,-14 13 16,0 0-16,13 0 16,-12 0-16,-1-14 0,0 14 0,0 0 15,1 0-15,-1 0 0,0 0 16,0 0-16,1 0 15,25 0-15,1 0 16,-27 0-16,0 0 0,1-13 0,-1 13 16,0 0-16,0 0 15,0 0-15,-13-13 0,14 13 16,-1 0-16,-13-13 0,13 0 16,-13-1-16,0 1 0,0 0 15,0 0-15,-13-1 0,13-25 16,-13 12-16,13 1 0,-14-14 15,14 14-15,0-14 0,-13 0 0,13-13 16,0 14-16,0-54 16,-13 53-16,13-13 0,13 14 0,-13-14 15,0 13-15,0-66 0,0 67 16,13-14-16,-13 13 16,0 0-16,0-13 0,14 14 0,-14 12 15,0-26-15,0 27 0,0-1 16,0 14-16,13 0 0,-13 0 15,0 0-15,0-14 0,0 14 16,0 0 0,-13 39 15,-1-13-15,14 1-16,-13-1 15</inkml:trace>
  <inkml:trace contextRef="#ctx0" brushRef="#br0" timeOffset="79843.35">22662 9909 0,'-53'26'16,"26"-13"-16,14 1 0,-14-1 0,1 0 16,0 13-16,12 1 15,-39 13-15,27-14 0,-14 14 16,1-1-16,-1-12 16,27-14-16,-1 0 15,1 1-15,0-1 0,-13 13 16,12 1-16,1-27 0,13 13 15,-13-13-15,13 13 16</inkml:trace>
  <inkml:trace contextRef="#ctx0" brushRef="#br0" timeOffset="80114.32">22384 10014 0,'26'-13'15,"-13"26"-15,1-13 0,-1 14 16,0-14-16,0 13 0,1 0 16,12 27-16,0-14 15,1-12-15,-14 12 0,0-13 0,14 14 16,-1 12-1,14 1-15,-27-27 16,0 1-16,14 12 16,-27-13-16,13-13 15</inkml:trace>
  <inkml:trace contextRef="#ctx0" brushRef="#br0" timeOffset="80786.97">21855 9234 0,'39'-26'15,"-25"26"-15,-1-14 0,93 14 31,-80 0-31,0 0 0,14 14 16,13-1-16,-40 0 0,1 0 16,-1 53-1,-26-39-15,-14-1 0,14 14 16,-27-14-16,-13 27 0,14-26 16,12-1-16,-13 1 0,27-14 15,0 0-15,0-13 0,0 13 0,-1 1 16,41-1-1,-14-13-15,27-13 16,-14 13-16,27 0 0,-13 0 0,13-14 16,0 14-16,39-13 15,-39 13-15,0 0 0,-13 0 16,-14-13-16,14 13 0,-14 0 16,-13 0-16,1 13 0</inkml:trace>
  <inkml:trace contextRef="#ctx0" brushRef="#br0" timeOffset="81861.6">19963 10081 0,'66'0'0,"-26"0"0,-1 0 16,27 13-16,1-13 0,91 13 15,-78 0-15,105-13 0,-92 14 16,-1-14-16,14 0 0,-13 0 15,12-14-15,1 14 0,13-13 0,106-13 16,-132 12-16,92-12 16,-92 13-16,-1-1 15,120-25-15,-133 12 0,1 14 16,-1-13-16,0-1 0,-12 14 0,12-14 16,-13 14-16,13-13 0,-26-1 15,14 1-15,-15 13 0,1-14 0,0 1 16,-13-1-16,-14 1 0,14 13 0,-13-27 15,39-53 1,-40 67-16,-13-14 0,14 0 0,-14 14 16,0-14-16,1 1 0,-14-1 0,13-13 15,-26 13-15,13 1 16,-14-14-16,-39-53 0,14 53 0,-1 13 16,-13 1-16,0-14 0,0 13 15,-26-13-15,13 27 0,0-14 0,-14 0 16,-12 1-16,-1-1 0,0 0 0,14 14 15,-93-40-15,66 26 16,0 13-16,1 1 0,25 13 16,-12 0-16,-27-14 0,26 27 0,0-13 15,-13 0-15,14 13 0,-14 0 0,0-14 16,14 14-16,-27 0 0,-1 14 16,-104-1-16,118-13 15,13 13-15,-26 0 0,26 14 0,-12-14 0,-1 13 16,26 1-16,1-1 0,0 1 15,13-1-15,-106 40 0,105-26 16,1-13-16,0 12 0,0-12 16,0 12-16,13-12 0,-13 13 15,26-14-15,-13 14 0,0-1 0,14 1 16,-1 0-16,-26 26 0,26-13 16,14-27-16,-14 14 0,27 0 15,-14-14-15,14 14 0,-27 66 16,40-67-16,-13 14 0,13-13 15,0 0-15,13-1 0,-13-12 16,14 26-16,-1-14 0,0-12 16,0 13-16,14 39 0,12 0 15,-25-39-15,12 0 16,14-1-16,26 41 0,26-14 16,-39-40-16,80 27 15,-67-40-15,26 14 0,107-1 16,-107-12-16,1-1 0,13 0 15,92-13-15,-105 13 0,13-13 16,0-13-16,92 0 16,-13 0-16,-92-14 0,-14 14 15</inkml:trace>
  <inkml:trace contextRef="#ctx0" brushRef="#br0" timeOffset="83810.32">3889 9340 0,'-13'13'0,"13"0"0,-13 0 16,13 1-16,0-1 0,0 0 15,0 0-15,-13 1 0,13 12 0,0-13 0,0 1 16,0-1-16,-14 0 0,14 0 16,0 0-16,0 1 15,0-41 17,0 14-17,14 0-15,-14-14 16,13 14-16,-13 0 15,13 0-15,0 13 0,1 0 16,-1 0-16,0 13 0,0 0 16,1-13-16,-14 13 15,13-13-15,-13 14 0,13-14 0,-13 13 16,0 0-16,13-13 0,-13 13 0,13 0 16,1-26 15,-14 0-31,13 0 15,0 0 1,14-1 0,-14 14-16,0 0 15,0 0-15,1 0 16,-1 14-16,0-14 0,0 0 0,0 13 16,1 0-16,-1 0 0,13-13 15,-26 13-15,14-13 0,-1 0 16,0 14-16,13-28 0,-12 14 15</inkml:trace>
  <inkml:trace contextRef="#ctx0" brushRef="#br0" timeOffset="84143.28">4458 9419 0,'-39'13'0,"25"1"16,1-14-16,0 13 0,-14 13 15,27-12 1,-13-1-16,13 0 16,0 0-16,13 0 15,14-26 1,-27 0-16,13 13 16,-13-13-16,13 13 0,-13-13 15,14-1-15,-14 1 0,13 0 16,0 26 15,-13 0-15,0 1-16,0 12 15,13-13-15,-13 0 16,13 1-16</inkml:trace>
  <inkml:trace contextRef="#ctx0" brushRef="#br0" timeOffset="84342.25">4564 9300 0,'-26'-66'15,"39"106"17,-13-1-17,0-12-15,0 26 0,0-14 16,13 1-16,-13-13 0,0-14 0,13 13 15,-13 1-15,0-14 0,0 0 16,0 0-16,14 14 0,-14-14 16</inkml:trace>
  <inkml:trace contextRef="#ctx0" brushRef="#br0" timeOffset="84685.94">4564 9512 0,'13'-40'16,"1"40"-16,-1 13 15,0-13-15,0 14 16,0-1-16,-13 0 0,14 0 16,-14 0-16,13 1 15,-13-1-15,13 0 16,0-26 15,-13 0-15,14-1-16,-1 1 15,0 13 1,0-13-16,0 0 16,1 13-16,-1 13 15,0-13 1,0 13-1</inkml:trace>
  <inkml:trace contextRef="#ctx0" brushRef="#br0" timeOffset="84967.38">5014 9485 0,'13'53'16,"-13"-40"-16,-13 1 15,13-1-15,0 13 16,0-12-16,0-1 16</inkml:trace>
  <inkml:trace contextRef="#ctx0" brushRef="#br0" timeOffset="85135.25">4921 9459 0,'-13'-13'0</inkml:trace>
  <inkml:trace contextRef="#ctx0" brushRef="#br0" timeOffset="85550.24">5318 9406 0,'0'-13'46,"0"-1"-14,0 41 30,0-14-62,0 0 16,0 14-16,13-14 0,-13 0 15,-13 1-15,13-1 0,0 13 16,0-13-16,0 1 0,-13-1 16,13 0-16,-13 14 0,-1-14 15,1 0-15,0 0 16,0 1 0,0-14-16,-1 13 15,1-13-15,0 0 16</inkml:trace>
  <inkml:trace contextRef="#ctx0" brushRef="#br0" timeOffset="85781.36">5371 9366 0,'-26'27'15,"26"-1"-15,0 1 0,0-14 16,0 0-16,0 0 0,0 1 0,0-1 16,13 13-1,0-13-15,0 1 16,14-14-16,-1-14 16</inkml:trace>
  <inkml:trace contextRef="#ctx0" brushRef="#br0" timeOffset="86002.07">5781 9088 0,'0'40'16,"13"-13"-16,-13-14 0,14 0 15,-14 14-15,13-1 0,-13-13 16,13 0-16,-13 14 0,0-14 16,0 0-16,0 14 0,0 12 15,0-25-15,0-1 0</inkml:trace>
  <inkml:trace contextRef="#ctx0" brushRef="#br0" timeOffset="86913.56">11562 8877 0,'-26'13'15,"26"0"-15,0 0 16,0 1-16,0-1 0,0 0 15,0 0-15,0 1 16,13-1-16,0-26 47,-13-14-31,0 14-16,0 0 0,0-1 0,0 1 15,14 0-15,-14 0 0,0 0 16,13-1-16,-13 28 15,26-1 17,-13-13-32,1 13 0,-1-13 0,0 0 15,-13 13-15,27-13 16,-27-13-16,13 13 0,0 0 16,0-13-16,1 0 15,-1-1-15,0 1 16,0 13-16,-13-13 15,13 13-15,1 13 16,-1-13-16,0 27 16,0-14-1,-13 0-15,14-13 16,-14 13-16,13 0 0,0-13 16,-13 14-16,26-14 0,-26 13 15,27-13-15</inkml:trace>
  <inkml:trace contextRef="#ctx0" brushRef="#br0" timeOffset="87301.36">12158 8718 0,'26'-13'16,"-26"0"-16,13 26 16,1-13-16,-1 0 0,0 13 15,-13 13-15,0-12 0,0-1 16,0 0-16,0 14 0,-13-14 16,0 13-16,-1 1 0,14-14 15,-13 0-15,13 0 0,0 1 0,0-1 16,0 0-16,0 0 15,13-13 1,1 0-16,12-13 0,-13 13 16,0 0-16,14-13 0,26 0 15,-40 13 1,13-14-16,-12 14 0,-1 0 16,0 0-16,-13 14 15</inkml:trace>
  <inkml:trace contextRef="#ctx0" brushRef="#br0" timeOffset="87829.25">11933 9247 0,'92'-13'0,"-52"13"16,0-13-16,13 0 0,26-14 16,-26 14-16,-13 0 0,12-14 15,-12 14-15,0 0 0,0-1 16,65-38-16,-65 25 16,-27 14-16,27-14 15,-27 14-15,-13 0 0,27-27 16,-27 27-16,0 0 0,0 0 15,0-27-15,-14 0 16,1 27-16,0-27 0,0 14 16,-27-27-16,-13-13 15,-26 0-15,39 26 16,0 13-16,-13 1 0,1 0 16,-1 12-16,-66-25 0,52 25 0,-65 14 15,53 0-15,13 14 16,-67 12-16,67-13 0,13 14 15,-66 39-15,80-40 16,-14 14-16,13 0 0,13-1 16,-12 41-16,26 12 0,13-12 15,39-1 1,1-39-16,-14 0 0,80 26 16,-53-40-16,13-13 0,67 14 15,-54-14-15,93-13 16,-119 0-16,39-13 15,-65 13-15,-14-13 0</inkml:trace>
</inkml:ink>
</file>

<file path=ppt/ink/ink17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6:28:37.234"/>
    </inkml:context>
    <inkml:brush xml:id="br0">
      <inkml:brushProperty name="width" value="0.05292" units="cm"/>
      <inkml:brushProperty name="height" value="0.05292" units="cm"/>
      <inkml:brushProperty name="color" value="#0070C0"/>
    </inkml:brush>
  </inkml:definitions>
  <inkml:trace contextRef="#ctx0" brushRef="#br0">19328 3175 0,'53'0'0,"92"-13"16,-65 0-16,-1 13 16,0-14-16,14 14 0,0 0 15,131-26-15,-118 26 0,146-13 16,-146-1-16,13 1 0,-27 0 15,14 13-15,-13-13 0,12 13 16,-12-14-16,-14 1 0,1 13 16,65-13-16,-39 0 15,-53 13-15,0 0 0,-13-13 16,-14 13 0,-13 0-16,1 0 0,-1-14 15</inkml:trace>
  <inkml:trace contextRef="#ctx0" brushRef="#br0" timeOffset="941.87">1482 4048 0,'92'-26'0,"-39"12"16,0 14-16,13-26 0,14 13 15,-14 0-15,13-1 0,93-25 16,-93 12-16,27 1 16,-13 12-16,-14-12 0,107-14 0,-107 14 15,0 13-15</inkml:trace>
  <inkml:trace contextRef="#ctx0" brushRef="#br0" timeOffset="5327.61">6046 10094 0,'53'0'0,"-40"0"0,0 0 15,0 0-15,1 0 0,-1 0 16,-13 13-16,13-13 0,-13 13 15,0 14-15,-13-27 16,0 13-16,13 0 0,-14 0 0,1 1 16,-13 12-16,-1-13 15,14-13-15,0 14 0,-1-14 16,14 13-16,-13-13 0,0 13 16,39-13 30,-12 0-46,-1 0 0,0 0 16,0 0-16,1 0 0,-1 0 0,0-13 0,0 13 16,1 0-16,12 0 15,-13-13-15,0 13 0,1 0 0,12-14 16</inkml:trace>
  <inkml:trace contextRef="#ctx0" brushRef="#br0" timeOffset="5530.92">6469 10094 0,'13'-13'0,"-26"39"15,0-26 1,13 27-16,-13-14 0,13 0 16,-14 0-16,1 27 15,0 0-15,0-40 16,13 13-16,-14 0 0,14 0 15,0 1-15,-13-1 16</inkml:trace>
  <inkml:trace contextRef="#ctx0" brushRef="#br0" timeOffset="5727.95">6337 10160 0,'-13'0'0,"39"13"32,-13-13-32,0 13 15,1-13-15,-1 0 16,0 0-16,0 14 0,1-14 16,-1 0-16,0 0 0</inkml:trace>
  <inkml:trace contextRef="#ctx0" brushRef="#br0" timeOffset="6272.19">6628 10081 0,'13'0'32,"14"13"-17,-27 13 1,13-12 15,-13-1-31,0 0 0,13 0 16,-13 14-1,0-14-15,0 0 16,-13 0-16,13 1 0,-13-1 16,13 0-16,-14-13 15,1 13-15,-13 1 0,12-14 16,14 13-16,-13-13 15,0 0-15,0 0 0</inkml:trace>
  <inkml:trace contextRef="#ctx0" brushRef="#br0" timeOffset="6531.62">5874 10107 0,'-27'185'16,"41"-132"-16,25 0 0,-26-26 15,14-14-15,-14 0 16,40 14-16,-13-14 15,-14-13-15,1 0 0,26-13 16</inkml:trace>
  <inkml:trace contextRef="#ctx0" brushRef="#br0" timeOffset="6805.43">6879 9948 0,'106'119'15,"-106"-105"-15,0 12 0,13-13 16,-13 14-16,0-14 0,-13 13 15,13-12-15,-13 25 0,0-12 16,-1-14-16,1 14 0,0-1 0,0-13 16,-1 0-16,1 1 0</inkml:trace>
  <inkml:trace contextRef="#ctx0" brushRef="#br0" timeOffset="10895.28">8731 10345 0,'27'0'0,"-14"0"0,0 0 15,0 13-15,1-13 16,-14 14-16,0-1 16,0 0-1,0 0 1,0 1-1,13-14-15,0 0 0,0 13 16,1-13 15,-1 13-31,0 0 16,-13 1-16,-13-1 16,0 0-16,-1 0 15,1-13-15,13 13 0,-13 1 0,0-14 16,13 13-16,-14-13 0</inkml:trace>
  <inkml:trace contextRef="#ctx0" brushRef="#br0" timeOffset="11108.33">9036 10332 0,'13'13'16,"-13"14"-16,0-14 0,0 0 16,-13 40-1,13-40-15,0 1 16,0-1-16,0 0 0,-14 13 0,14-12 31</inkml:trace>
  <inkml:trace contextRef="#ctx0" brushRef="#br0" timeOffset="11332.93">8969 10398 0,'-13'0'0,"40"27"15,-14-27 1,0 0-16,-13 13 16,13-13-16,1 13 0,-1-13 15,0 13-15,0-13 16</inkml:trace>
  <inkml:trace contextRef="#ctx0" brushRef="#br0" timeOffset="11652.82">9313 10332 0,'14'0'0,"-1"13"15,0-13-15,-13 13 0,13-13 16,-13 14-16,0-1 0,0 0 15,0 0-15,13 1 0,-13-1 16,0 0-16,0 0 16,0 1-16,14-14 0,-14 13 15,13-13-15,-13 13 16,13-13-16,0 13 16,1-13-16,-1 0 15,0 0 1</inkml:trace>
  <inkml:trace contextRef="#ctx0" brushRef="#br0" timeOffset="12007.44">8467 10345 0,'-27'27'16,"27"-14"-16,27-53 0,-67 106 0,40-52 16,-13 25-16,13-12 15,13 39-15,-13-40 0,13 14 0,14-14 16,-14 1-16,13-1 0,14 1 16,0-14-16,-14 0 0,27 1 15,-13-1-15,-1-13 0,-12 0 0,13 0 0,-1 0 16,14-13-16</inkml:trace>
  <inkml:trace contextRef="#ctx0" brushRef="#br0" timeOffset="12290.94">9551 10081 0,'146'132'0,"-133"-106"0,0 1 16,1 13-16,-14-14 0,0 27 15,0-27-15,0 14 0,-14 0 16,1-1-16,0-12 0,-13 13 15,12-1-15,-12-12 0,13 12 0,-14-12 0,14-14 16,-14 14-16</inkml:trace>
  <inkml:trace contextRef="#ctx0" brushRef="#br0" timeOffset="15632.87">7885 9009 0</inkml:trace>
  <inkml:trace contextRef="#ctx0" brushRef="#br0" timeOffset="16843.99">5781 9022 0,'0'14'16,"13"-14"0</inkml:trace>
  <inkml:trace contextRef="#ctx0" brushRef="#br0" timeOffset="17404.18">7805 9499 0,'-13'13'16,"13"0"-1,13-13-15</inkml:trace>
  <inkml:trace contextRef="#ctx0" brushRef="#br0" timeOffset="18517.34">6376 9128 0,'27'0'31</inkml:trace>
  <inkml:trace contextRef="#ctx0" brushRef="#br0" timeOffset="18851">7964 10067 0</inkml:trace>
  <inkml:trace contextRef="#ctx0" brushRef="#br0" timeOffset="20767.81">10491 8493 0,'0'13'16,"13"14"0,-13-14-16,0 0 15,0 0-15,13-13 16,-13 14-16,0-1 0,0 13 16,0-12-1,0-1 1</inkml:trace>
  <inkml:trace contextRef="#ctx0" brushRef="#br0" timeOffset="21087.9">10332 8440 0,'-26'80'0,"26"-67"0,0 0 15,0 0-15,0 0 0,0 1 0,13 25 16,0-12 0,0-14-16,0 0 15,1 1-15,-1-14 0,0 0 16,0 0-16,1 13 0</inkml:trace>
  <inkml:trace contextRef="#ctx0" brushRef="#br0" timeOffset="21695.55">10544 8427 0,'53'13'0,"-40"0"0,53 54 16,-53-54-1,0 0-15,1 13 0,-1-12 16,-13 12-16,0-13 0,13 14 15,-13-14-15,-13 14 0,13-14 0,-13 26 16,-1-12-16,1-14 16,13 0-16,-13 1 0,0-1 0,-1 0 15,1 0-15,0-13 0</inkml:trace>
  <inkml:trace contextRef="#ctx0" brushRef="#br0" timeOffset="24347.85">10702 8533 0,'199'-159'16,"-146"119"-16,0 14 0,13-14 0,0 1 16,27-1-16,-1 0 0,1 0 0,-1 14 15,14-14-15,106-26 0,-106 40 16,0-14-16,-1 14 15,14-1-15,0 1 0,1-1 0,-1 14 16,0-13-16,0-1 0,0 14 0,0-14 16,-27 14-16,1 13 15,13-13-15,-13 0 0,12 13 0,-12 0 0,13-14 16,-14 28-16,1-14 0,0 0 16,-14 13-16,0 0 0,1 0 0,78 27 15,-91-13-15,-14-1 16,66 27-16,-66-27 0,-1 1 15,-12-1-15,0 1 0,26 26 16,-40-27-16,1-13 0,-1 14 16,1-1-16,26 14 0,-40-14 15,0-12-15,27 12 16,-27 1-16,0-14 0,1 0 0,-1-13 16,-13 13-16,13 0 0,0 1 0,0-1 15,1 0 1,-1 0-1,0 1 17</inkml:trace>
  <inkml:trace contextRef="#ctx0" brushRef="#br0" timeOffset="24905.14">14962 8334 0,'40'40'0,"0"0"16,-14-27-1,0 13-15,1-12 0,13 12 0,-27-13 16,27 14-16,-14-14 0,0 0 16,1 0-16,-1 1 0,1-1 0,13 13 15,12-12-15,-25-14 16,-14 13-16,14-13 0,-14 0 16,13 0-16,-12 0 0,-1 13 0,13-13 15,-13-13-15,1 13 16,-1 0-16,0 0 0,0-13 0,1-1 15,-1 1 1,-13 0-16,13 0 0,-13-1 0,0 1 16,13-13-16,-13 13 15,0-1-15,0 1 16,13 0-16,-13 0 16,-13-1 15,0 14 0</inkml:trace>
  <inkml:trace contextRef="#ctx0" brushRef="#br0" timeOffset="28591.14">14155 9208 0,'-13'13'16</inkml:trace>
  <inkml:trace contextRef="#ctx0" brushRef="#br0" timeOffset="31487.93">13838 8718 0,'13'-13'32,"0"0"-17,-13-1-15,13 1 16,1 0-16,-14 0 15,26-27-15,-13 13 0,1 1 0,12 0 16,-13-14-16,27-26 16,-14 26-16,1 0 0,26-52 15,13 12-15,-40 27 16,14 14-16,0-1 0,-1 0 16,54-39-16,-40 39 0,-13 1 15,13-1-15,-1 14 0,1-14 0,0 13 16,53-26-16,-53 40 15,13-13-15,-13 13 0,0-1 0,0 1 16,40-13-16,-54 12 0,14 14 16,40-13-16,-40 0 15,0 13-15,-14 0 0,14 0 16,40 0-16,13 0 0,-67 13 16,1-13-16,13 13 15,26 14-15,-39-27 0,0 13 16,39 14-16,-39-14 0,39 13 15,-39-13-15,-14 1 16,14-1-16,0 0 0,-1 0 0,41 27 16,-54-27-16,14 1 0,0 12 15,-14-13-15,0 14 0,14-1 16,-13 1-16,26 26 0,-27-40 16,27 53-16,-40-40 0,14 1 15,-1-1-15,14 40 16,-27-39-16,27 26 15,-1 13-15,-25-40 0,25 27 16,-26-26-16,1-14 0,12 27 16,-13-1-1,1-12-15,-1-14 0,0 0 16,-13 0-16,27 27 0,-27-27 16,13 1-16,0-1 0,-13 0 0,13 0 15,-13 1-15,13-1 16,-13 0-16,14-13 0,-14 13 15,13-13-15,-13 13 16,-27-13 47,14 0-48</inkml:trace>
  <inkml:trace contextRef="#ctx0" brushRef="#br0" timeOffset="32337.7">17079 8639 0,'-13'0'0,"26"13"31,-13 0-31,13 0 16,14 1 0,-14-1-16,0 13 15,0-26-15,0 13 16,1-13-16,-1 14 0,0-14 15,0 13-15,1-13 16,-1 0-16,0 13 0,0-13 31,1 0-31,-1 0 16,0 0 0,0 0-16,0 0 15,1-13-15,-1 13 16,0 0-16,0-13 15,-13-1-15,14 14 0,-1-13 16,0 0-16,0 0 16,0-14-16,1 14 0,-1 0 15,0 0-15,-13-1 16,13 1-16,1 0 0,-1 0 16,0-1-1,-13 1 1,13 13-16,-13-13 15,14 13 1,-14-13 0,0 0 77,-14 13 64,-52 13-142,40-13-15,-14 13 16,0 0-16,-79 0 0</inkml:trace>
  <inkml:trace contextRef="#ctx0" brushRef="#br0" timeOffset="33601.08">5569 9776 0</inkml:trace>
  <inkml:trace contextRef="#ctx0" brushRef="#br0" timeOffset="34736.83">5794 9684 0</inkml:trace>
  <inkml:trace contextRef="#ctx0" brushRef="#br0" timeOffset="35935.93">6231 9657 0,'13'14'0</inkml:trace>
  <inkml:trace contextRef="#ctx0" brushRef="#br0" timeOffset="36532.21">7911 10200 0</inkml:trace>
  <inkml:trace contextRef="#ctx0" brushRef="#br0" timeOffset="37822.65">11232 9869 0,'39'145'15,"-26"-105"-15,-13-13 0,14 12 0,-1 1 16,0 0-16,0-14 0,1 14 16,-1 0-16,0-1 0,0 1 0,14 13 15,-1-13-15,-13 12 0,14-12 0,-1 13 16,41 26-16,-28-52 16,1 13-16,13-1 0,-13-12 0,12-1 15,15 14-15,-15-14 0,1 1 0,80 12 16,-80-12-16,13-14 15,13 0-15,-13 14 0,14-14 0,-1-13 16,80 26-16,-80-26 16,1 0-16,-1 0 0,0 0 0,14 0 15,-14-13-15,1 13 0,-1-13 0,0 0 16,14 13-16,-14-13 0,80-14 16,-80 14-16,1 0 15,-1-1-15,-13 1 0,67 0 16,-54 0-16,-26 0 0,79-14 15,-66 14-15,-13 0 0,13-14 16,-13 14-16,0 0 0,66-27 16,-66 27-16,0-14 0,0 14 0,-13 0 15,13-14-15,39 1 0,-52-1 16,0 14-16,-1-13 16,1 13-16,0-14 0,-1 14 0,1-14 15,66-39-15,-80 40 16,14 13-16,-13-14 0,12 1 15,14-14-15,-26 14 0,-1-1 16,27-13-16,-27 14 16,27-14-16,-39 27 0,12-13 15,-13 12-15,14-12 0,-14 13 16,0-1-16,14-25 0,-1 12 16,-13 14-16,1 0 0,-1-14 15,13 14-15,1-13 0,-14-1 16,0 14-16,0 0 0,1 13 0,-1-14 15,-13 1-15,13 0 0,0 0 16,1 0-16,-1-1 16,0 1-16,-13 0 15,13 13 1,-13-13-16,13 13 31,1 0 32</inkml:trace>
  <inkml:trace contextRef="#ctx0" brushRef="#br0" timeOffset="38424.26">16113 9737 0,'-13'0'0,"53"-14"32,-14 14-17,-13 0 1,0 0-16,1 0 0,12 0 15,-13 0-15,1-13 0,-1 13 16,0 0-16,0 0 0,1 0 0,-1 0 16,13 0-16,-13 0 15,1 0 1,-1 13 0,0-13-16,0 0 15,1 14 1,-1-1-1,-13 0-15,13 0 16,-13 1-16,13-1 16,-13 0-16,14 0 0,-14 0 0,0 1 0,13 12 15,0-13-15,-13 1 0,13-1 16,-13 13-16,0-12 0,13-1 16,-13 0-16,14 0 0,-14 0 0,0 1 15,13-1-15,-13 0 0,0 0 0,0 1 16,0-1-1,-13 0-15,13 0 16,-14-13-16,1 0 16</inkml:trace>
  <inkml:trace contextRef="#ctx0" brushRef="#br0" timeOffset="44929.11">14830 9895 0,'0'-13'0,"13"40"0,-13 26 15,13-27 1,-13-13-16,14 27 0,-1-14 0,0 14 15,0-13-15,0 12 0,1-12 16,12 12-16,-13-12 0,40 39 16,-26-40-16,-1 1 0,1-1 15,12 1-15,-12-1 0,26 1 0,-27-1 16,14-13-16,0 14 0,52 13 16,1-1-16,-40-26 15,-14 14-15,1-27 0,0 13 0,13 0 16,-14 1-16,1-1 0,0-13 15,-14 13-15,1-13 0,12 0 0,-12 0 16,-1 0-16,1 0 0,12 0 0,-12 0 16,13-13-16,-1 0 0,1 13 15,39-27-15,-39 14 0,0 0 16,-1 13-16,-12-14 0,13 1 0,-14 13 16,0-13-16,1 0 0,-1 13 15,1-13-15,-1 13 0,1-14 0,-1 14 16,-13-13-16,27 0 0,-13 13 0,-1-13 15,1-1-15,-1 1 0,0 0 16,1 0-16,-1 0 0,1-1 0,-1 1 16,14-13-16,-14 12 0,-12 1 15,12 0-15,-13 0 0,14-1 16,-14 1-16,0 0 0,14 0 16,-14 0-16,0-14 0,0 14 0,27-14 15,-27 14-15,1-27 16,-1 27-16,13-13 15,-26 13-15,13-1 0,-13 1 16,14 0-16,-1 0 0,-13-1 16,13-12-16,0 26 0,-13-13 15,0-1-15,14 14 0,-14-13 0,0 0 16,13 0 0,-13 0-1,0-1 1,-13 14 15,-1 0-15</inkml:trace>
  <inkml:trace contextRef="#ctx0" brushRef="#br0" timeOffset="45180.3">17410 9856 0,'-40'26'31,"27"-26"-31,-1 13 0,-38 40 16,25-26-1,-26 12-15,27-25 0,-1 12 16,1 1-16,-14-1 15,27-13-15,0-13 16,13 14-16</inkml:trace>
  <inkml:trace contextRef="#ctx0" brushRef="#br0" timeOffset="45376.62">17317 9869 0,'53'26'16,"-53"-12"-16,13-1 0,0-13 0,1 13 16,38 14-1,-38-14-15,12-13 0,1 13 16,-14 0-16,13-13 0,-12 13 16,-1-13-16,0 0 0,0 0 15,0 0-15,1 0 16</inkml:trace>
  <inkml:trace contextRef="#ctx0" brushRef="#br0" timeOffset="50764.45">19288 9247 0,'13'0'16,"-39"0"-1,13 0-15,-14 0 16,-39 27-16,26-27 16,-92 39-16,92-25 15,-39-1-15,53 0 16,-27 0-16,39 0 16,-25 1-16,12-14 0,14 0 15,13 13-15,-13-26 16</inkml:trace>
  <inkml:trace contextRef="#ctx0" brushRef="#br0" timeOffset="50999.79">18759 9260 0,'-66'53'16,"53"-13"-1,-1-27-15,14 0 16,0 1-16,14 25 16,-14-25-16,13-1 0,0 0 0,40 0 15,13 1 1,27-1-16,-54-13 0,14 0 16,66 0-16,14-27 15,-54 14 1</inkml:trace>
  <inkml:trace contextRef="#ctx0" brushRef="#br0" timeOffset="51368.04">20214 9036 0,'66'39'15,"-66"-12"-15,-13-1 0,13-13 16,-13 14-16,-40 26 16,0-14-16,13 14 15,14-39-15,13-1 0,-1 13 16,1-26-16,13 13 15,-13 1-15,26-1 16,0-13 0,1 0-16,-1 13 0,0-13 0,14 0 15,12-13-15,14 13 16,-13 0-16,-14-13 16,1 13-16,39-14 0,-26 1 0,-1 0 15,-12 0-15</inkml:trace>
  <inkml:trace contextRef="#ctx0" brushRef="#br0" timeOffset="51560.87">20809 9009 0,'0'-26'0,"-13"12"16,0 41 0,-13-1-16,26-12 0,-14 12 15,1 0-15,-13 41 0,-1-14 16,1 13-1,26-40-15,-13 27 0,13-13 16,0-27-16,0 0 16,0 0-16,0 1 0,171-451 0,-356 887 0</inkml:trace>
  <inkml:trace contextRef="#ctx0" brushRef="#br0" timeOffset="51756.06">20466 9181 0,'-14'0'0,"41"13"15,-1 1-15,14 12 16,0 0-16,-159-105 0,317 198 16,-145-92-1,-27-27-15,14 13 0,-14 0 16,-12-13-16</inkml:trace>
  <inkml:trace contextRef="#ctx0" brushRef="#br0" timeOffset="52128.39">21114 8930 0,'26'-27'0,"-13"27"0,1 0 16,-67 27-16,119-54 0,-53 27 15,0 13-15,1 1 0,-14-1 16,0 13-16,-14 1 0,1-1 16,0 1-16,0-1 0,-14 1 0,14-1 15,-13 1-15,26-14 0,-14 0 16,1 0-16,13 1 0,0-1 0,0 0 15,0 0 1,13-13-16,1 13 0,-1-13 16,0 0-16,13 0 0,1 0 15,-14 0-15,0 0 0,14 0 16,-14 0-16,13 0 16,-12 0-16,-1 0 0,0 0 15,0 0-15,1 0 16</inkml:trace>
</inkml:ink>
</file>

<file path=ppt/ink/ink17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6:29:42.727"/>
    </inkml:context>
    <inkml:brush xml:id="br0">
      <inkml:brushProperty name="width" value="0.05292" units="cm"/>
      <inkml:brushProperty name="height" value="0.05292" units="cm"/>
      <inkml:brushProperty name="color" value="#0070C0"/>
    </inkml:brush>
  </inkml:definitions>
  <inkml:trace contextRef="#ctx0" brushRef="#br0">14446 3201 0,'357'-39'0,"-264"39"0,26-13 16,0-1-16,13 1 0,1 0 0,-1 13 16,0-13-16,1-1 15,-14 1-15,13 13 0,-39-13 0,12 13 16,-12-13-16,0-1 0,92 1 0,-106 13 16,-13-13-16,1 13 15,-1 0-15,-27-13 0,14 13 0</inkml:trace>
  <inkml:trace contextRef="#ctx0" brushRef="#br0" timeOffset="248.42">15716 3281 0,'185'0'16,"-370"0"-16,529-13 16,-251 13-16,-1-14 0,14 14 0,79 0 15,-92 0-15,-14 0 0,14 0 16,-14 0-16,1 0 0,-1 0 16,-26 14-16,13-14 0,27 13 15,-27-13-15</inkml:trace>
  <inkml:trace contextRef="#ctx0" brushRef="#br0" timeOffset="1814.34">19315 6496 0,'-106'0'16,"79"0"-16,-12 13 0,-1-13 15,-13 0-15,13 13 0,-52 0 16,39 0-16,0 1 0,13-14 15,-39 13-15,39 0 0,27-13 16,-14 13-16,14-13 0,-13 0 16,-1 0-16,14-13 15</inkml:trace>
  <inkml:trace contextRef="#ctx0" brushRef="#br0" timeOffset="2005.3">18547 6456 0,'-53'159'0,"53"-133"0,0 1 15,0-1-15,53 67 16,-26-67-16,-1 0 16,14-12-16,0-1 0,-1 0 0,1 0 0,13 1 15,0-14-15,0 0 0,13 0 16</inkml:trace>
  <inkml:trace contextRef="#ctx0" brushRef="#br0" timeOffset="3603.07">5490 3400 0,'106'-13'16,"-106"26"-16,13-13 0,0 13 15,1 0-15,-1 14 0,-13-14 16,0 0-16,0 14 0,0-14 0,-13 13 16,13 1-16,-14-14 15,1 14-15,-13-1 0,-1 14 16,1-27-16,13 0 0,-1 0 0,1 1 16,13-1-16,-13-13 0,0 13 15,-1 0-15,28 1 31,-1-14-31,0 0 16,14 0-16,-1 0 16,-13 0-16,0-14 0,1 14 0,12 0 15,-13-13-15,1 13 0,12-13 16,-13 13-16,1-13 0,12 13 16,-13-14-16</inkml:trace>
  <inkml:trace contextRef="#ctx0" brushRef="#br0" timeOffset="3802.15">6112 3400 0,'-53'79'0,"40"-52"16,-53 79-16,52-80 15,1 0-15,-13 1 0,12-1 0,14-12 0,-13 12 16,0-13-16,0 1 0,13-1 16</inkml:trace>
  <inkml:trace contextRef="#ctx0" brushRef="#br0" timeOffset="4003.8">5662 3612 0,'-13'-27'0,"39"27"16,-12 13-16,-1-13 16,0 14-16,0-1 0,14-13 15,-14 13-15,13 0 0,1-13 0,13 27 16,-14-27-16,0 13 0,1 0 16,-14-13-16,14 13 15,-14-13-15,26 0 0,-25 0 16</inkml:trace>
  <inkml:trace contextRef="#ctx0" brushRef="#br0" timeOffset="4463.32">6376 3400 0,'40'-13'16,"-27"13"-16,1 13 0,-1-13 15,0 13-15,0 0 0,-13 14 16,0-1 0,0-13-1,0 1-15,0-1 32,14 0-17,-1 0-15,-13 1 0,13-1 16,-13 0-1,0 0-15,-13 1 0,13-1 16,0 0-16,-13 0 0,-1 0 16,14 1-16,-13-14 0,13 13 0,-13 0 15,0 0-15</inkml:trace>
  <inkml:trace contextRef="#ctx0" brushRef="#br0" timeOffset="5748.28">7250 3559 0,'0'-40'16,"13"27"-1,0-1 1,0 14-1,14 14 1,-14-1-16,0-13 16,-13 13-16,13 0 15,1-13 1,-14 14 0,13-28 15,13 1-16,-12 0 1,-1 0 0,0 13-16,0 0 15,-13-14 1,13 14-16,1 0 16,-1 0 15,0-13-16,0 26 17,1-13-32,-1 0 15,0 0 1,0 0-16,1 0 16,-14 14-16,13-14 0,0 0 15</inkml:trace>
  <inkml:trace contextRef="#ctx0" brushRef="#br0" timeOffset="6334.84">7752 3466 0,'0'-13'0,"-13"26"16,13 0-1,-13 0 1,26 1-1,-13-1 1,13-13-16,1 0 16,-1-13-1,0 13-15,0-14 16,0 14 0,1-13-16,12 26 31,-13 1-31,1-14 15,12-14 1,-13 14-16,1-13 0,-1 13 16,0-13-16,0 0 0,0 0 15,1-14-15,-1 14 0,0 0 16,0-14-16,1 14 0,-14 0 16,0 0-16,13-1 0,-13 1 15,13 13-15,-13 13 16,0 1-1,13-1-15,-13 0 0,0 0 16,0 27-16,0-27 0,13 14 16,-13-14-16,0 0 0,0 0 15,0 0 1,0 1-16,14-14 0</inkml:trace>
  <inkml:trace contextRef="#ctx0" brushRef="#br0" timeOffset="6479.18">8083 3466 0,'0'-13'0,"0"0"0,26 13 31,-12-14-31,-1 14 0,13-13 16</inkml:trace>
  <inkml:trace contextRef="#ctx0" brushRef="#br0" timeOffset="7414.45">9128 3334 0,'40'-13'0,"-27"26"0,0-13 16,-13 13-16,0 0 0,0 0 16,0 1-16,0-1 0,-13 0 15,0 14 1,0-14-1,26 0 1,0-13 0,0 13-16,1-13 15,-1 0-15,-13 27 32,-13-27-32,13 13 0,-14 0 15,-12 0 1,13 1-16,-1-14 0,14 13 15,-13-13-15</inkml:trace>
  <inkml:trace contextRef="#ctx0" brushRef="#br0" timeOffset="7611.33">9459 3281 0,'13'0'0,"0"0"15,-13 13-15,0 0 0,0 40 16,0-40 0,0 1-16,0 12 0,0-13 15,-13 40 1,13-26-16,-13-14 0,13 0 16,0 14-16</inkml:trace>
  <inkml:trace contextRef="#ctx0" brushRef="#br0" timeOffset="7782.1">9379 3440 0,'-13'-14'0,"40"41"0,-1-1 31,1-26-31,-14 13 0,0-13 0,0 14 15,1-14-15,-1 13 0</inkml:trace>
  <inkml:trace contextRef="#ctx0" brushRef="#br0" timeOffset="8079.23">9723 3294 0,'14'0'16,"-1"13"-1,-13 1-15,0-1 0,0 0 16,0 0-16,-13 14 0,13-14 0,0 0 16,0 0-16,0 1 15,13-1-15,-13 0 16,13-13-16,14 0 15,-14 0-15,0-13 16,0 13-16,0 0 0,1-13 0,-1 13 16,0 0-16</inkml:trace>
  <inkml:trace contextRef="#ctx0" brushRef="#br0" timeOffset="8561.39">6588 4180 0,'-13'0'0,"0"-13"16,52 13 30,-12 0-46,26-13 0,0 13 0,13-13 16,145-27-16,-105 27 16,13 0-16,0-14 0,14 1 15,131-14-15,-12 0 0,-120 27 16,159-27 0,-212 27-16,1 13 0,-14-13 15,-26 0-15,12 13 0,-25-14 0,-1 14 0,1 0 16,-14 0-16,0-13 15,1 13-15,-67 13 32,13-13-32</inkml:trace>
  <inkml:trace contextRef="#ctx0" brushRef="#br0" timeOffset="8979.04">6959 4260 0,'-106'26'16,"145"-39"-1,14 13-15,13-13 16,1-14-16,12 14 0,0 0 0,27-14 16,13 1-16,0 0 0,-13-1 15,13 14-15,-39-14 0,92 1 16,-93-1-16,0 14 0,-13 0 15,1 13-15,-1-13 0,-27 0 0,14 13 16,-26-14-16,-1 14 0,14 0 16,-14-13-16,-12 13 0,-1 0 15,0 0-15,0 0 16,1 0-16,-1 0 16,0 0-16,0-13 31,0 26 0,-13 0 0,-13-13-15,0 14 0</inkml:trace>
  <inkml:trace contextRef="#ctx0" brushRef="#br0" timeOffset="10040.33">6879 8070 0,'93'0'15,"-80"13"-15,0 13 16,-13-12-16,-13-1 0,13 0 16,-26 14-16,12-14 0,1 0 15,13 0-15,-13-13 0,0 14 16,13-1-16,13-13 31,40 0-15,-40 0-16,27 13 15,-27 0 1,0 0-16,-13 1 0,-13-14 16,13 13-16,-13 0 0,-1 14 0,1-14 15,-26 13-15,25-12 16,-12-1-16,13 0 0,-14 0 0,14-13 16,0 13-16,-1-13 0,-12 0 15,26 14-15,-13-14 0,0 0 16,13-14-16,13 1 15,-13 0-15,13 13 16,0-13-16</inkml:trace>
  <inkml:trace contextRef="#ctx0" brushRef="#br0" timeOffset="10263.65">7408 8057 0,'0'26'16,"0"-13"-16,-26 40 16,26-40-16,-13 14 0,13-1 0,-14-12 15,1 38-15,13-25 0,-13 13 16,0-27-16,13 0 16,-14 14-16,14-1 0,-13-13 15,13 0 1,-13 1-16</inkml:trace>
  <inkml:trace contextRef="#ctx0" brushRef="#br0" timeOffset="10478.81">7131 8176 0,'52'13'15,"-38"0"-15,-1 0 0,27 14 16,-14-14-16,-13 0 0,14 0 16,-14 1-16,0-14 0,14 13 15,-14 0-15,0 0 0,14 1 0,-14-14 16,0 13-16,0-13 16,0 13-16</inkml:trace>
  <inkml:trace contextRef="#ctx0" brushRef="#br0" timeOffset="10844.03">7792 8057 0,'93'13'15,"-80"40"-15,-13-14 16,-13 1 0,-1-27-16,-12 27 15,26-27-15,-13 0 0,13 1 0,-14-1 16,1 0 0,13 0-16,-13 1 15,26-1-15,0-13 16,1 0-1,25 0 1,-25 0-16,-1 0 0,13 0 0,-12 0 16,12 0-16,-13 0 15,0 0-15,1 0 0,-1 0 16,0-13-16</inkml:trace>
  <inkml:trace contextRef="#ctx0" brushRef="#br0" timeOffset="11655.69">9287 7990 0,'-27'27'15,"1"13"-15,13-27 16,0 13-16,-1-13 0,14 14 0,-13-1 16,0-12-16,0 12 15,-1-13-15,1 27 0,13-27 16,0 0-16,-13 1 0,13-1 0,0 0 15</inkml:trace>
  <inkml:trace contextRef="#ctx0" brushRef="#br0" timeOffset="11903.12">9075 8017 0,'0'-13'0,"0"26"0,13-26 15,1 26-15,-1 0 16,0 0-16,0-13 0,1 14 16,-1-1-16,0 0 0,14 13 0,-14-12 15,0-1-15,0 0 0,14 14 16,-14-14-16,0 0 0,0 0 16,-13 1-16,14-1 0,-1 0 0,0-13 15,-13 13-15,13-13 0,-13 13 0,13-13 16,-13 14-16,14-14 15</inkml:trace>
  <inkml:trace contextRef="#ctx0" brushRef="#br0" timeOffset="12135.3">9208 7911 0,'-14'0'0,"1"13"0,13 14 16,0-1-16,0-13 16,0 14-16,0-14 0,0 14 15,0-1-15,0 0 0,0 27 16,13-26-16,-13-1 0,0-12 0,0 12 16,14-13-16,-14 0 0,0 1 15,13-1-15,-13 0 0,0 0 0,0 1 16</inkml:trace>
  <inkml:trace contextRef="#ctx0" brushRef="#br0" timeOffset="12367.37">8996 8202 0,'26'-13'15,"-12"13"-15,-1 0 0,13 0 16,1 0-16,12-13 0,1 13 0,0 0 16,13-14-16,-14 14 0,1 0 15,-14-13-15,1 13 0,-1 0 16,27-13-16,-26 13 0,-14 0 16,13 0-16,-12 0 0,-1 0 0,13 0 15</inkml:trace>
  <inkml:trace contextRef="#ctx0" brushRef="#br0" timeOffset="13011.3">10583 8043 0,'106'-13'0,"-66"40"16,-27-14-1,-13 0-15,0 0 16,0 0-16,-13 14 0,0-14 16,-1 14-16,1-1 0,0-13 0,0 14 15,-1-14-15,1 0 0,-26 27 16,39-27-16,-14 0 15,1-13-15,13 14 0,13-1 32,1-13-17,-1-13-15,53-1 16,-40 14-16,1-13 0,-1 13 16,14-13-16,0 0 0,-14-1 15,40-12-15,-26 13 0,-14 0 16,1-1-16,-1 14 0</inkml:trace>
  <inkml:trace contextRef="#ctx0" brushRef="#br0" timeOffset="13196.67">11311 8017 0,'-27'0'0,"27"13"15,-13-13-15,0 13 0,-13 40 16,12-40-16,1 27 15,0-27-15,0 14 0,-1-1 0,1 1 16,0-14-16,0 13 0,13-12 16,-14-1-16,14 0 0,-13 0 0,13 1 15,-13-14-15</inkml:trace>
  <inkml:trace contextRef="#ctx0" brushRef="#br0" timeOffset="13384.76">10980 8176 0,'0'0'0,"0"-14"16,27 41 15,-14-14-31,0-13 0,0 13 16,14 1-16,-1-1 0,1 0 16,12 0-16,28 0 0,-28 1 15,-12-1-15,26-13 0,-27 0 16,-13 0-16</inkml:trace>
  <inkml:trace contextRef="#ctx0" brushRef="#br0" timeOffset="14079.43">11761 8070 0,'26'-13'0,"-13"26"15,1-13-15,-1 26 16,-13-13-1,-13 14 1,-1-14-16,1 0 0,13 1 16,13-14-1,-13 13-15,14-13 0,-1 13 16,0 0-16,0 1 16,1-1-16,-1 0 15,-13 0-15,0 0 0,0 1 16,0-1-16,0 0 0,-13-13 15,-1 27-15,1-14 0,0-13 16,-27 26 0,27-12-16,0-14 0,0 0 0,-1 13 15,1-13-15,-13 0 0,12 0 0</inkml:trace>
  <inkml:trace contextRef="#ctx0" brushRef="#br0" timeOffset="14917.51">13189 8189 0,'120'0'16,"-107"0"-16,53 0 15,-53 0-15,14 0 0,-14 0 16</inkml:trace>
  <inkml:trace contextRef="#ctx0" brushRef="#br0" timeOffset="15062.18">13361 8334 0,'40'14'16,"-13"-14"-16,-14 0 15,0 0-15,14-14 0,-1 14 16,14 0-16,-14-13 0,1 13 0,-1-13 16,27 0-16,-40 13 0</inkml:trace>
  <inkml:trace contextRef="#ctx0" brushRef="#br0" timeOffset="16382.4">7038 8784 0,'13'27'0,"0"-14"0,-13 0 0,14 0 15,-1 1-15,0-1 0,0 13 0,40 27 16,-40-26-16,14-1 15,13 1-15,-14-1 0,0-13 0,14 14 16,-13-1-16,12 1 0,80 26 16,-52-27-16,-15-13 15,15 14-15,-1-14 0,0 0 16,0 0-16,0 1 0,14-1 0,-1 13 16,80-13-16,-67 1 15,-12-1-15,12 0 0,93 0 16,-79 1-16,-13-14 0,39 13 0,-26-13 15,92 13-15,-65-13 0,-14 0 16,-13 0-16,-1 0 0,28 0 16,12 0-16,-12 0 0,-1 0 0,-26 0 15,26-13-15,-13 13 0,13-13 16,1 13-16,-14-14 0,0 1 0,13 0 16,-13 0-16,-26 13 0,26-14 0,-13 1 15,13 0-15,-27 0 0,1 0 16,26-1-16,-26 1 0,12 0 0,-12 0 15,-14-1-15,14 1 0,-14 0 16,1 0-16,-1 0 0,1-1 0,-1-12 16,0 13-16,-13-1 0,1-12 15,-1 13-15,0-14 0,66-12 16,-79 12-16,13 1 0,0-1 0,-13 1 16,0-1-16,-13 14 0,13-13 15,0-1-15,-27 1 0,14 12 0,-14-12 16,14 13-16,-14-14 0,1 14 0,-1 0 15,-12 0-15,12-1 16,-13 1-16,1 0 0,-1 13 0,-13-13 0,13 13 16,0-14-16,-13 1 0,13 13 15,1-13 1,-1 13 0,-13-13-16,13 13 15</inkml:trace>
  <inkml:trace contextRef="#ctx0" brushRef="#br0" timeOffset="16642.57">14367 8374 0,'79'27'16,"-66"-14"-16,14 0 0,-1 13 16,-12 1-16,-1-14 15,-13 0-15,13 14 0,-13-14 0,0 0 16,0 0-16,0 1 0,0-1 16,0 0-16,-26 14 15,26-14-15,-14 0 0</inkml:trace>
  <inkml:trace contextRef="#ctx0" brushRef="#br0" timeOffset="17174.38">14883 8070 0,'53'53'16,"-53"-40"-16,0 0 15,-14 0-15,1 1 0,13-1 32,0 0-32,0 0 0,0 1 15,13 12 1,-13 0 0,-13-12-16,0 12 15,0-13-15,0 1 16,-1-1-16,1-13 0,0 0 15,0 13-15,-1 0 16,1-13-16</inkml:trace>
  <inkml:trace contextRef="#ctx0" brushRef="#br0" timeOffset="18336.25">11800 8639 0,'27'39'16,"-14"-25"-16,0-1 0,1 0 0,12 0 16,0 14-16,1-14 0,-1 13 15,1 1-15,13-14 0,-1 14 16,41 12-16,-54-26 0,14 1 16,13-1-16,-14 13 0,54 1 15,-27-14-15,-13 0 0,0-13 16,0 14-16,-13-14 0,12 13 0,1-13 15,0 13-15,0-13 0,0 0 16,0 0-16,0 13 0,0-13 0,0 0 16,13-13-16,-13 13 0,0 0 0,13 0 15,-13-13-15,13 13 0,66-13 16,-66-1-16,-13 1 16,13 0-16,-13 13 0,0-13 0,-13-1 15,13 1-15,-13 13 0,13-13 16,-14 0-16,1-1 0,0 1 0,-1 13 15,-12-13-15,12 0 0,1 0 0,26-1 16,-26 1-16,-14 0 16,14 0-16,0-1 0,-14 14 0,14-13 15,0 0-15,-14 0 0,14-1 0,-1 1 16,-12 13-16,13-13 0,-14 0 16,0 0-16,14 13 0,0-14 0,-14 1 15,14 0-15,-14 0 0,1-1 0,13 1 16,-14 0-16,14 0 0,-14-1 15,1 1-15,39-13 16,-40-1-16,1 14 0,12 0 0,-12 0 16,-1-14-16,1 14 0,-1 0 15,-12 0-15,12 13 0,0-14 0,-12 1 16,12 0-16,1 0 0,-14-1 0,0 1 16,0 13-16,0-13 15,1 13-15,-1-13 0,0 13 0,-13-14 16,13 14-16,1-13 0,-1 0 15,-26 0 32,-1 13-31</inkml:trace>
  <inkml:trace contextRef="#ctx0" brushRef="#br0" timeOffset="18568.53">15359 8043 0,'-93'66'16,"80"-52"-16,-13 12 0,13-13 0,-14 14 16,14-14-16,0-13 15</inkml:trace>
  <inkml:trace contextRef="#ctx0" brushRef="#br0" timeOffset="18751.55">15161 8083 0,'13'0'0,"-26"0"16,39 13-16,-13-13 0,1 13 0,-1 1 15,13 12 1,-13-26-16,1 13 0,12 1 0,-13-1 16,1-13-16,-1 13 0,13-13 15,-12 13-15,-1-13 0</inkml:trace>
  <inkml:trace contextRef="#ctx0" brushRef="#br0" timeOffset="19411.16">15822 7871 0,'27'27'15,"-27"-14"-15,-14 14 0,14-14 16,-13 0-16,13 0 0,0 0 15,-13 1-15,13-1 16,13 27 0,0-40-16,-13 13 0,0 0 15,0 13 1,0-12-16,-13-1 16,13 0-16,-13-13 0,0 0 0,13 13 15,-14-13-15,1 14 0,0-14 16,-14 0-16,14 13 0,0-13 0,0 0 15,0 0-15,-1 0 0,1 0 0,-13 0 16</inkml:trace>
  <inkml:trace contextRef="#ctx0" brushRef="#br0" timeOffset="20392.2">14896 7646 0,'278'-26'15,"-212"13"-15,13 13 0,1-13 16,65-1-16,-65 14 15,78-26-15,-91 26 0,-1-13 16,-13 13-16,-14-14 0,14 14 0,-26-13 16,-1 13-16,1 0 0,-14 0 15,0-13-15,0 13 0,0 0 0,1 0 16,12 13-16,-13 0 0,1-13 16,-14 14-16,13 12 0,-13-13 15,13 27-15,0 0 0,1-1 16,-1-12-16,-13 13 0,13-1 0,0 1 15,-13 0-15,13-14 0,1 14 0,-14-1 16,0 1-16,13 0 16,-13-14-16,0 40 0,0-39 0,13-1 15,-13 1-15,0 26 0,0-40 16,0 13-16,0-12 16,-13 12-16,13-13 0,0 1 0,0-1 15,0 0-15,0 0 0,-13 0 0,-1 1 16,1-1-16,0-13 15,0 13-15,-14-13 0,-12 13 16,-14-13-16,-40 14 16,40-14-16,-13 0 0,-13 0 0,13 0 15,-67 13 1,-25-13-16,91 13 0,-12-13 0,26 0 16,-66 13-16,53-13 0,13 13 15,13-13-15,-66 14 16,67-1-16,-14-13 0,13 13 15,0 0-15,14-13 0,-14 0 0,27 14 16,-13-14-16,-1 0 0,14 13 16,0-13-16,-1 0 0,1 0 15,-13 0-15,13 0 16,-1-13 0,1-1-16,13 1 15,-13 0-15,13-27 16,-13 14-16,13-1 0,-14-65 15,1 52-15,13-13 0,0 13 16,0-12-16,0-15 0,13-65 16,-13 66-16,14 0 0,-1 0 0,13 13 15,-12-13-15,12 26 0,0-13 16,1 13-16,-14 1 0,14 12 16,-1 14-16,-13-14 0,27 14 15,0 0-15,-27 13 0,13 13 16,1-13-16,-14 0 0</inkml:trace>
  <inkml:trace contextRef="#ctx0" brushRef="#br0" timeOffset="22785.98">3453 4882 0,'-106'-14'16,"-13"28"0,-40 25-16,106-26 15,-13 14-15,13 13 0,0-14 0,0 14 16,-66 79-16,53-53 0,13 0 15,0 14-15,0-1 0,0 13 16,14 1-16,-1 0 0,14-1 16,-1 1-16,1-14 0,12 27 0,1-27 0,13 14 15,0 0-15,13 92 16,1-92-16,-1-1 0,13-26 16,14 27-16,-13-27 0,25 0 0,-12-13 15,13 0-15,66 26 0,-53-52 16,14-1-16,-14 1 15,13-14-15,1-13 0,12 0 0,-12-13 16,12-1-16</inkml:trace>
  <inkml:trace contextRef="#ctx0" brushRef="#br0" timeOffset="23383.3">3678 4987 0,'238'93'16,"-172"-53"-16,0 13 0,0 13 0,133 159 15,-146-146-15,0 14 16,-1-1-16,-12 14 0,0-13 16,-14 12-16,1 1 0,-14 0 0,0-26 15,-13 12-15,-13 14 0,0 0 0,0 0 16,-14-1-16,1-25 0,-1-1 16,1-13-16,-1 1 0,1-1 0,-1 0 15,-65 66-15,65-105 16</inkml:trace>
  <inkml:trace contextRef="#ctx0" brushRef="#br0" timeOffset="23836.31">4842 4749 0,'-172'834'0,"172"-715"0,0 0 15,13 0-15,14-13 0,-1 0 0,0-1 16,41 81-16,-28-107 0,14 0 15,-13-26-15,26 13 0,-13-26 0,0 13 16,13-27-16,0 1 0,0-1 0,1 1 16,-1-14-16,-13-13 15,26 0-15,0-13 0,1 0 0,-1-1 0,0-12 16</inkml:trace>
  <inkml:trace contextRef="#ctx0" brushRef="#br0" timeOffset="24209.73">6734 4445 0,'436'357'0,"-383"-264"0,40 105 0,-54-92 0,-12 13 0,-1-13 15,1 0-15,-14 119 0,-26-119 16,0 13-16,-14-14 0,1-12 16,-14 13-16,-26-14 0,13 1 0,0 0 15,0-14-15,-66 80 16</inkml:trace>
  <inkml:trace contextRef="#ctx0" brushRef="#br0" timeOffset="44188.67">14671 10901 0,'-40'-13'16,"27"13"-1,0 0-15,0 13 0,0-13 16,-1 13-16,-12 0 0,13 1 0,-1-1 16,1 13-16,0-13 0,0 1 15,-1-1-15,1 13 0,-13 1 16,26-14-16,0 0 0,0 0 16,0 1-16,13-14 15,13 0 1,-12-14-16,-1 14 0,13-13 0,-12 0 15,-1-13-15,0 12 0,14 1 16,-14 0-16,0-14 0,-13 14 16,13 0-16,0 0 0,1 0 0,-1 13 15,0 13 1,-13 0-16,0 0 16,0 14-16,0-14 0,0 13 15,0 1-15,0-1 0,0 1 0,-13-1 16,13 1-16,0-1 0,0 1 0,-13-1 15,13 0-15,0-12 0,0 12 16,0-13-16,0 1 16,0-1-16</inkml:trace>
  <inkml:trace contextRef="#ctx0" brushRef="#br0" timeOffset="44487.13">15187 10914 0,'-40'40'0,"40"-27"0,-26 13 15,13 1-15,-1-1 16,1 1-16,0-1 0,0 14 0,0-14 16,-1-12-16,14 12 0,-13-13 0,0 14 15,13-14-15,-13 13 0,-1-12 16,14-1-16,-13-13 0,13 13 0,-13 0 16</inkml:trace>
  <inkml:trace contextRef="#ctx0" brushRef="#br0" timeOffset="44718.34">14896 11020 0,'0'-13'15,"13"26"1,0 0-1,1 0-15,-1 1 0,0-1 16,-13 0-16,13 0 0,1 0 16,-1 1-16,-13-1 0,26 27 0,-12-27 15,-1-13-15,0 13 0,-13 0 16,13-13-16</inkml:trace>
  <inkml:trace contextRef="#ctx0" brushRef="#br0" timeOffset="45171.62">15650 10888 0,'79'26'15,"-79"-13"-15,0 1 0,0-1 16,-39 53-1,12-40-15,1 27 0,-1-40 16,14 1-16,13-1 0,-13 0 0,0 0 16,0 1-16,13-1 15,-14-13-15,28 13 32,12-13-32,-13 0 0,0-13 15,1 13-15,25 0 16,-12 0-16,-1 0 0,1-13 15,26 13-15,-27 0 0,-13-14 16,14 14-16,-14 0 0</inkml:trace>
  <inkml:trace contextRef="#ctx0" brushRef="#br0" timeOffset="49482.72">15452 12078 0,'26'80'16,"-26"-67"-16,0 13 0,0-12 0,0 12 16,0 0-16,0-12 0,0 25 15,0-12-15,0-14 0,0 13 0,0-12 16,0-1-16,0 0 16,0 0-16,13 1 0</inkml:trace>
  <inkml:trace contextRef="#ctx0" brushRef="#br0" timeOffset="49983.45">15968 12078 0,'-27'0'0,"-13"-13"32,27 13-32,13 13 15,0 0 1,13 1-16,1-1 0,-1 0 0,0 0 16,0 14-16,1-14 0,-1 0 0,-13 14 15,13-14-15,0 0 16,-13 0-16,0 1 0,0-1 0,0 0 0,0 0 15,-13 14-15,0-14 0,0-13 16,13 13 0,-14-13-16,1-13 0,26-13 31,14-27-15,-14 39-16,0 1 0,14-13 0,-14-1 15,0 14-15,-13 0 0,13-14 0,-13 14 16,14 0-16,-14 0 0,0-1 15,-14-12-15,14 13 0,-13 0 16,0 13-16,0-14 0,-14 1 16,14 13-16,0-13 0,-14 13 0,14 0 15,0 0-15,0 0 16,-1-13-16</inkml:trace>
  <inkml:trace contextRef="#ctx0" brushRef="#br0" timeOffset="50459.65">16735 11060 0,'40'-14'16,"-27"14"-16,40 0 16,-40-13-16,13 13 15,1 0-15,-1 0 0,-12 0 0</inkml:trace>
  <inkml:trace contextRef="#ctx0" brushRef="#br0" timeOffset="50652.56">16775 11271 0,'26'0'0,"-13"-13"16,80 0-1,-53 0-15,-14 13 0,27 0 16,-13-14-16,-14 14 15,1 0-15</inkml:trace>
  <inkml:trace contextRef="#ctx0" brushRef="#br0" timeOffset="51187.78">18084 10861 0,'106'-13'16,"-79"13"-16,-14 0 16,26 13-1,-25-13-15,-1 13 0,-13 1 16,0-1-16,-13 27 0,-1-14 15,-12 0-15,0 1 0,-1-1 16,1 1-16,12-14 0,-12 13 16,13-12-16,0-1 0,-1-13 0,1 13 0,0 0 15,0-13-15,13 14 16,-14-14-16,14 13 16,14-13-16,-1 0 15,0 0-15,0 0 16,1 0-16,12 0 0,0-13 0,1 13 15,-1 0-15,1-14 0,12 14 0,1-13 16,0 0-16,0 13 0,-14-13 16,14-1-16,-1 1 0,1 0 0</inkml:trace>
  <inkml:trace contextRef="#ctx0" brushRef="#br0" timeOffset="51379.4">18944 10782 0,'-66'26'0,"53"-13"16,0 1-16,-1 12 0,1-13 0,-40 67 15,27-54 1,12 1-16,1 12 0,-13-12 0,13-1 16,-1-13-16,1 14 0,0-1 15,0-12-15,13-1 0,-14 0 0,14 0 16</inkml:trace>
  <inkml:trace contextRef="#ctx0" brushRef="#br0" timeOffset="51582.05">18574 10967 0,'13'13'15,"0"-13"-15,-13 13 0,13 1 16,1-14-16,-1 13 0,0 0 16,0-13-16,1 13 0,-1-13 0,0 14 0,13-14 15,-12 0-15,12 13 0,1-13 16</inkml:trace>
  <inkml:trace contextRef="#ctx0" brushRef="#br0" timeOffset="52024.63">19513 10729 0,'-79'13'0,"65"0"15,1-13-15,0 14 0,0-14 0,0 13 16,-14 0-16,27 0 16,0 0-16,0 1 0,0-1 15,13-13-15,-13 13 0,27 0 16,-14-13-16,27-13 15,-27 13-15,0 0 0,0 0 0,14 0 16,-14 0-16,0 0 0,14 13 16,-27 1-16,13-1 15,0 13-15,-13-12 16,0 12-16,0-13 0,0 27 16,13-27-16,-13 14 0,0-14 15,0 13-15,0 1 16,0-14-16,0 0 0,14 0 0,-14 1 15,13-14-15</inkml:trace>
  <inkml:trace contextRef="#ctx0" brushRef="#br0" timeOffset="53425.76">18971 12158 0,'0'26'16,"0"-13"0,13 40-1,-13-26-15,0 39 16,0-13-16,13-27 15,-13-13-15,0 1 0,0-1 16,0 0-16,0 0 0,13-13 16,-13 14-16</inkml:trace>
  <inkml:trace contextRef="#ctx0" brushRef="#br0" timeOffset="53962.15">19394 12118 0,'-66'-13'16,"66"26"0,13 0-16,-13 0 0,13 1 15,1-14-15,12 39 16,-13-12-16,0-14 0,-13 0 16,0 0-16,14 40 15,-28-39-15,14-1 16,-13 0-16,0 0 0,-13 0 15,12-13 1,14-13 15,14 0-31,12-13 16,-13 12-16,14-12 16,-27 13-16,13-1 0,-13-12 0,13 13 15,-13 0-15,0-1 0,0 1 0,0 0 16,-13-14-16,13 14 0,-13 0 15,-1 0-15,14-1 0,-13 14 0,0-13 16,0 0-16,-14 0 0,14 13 16,0 0-16,0 0 15,-14 0-15,14 0 0,-14 13 16</inkml:trace>
  <inkml:trace contextRef="#ctx0" brushRef="#br0" timeOffset="54427.25">17343 12224 0,'106'-27'0,"-79"27"15,-14-13-15,27 26 16,-27-13-16,0 14 16</inkml:trace>
  <inkml:trace contextRef="#ctx0" brushRef="#br0" timeOffset="54587.46">17436 12409 0,'13'0'15,"27"0"1,-27 0-16,27-13 0,13-1 16,-40 14-1,13-13-15,1 13 0,-14-13 16,0 13-16</inkml:trace>
  <inkml:trace contextRef="#ctx0" brushRef="#br0" timeOffset="55463.04">14565 11536 0,'106'53'16,"-79"-40"-16,12-13 0,1 13 0,0-13 0,13 13 16,-1-13-16,1 0 0,0 0 15,0 0-15,0-13 0,0 13 0,13-13 16,0 0-16,-13-14 0,13 14 0,-13 0 15,0-14-15,0 14 0,-13-13 16,0 12-16,12-25 0,-12 12 16,-13 1-16,12-27 15,-12 26-15,-14 1 0,0 0 0,14-41 16,-1 1 0,-13 27-16,1-1 0,-1 0 0,0 14 15,-13-14-15,13 14 0,-13-14 0,-13 13 16,13 1-16,-13 0 0,0-14 15,-1 13-15,-12 1 0,-1-1 0,1 1 16,0 0-16,-14 12 0,-13-12 0,0-1 16,0 14-16,0-13 15,-13 13-15,0-1 0,0 1 0,-14 13 0,14-13 16,-13 13-16,-1 0 0,1 13 16,13 0-16,-13 1 0,-1-1 15,1 13-15,-14 1 0,14 12 0,-1 1 16,1 13-16,0-13 0,13-1 0,-1 14 15,15 0-15,-1 0 0,0-13 16,13 13-16,14 0 0,-1-1 16,14-12-16,0 0 0,13 13 0,13-14 15,13 1-15,14 0 0,0-14 0,13 14 16,13-27-16</inkml:trace>
  <inkml:trace contextRef="#ctx0" brushRef="#br0" timeOffset="56383.63">20294 10544 0,'-67'-66'0,"1"-1"16,40 54 0,-1-13-16,-26-1 0,14 1 0,-14 13 15,-13-14-15,13 1 0,-13 12 0,-80-25 16,67 25-16,-1 1 16,1 13-16,-14-13 0,1 13 15,-1 0-15,1 13 0,-28 14 0,1-14 16,0 13-16,0 14 0,13 0 0,1-1 15,12 1-15,-13 13 0,14 13 16,12-13-16,1 13 0,-1-13 0,14 13 16,13 0-16,0 1 0,27-14 15,-14-1-15,14 1 0,13 0 0,13 40 16,13-40-16,13 0 0,1-14 16,26 14-16,13-13 0,13 0 15,27-1-15,0 1 0,145 13 16,-118-27-16,12-12 0,1-1 0,12 0 15,-12-13-15,-1 0 16,1 0-16,-1-13 0,-12 0 0,118-27 16,-145 14-16,13-1 0,-26 1 15,-14-1-15,0 14 0,-13-27 16,14 14-16,-27-14 0,13 0 0,-26 1 16,13-1-16,-14-13 0,1 13 0,13-65 15,-40 38-15,0 1 16,-13 27-16,0-28 0,-13 1 0,0 13 15,-14 0-15,1-13 0,-14 13 0,1 14 16,-14-14-16,-27 0 0,14 13 16,0 14-16,0-14 0,-40 14 0,13-14 15,1 27-15,12-1 0,-12-12 16,-1 26-16,1-13 0,-1 0 16,0 13-16,1 0 0,12 0 0,1 0 15,26 0-15,0 0 0,-26 0 16</inkml:trace>
  <inkml:trace contextRef="#ctx0" brushRef="#br0" timeOffset="61188.34">3492 11364 0,'-13'-13'0,"26"13"0,1-14 15,-1 14 1,0 0-16,14 14 0,-14-14 16,0 13-16,0 0 15,1 14 1,-14-14-16,0 0 0,0 0 0,-14 0 15,14 1-15,-13-1 0,0 13 0,0-12 16,-1-1-16,1 13 0,0-12 16,-14-1-16,14 0 0,0 0 15,0-13 1,13 13 0,13-13-1,27-13 1,-14 13-16,-13 0 0,1 0 15,-1 0-15,13-13 0,14 13 16,-27-13-16,14 13 0,-14-13 16,0 13-16,0-14 0,14 14 0</inkml:trace>
  <inkml:trace contextRef="#ctx0" brushRef="#br0" timeOffset="61392.18">4114 11258 0,'-13'0'0,"0"13"16,0-13-16,-1 13 0,1 1 16,0-1-16,0 0 0,-1 14 15,1-1-15,0-13 0,-13 14 0,12-1 16,1 1-16,0-1 0,0-13 16,-1 14-16,1-14 0,0 14 0,0-1 15,13-13-15,-14 0 0,14 1 16,0-1-16,-13-13 15</inkml:trace>
  <inkml:trace contextRef="#ctx0" brushRef="#br0" timeOffset="61585.44">3704 11443 0,'27'13'31,"-14"1"-31,0-14 0,0 13 0,14 0 16,-14 0-16,13 1 0,-12-1 0,25 0 16,-25 0-16,-1 1 15,0-14-15,14 13 0,-14-13 0,0 0 16</inkml:trace>
  <inkml:trace contextRef="#ctx0" brushRef="#br0" timeOffset="62375.99">4299 11311 0,'27'0'0,"-14"0"0,-13 13 0,0 14 31,-13-14-31,0 0 0,-1 0 16,1-13-16,13 14 15,-13-14-15,13 13 16,0 0-16,13-13 16,0 0-1,1 13-15,-1-13 0,0 0 0,14 27 16,-14-27-16,-13 13 15,0 0-15,0 0 16,-13 1-16,13-1 0,-27 0 16,14 0-16,-14 14 0,-12-14 0,12 0 15,1 0-15,-1 1 0,14-14 16,-26 13-16,25-13 0,1 0 16</inkml:trace>
  <inkml:trace contextRef="#ctx0" brushRef="#br0" timeOffset="62722.28">5358 11390 0,'66'0'0,"-53"0"0,14 0 16,-1 0-16,1 0 0,-1 0 16,40-13-16,-26 13 0,-14 0 15,14 0-15,-14 0 0,1 0 0,-14 0 16,14 0-16,-14 0 0</inkml:trace>
  <inkml:trace contextRef="#ctx0" brushRef="#br0" timeOffset="62923.3">5411 11549 0,'66'-13'0,"-40"13"16,1 0-16,-1-13 0,14 13 15,0-14-15,79 1 16,-93 13-16,1 0 0,-1-13 15,1 13-15,-14 0 0,13-13 0,1-1 16,-14 14-16</inkml:trace>
  <inkml:trace contextRef="#ctx0" brushRef="#br0" timeOffset="63186.23">5728 11192 0,'-145'291'16,"92"-198"0,26-41-16,1-12 0,-14 13 0,-26 26 15,40-39 1,12-13-16,-12-1 0,13-13 0,-1 14 0,1-14 15,13 0-15,13 0 32,1-26-32</inkml:trace>
  <inkml:trace contextRef="#ctx0" brushRef="#br0" timeOffset="63707.21">6813 11218 0,'26'-13'15,"-12"13"-15,-54 13 0,93-13 0,-27 27 16,-26-14-16,0 0 15,0 14-15,0-14 16,0 0-16,0 0 16,0 1-16,0-1 0,0 0 15,14-13-15,-1 13 16,0 1-16,0-14 16,-13 13-16,14-13 0,-1 13 15,-13 0-15,0 0 0,0 1 16,0-1-16,-13 0 15,-1 0-15,14 1 0,-13-1 0,0-13 0,0 13 16,-1 0-16,1-13 0,0 14 16,0-14-1,13-14-15</inkml:trace>
  <inkml:trace contextRef="#ctx0" brushRef="#br0" timeOffset="63900.25">7408 11139 0,'14'26'15,"-41"27"1,27-39-16,-13 12 0,0 0 16,-1 1-16,1-1 15,0 1-15,0-14 0,-1 14 0,14-14 0,-13 26 16,0-25-16,13-1 0,0 0 15</inkml:trace>
  <inkml:trace contextRef="#ctx0" brushRef="#br0" timeOffset="64108.3">7157 11258 0,'-13'-13'0,"26"39"31,13 1-31,-12-14 0,-1 0 16,0 0-16,14 1 0,12 12 0,-12-13 15,-1 1-15,1-1 0,-1 0 16,27 0-16,-27 0 0,-12-13 16,-1 14-16,0-14 0</inkml:trace>
  <inkml:trace contextRef="#ctx0" brushRef="#br0" timeOffset="64499.53">7713 11179 0,'53'66'16,"-67"-40"-16,14-13 16,-53 67-16,40-54 15,0 1-15,0-14 0,13 0 0,-14-13 16,14 13-16,14 1 15,-1-14 1,13 0-16,-12-14 0,25 14 0,1-13 16,0 0-16,-1 0 0,1 0 15,0 13-15,-1-14 0,-12 14 16,13-13-16,-27 13 0,0 0 0,0 0 16,0 0-16</inkml:trace>
  <inkml:trace contextRef="#ctx0" brushRef="#br0" timeOffset="64740.59">6416 11893 0,'66'-13'0,"80"-14"16,-80 14-16,93 0 16,-67 0-16,1-1 0,0 1 0,-1 0 15,1 0-15,-1 0 0,1-1 16,-14 1-16,14 0 0,39-14 16,-79 27-16,27-13 0,-54 0 15</inkml:trace>
  <inkml:trace contextRef="#ctx0" brushRef="#br0" timeOffset="64954.56">6932 11893 0,'212'-13'16,"-146"0"-16,13-1 0,1 14 15,-1-13-15,80-13 0,-80 12 16,1 14-16,-14-13 0,0 0 0,-13 13 16,-14-13-16,1 13 0,-27-13 15,1 13-15,-1 0 0</inkml:trace>
  <inkml:trace contextRef="#ctx0" brushRef="#br0" timeOffset="65285.87">3664 11986 0,'331'-67'16,"-251"54"-16,12 13 0,1-13 0,-1 0 0,14 0 15,-13 13-15,-1-14 0,1 14 0,0-13 16,-27 13-16,26 0 0,-25-13 15,-15 13-15,28 0 16,-54 0-16</inkml:trace>
  <inkml:trace contextRef="#ctx0" brushRef="#br0" timeOffset="65467.6">3823 12158 0,'-79'13'15,"119"-13"1,-14-13-16,265-14 16,-198 14-16,-1 13 15,305-40 1,-304 40-16</inkml:trace>
  <inkml:trace contextRef="#ctx0" brushRef="#br0" timeOffset="76843.25">15994 12951 0,'212'-53'0,"-146"27"0,0 0 15,0-1-15,119-66 16,-66 14-16,27-40 15,-120 66-15,1 13 16,-1-26-16,-26 13 16,-13-52-16,-13 52 0,-1-14 15,-12 15-15,-28-1 0,1 0 0,-79-13 16,52 39-16,14 14 16,-27 13-16,-119 13 0,119 14 15,-13-1-15,13 14 0,-79 52 16,92-39-16,14 0 15,13 13-15,26-13 0,-66 106 16,80-106-16,26 39 0,13-39 16,14 0-16,12-13 0,1 13 15,13-27-15,92 41 16,-65-41-16,-1-13 0,14 0 0</inkml:trace>
  <inkml:trace contextRef="#ctx0" brushRef="#br0" timeOffset="77467.23">19592 11708 0,'-66'-27'16,"40"27"-16,-14 0 0,-13 14 0,-79 39 15,-40 39-15,13 27 16,80-53-16,-67 80 16,27-1-16,40 1 15,52-80-15,14 13 0,0-12 0,13-1 16,13 0-16,14-13 0,12 13 15,1-13-15,26 13 0,-13-26 0,40-1 16,79 27-16,-93-52 16,0-1-16,14-13 0,0 0 15,-1-13-15,27-1 0,93-38 0,-119 12 16,-1-13-16,1 0 0,-14 0 16,0-13-16,-12-13 0,52-80 15,-66 0-15,-40 80 16,-53-67-16,0 67 15,-12 13-15,-15 13 0,1 0 0,-26 13 16,12 14-16,1-1 0,-93 1 16,-13 26-16,13 13 15,79 0-15,14 0 16,-54 27-16</inkml:trace>
  <inkml:trace contextRef="#ctx0" brushRef="#br0" timeOffset="79012.57">4551 12634 0,'688'106'15,"-556"-93"-15,503-13 16,-370-13-16,-133-1 15,0 1-15,14-13 0,132-14 16,-27-13-16,0-13 16,-132 40-16,0-14 0,199-66 15,-226 66 1,94-26-16,-120 27 0,79-14 16,-26-14-16,27-38 15,-93 65 1,-27 0-16,1 14 0,-14-14 0,27-79 15,-40 79-15,-27-92 16,1 79 0,-1 0-16,1 14 0,-14-14 0,-39-40 15,-27 0-15,-66-39 16,93 79 0,-1 0-16,-79-39 15,80 39-15,-172-53 0,158 66 16,-13 1-16,-211-67 15,224 66-15,-26 14 16,-106-27-16,-13 13 16,106 14-16,-133-1 0,1 1 15,118 26 1,14-14-16,-146 14 0,-145 14 16,158-1-1,120 0-15,12 0 0,-12 14 0,-120 12 16,-132 67-1,159-26-15,119-41 16,13 14-16,14-13 0,-93 66 16,105-53-16,-52 39 15,-27 67-15,119-106 16,1 0-16,12 13 0,-26 40 16,40-40-16,13 66 15,0-79-15,53 146 16,-13-146-16,39 66 15,120 66-15,-120-145 16,106 52-16,-79-65 16,106 39-16,12-27 15,173-12 1,-185-27-16,158-40 16,-171 27-1,-80 0-15,-13-1 0,-14 14 16</inkml:trace>
</inkml:ink>
</file>

<file path=ppt/ink/ink17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6:31:20.959"/>
    </inkml:context>
    <inkml:brush xml:id="br0">
      <inkml:brushProperty name="width" value="0.05292" units="cm"/>
      <inkml:brushProperty name="height" value="0.05292" units="cm"/>
      <inkml:brushProperty name="color" value="#0070C0"/>
    </inkml:brush>
  </inkml:definitions>
  <inkml:trace contextRef="#ctx0" brushRef="#br0">3241 2566 0,'0'67'31,"0"-54"-31,0 0 0,0 14 0,0-14 0,-13 13 16,13-13-16,0 14 0,0-1 16,0-12-16,0 25 15,0 1-15,0-14 16,0-12-16,0-1 0,0 0 16,0 0-16</inkml:trace>
  <inkml:trace contextRef="#ctx0" brushRef="#br0" timeOffset="708.33">4392 2606 0,'119'-13'16,"-106"13"-16,1 0 0,12 13 15,-13 14-15,-26 12 16,13-25-16,-13 12 0,-14 27 15,1-27 1,-14 27-16,27-26 0,0-14 16,-14 13-16,14-26 0,0 14 15,0-1-15,-1 0 16,28 0 0,-1 1-1,13-14-15,-12 0 16,12-14-16,-13 14 0,27 0 0,-14-13 15,1 13-15,-1-13 0,1 13 0,-1-13 16,1-1-16,12 1 16,14 0-16,-26 0 0</inkml:trace>
  <inkml:trace contextRef="#ctx0" brushRef="#br0" timeOffset="1417.04">5861 2487 0,'66'13'0,"-53"-13"16,-13 14-16,13-1 31,-26 0-31,13 0 16,0 0-16,0 1 15,13-14 1,-13 13-16,13-13 0,27 26 16,-27-12-16,-13-1 0,13 0 15,1 0-15,-14 1 16,0-1-16,0 0 0,-14 0 16,1 0-16,13 1 0,-13-1 15,0-13-15,0 13 0,-1 0 16,-12-13-16,13 14 0,-1-14 0,-12 13 15</inkml:trace>
  <inkml:trace contextRef="#ctx0" brushRef="#br0" timeOffset="2026.46">3360 3995 0,'-26'27'16,"13"-14"-16,-14 0 0,14 0 0,0 1 15,-1-1-15,-12 13 0,13-12 16,-14 12-16,14-13 0,0 0 15,0 1-15,-1 12 0,1-13 16,13 14-16,0-14 0,0 0 16,0 0-16,13 1 15,1-14-15,-14 13 0,39 0 0,-26-13 16,1 0-16,12 13 0,1-26 0,-14 13 16,40-13-16,-27 13 15,1-13-15,-14-1 0,13 1 0,-12 0 16</inkml:trace>
  <inkml:trace contextRef="#ctx0" brushRef="#br0" timeOffset="2219.71">3413 3995 0,'-26'93'15,"26"-80"-15,-14 172 16,14-132-16,-13 27 15,13-14-15,0-40 0,0-13 16,0 14-16,13 13 0,-13-27 16,14 0-16,-1-13 0,0 0 15</inkml:trace>
  <inkml:trace contextRef="#ctx0" brushRef="#br0" timeOffset="2651.55">4776 4022 0,'-106'39'15,"93"-25"-15,-1-1 0,1-13 0,0 13 16,0-13-16,13 13 0,0 1 16,13-1-1,0-13-15,0 13 0,14-13 16,13 13-16,-14 14 15,-13-27-15,0 13 0,1-13 16,-14 13-16,0 0 16,0 14-16,-14-14 0,-52 40 15,53-40-15,-13 0 16,-1 1-16,1-1 16,13-13-16,-1 13 0,1-13 0</inkml:trace>
  <inkml:trace contextRef="#ctx0" brushRef="#br0" timeOffset="3209.07">6218 3863 0,'-80'66'15,"67"-26"-15,0-14 0,13 14 16,-13 13-16,13-27 0,0 1 16,0-1-16,13 1 0,0-1 15,14 14-15,-14-27 0,0 0 0,0 0 16,0-13-16,1 14 0,-1-14 0,0 0 16,0 0-1,1 0-15,-14-14 16,-14 1-16,1 0 15,-53-13 1,40 12-16,-14 1 16,-13 13-16,13-13 15</inkml:trace>
  <inkml:trace contextRef="#ctx0" brushRef="#br0" timeOffset="3932.45">3294 2302 0,'-66'-13'0,"39"26"0,-12-13 0,-54 26 16,53-12-16,-26-1 15,13 13-15,1 1 0,12-14 0,-13 13 16,-13 14-16,26-27 0,14 14 16,-1-1-16,1 14 15,-1-14-15,14 14 0,0 0 0,0-1 16,-1 67-16,1-53 0,13 13 16,0 0-16,0-13 0,13 93 15,-13-80-15,14 13 0,-14 1 16,0-1-16,0 14 0,0-14 15,13 14-15,-26-14 0,13 14 0,-14 105 16,14-118-16,-13 25 0,0-12 16,0-14-16,-1 1 0,1-1 15,13 0-15,-13 1 0,13-1 0,-13 54 16,13-54-16,0-26 0,13 13 16,0-26-16,-13-1 0,13 14 15,14-13-15,-14-14 0,14 14 0,-1-13 16,0-1-16,1-13 0,-1 0 15,14-13-15,-13 0 0,12 0 0,14-13 16</inkml:trace>
  <inkml:trace contextRef="#ctx0" brushRef="#br0" timeOffset="4628.85">6350 2249 0,'26'-13'16,"-12"-1"-16,12 14 0,-13 0 0,14-13 15,26 0-15,-14 13 16,-12 0-16,-1 0 0,1 0 0,-14 0 16,14 0-16,-1 13 0,0-13 0,-12 13 15,12 14-15,14 26 0,-27-13 16,13 12-16,-12 1 0,-1 0 15,0 13-15,0 14 0,14-14 0,-14 13 16,14 14-16,39 79 16,-27-79-16,1-14 0,0 14 15,-1-14-15,1 0 0,13 54 16,-13-41-16,-14-26 0,1 0 0,-1 1 16,1-1-16,-1 0 0,-13-13 15,14 13-15,-14-13 0,0 0 0,0 13 16,-13-26-16,0 13 0,0-14 0,0 1 15,-13 0-15,13 13 0,-40 13 16,14-13-16,0-14 16,-14 1-16,0-14 0,0 1 0,14-1 15,-27 1-15,13-14 0,1 0 16,-14 0-16,-79 14 16,105-27-16,-13 0 0,14 0 0</inkml:trace>
  <inkml:trace contextRef="#ctx0" brushRef="#br0" timeOffset="5348.97">8850 2765 0,'-106'79'16,"80"-39"-16,-14 0 0,-26 39 15,40-39-15,-14 13 0,14-14 0,-27 41 16,26-54-16,14 1 16,-13 12-16,12-12 0,1-14 0,0 0 15,13 0-15,-13-13 0</inkml:trace>
  <inkml:trace contextRef="#ctx0" brushRef="#br0" timeOffset="5550.94">8295 2937 0,'92'40'0,"-52"-14"15,0 14-15,-1-14 0,1 1 0,0 12 16,-1-12-16,1-1 0,-13 1 0,-1-1 16,14 1-16,-14-1 0,1-13 15,-14 14-15,40 12 16,-40-25-16,0-1 0,0-13 15,1 13-15,-1-13 0</inkml:trace>
  <inkml:trace contextRef="#ctx0" brushRef="#br0" timeOffset="6459.46">10782 1667 0,'-80'-13'16,"54"13"-16,-67 0 16,67 0-16,-1 13 0,1-13 0,0 0 15,12 13-15,1 0 0,0 1 16,0-1-16,-1 0 0,14 13 0,-13-12 15,13 25-15,0 1 0,0 13 0,0-13 16,13 13-16,-13 0 0,27 158 16,-14-131-1,-13-1-15,13 0 0,1 27 0,-1 13 16,-13-13-16,13-27 0,-13 40 0,0 1 16,0-1-16,0-14 0,0 14 0,-13 1 15,13-1-15,-13 106 16,-1-120-16,1-12 0,0 13 15,13-27-15,-13 1 0,13-1 0,-14 14 16,1-27-16,0 13 0,13 0 0,-13-12 16,-1-1-16,1 66 15,13-92-15,0-1 0,0-12 0,0-1 16,13 1-16,-13-1 0,14-13 0,12 1 16,-13-1-16,14 0 0,-1-13 15,1 13-15,12-13 0,1 0 16,53-13-16,-40 13 0,0-13 0,-1 0 15,15-1-15,-14-12 16,39-14-16,-39 14 0,-13-1 16,-1-12-16,1 12 0,0-12 0,-14-1 0</inkml:trace>
  <inkml:trace contextRef="#ctx0" brushRef="#br0" timeOffset="7051.89">11959 1879 0,'66'-40'15,"-39"40"-15,-14 0 0,0 0 16,14 0-16,-1 13 0,-13 0 15,14 1-15,-14 12 0,0 0 0,1 1 16,-1 13-16,0-14 0,-13 14 0,13 79 31,-13-80-31,0 1 0,13 0 0,-13-14 16,0 1-16,0-1 0,0 1 0,0-1 16,14-13-16,-14 1 0,13 25 15,-13-25-15,0-1 0,13-13 16,-13 13-16,13-13 0</inkml:trace>
  <inkml:trace contextRef="#ctx0" brushRef="#br0" timeOffset="7259.85">11906 2328 0,'80'-13'0,"25"0"16,-52 0-16,0 13 15,-13-14-15,92 1 0,-79 13 16,79-26-16,-79 26 16,14-14-16,-15 14 0,1-13 15,0 13-15</inkml:trace>
  <inkml:trace contextRef="#ctx0" brushRef="#br0" timeOffset="7832.04">14142 1746 0,'-13'53'16,"26"-26"-16,0-14 0,0 27 0,1-14 15,-1 14-15,0-14 0,-13 1 0,13 12 16,-13-12-16,0 12 16,0-12-16,0-14 0,-13 14 15,0-14-15,-14 13 16,27-13-16,-13-13 0,0-13 31,26 0-15,0 0-16,1-14 0,12 1 0,1-14 0,-1 14 15,1-14-15,25-39 0,-25 52 16,-14 1-16,14-1 0,-27 1 16,13 13-16,-13-14 0,0 14 0,-13 0 15,-1 13-15,1-14 0,0 1 16,0 13-16,-14 0 0,1-13 0,-1 13 15,1 13-15,-1-13 0,-12 13 16,-1-13-16,14 14 0,-14-1 0,13 0 16,1 0-16,-1 1 0</inkml:trace>
  <inkml:trace contextRef="#ctx0" brushRef="#br0" timeOffset="9749.02">12369 3347 0,'-79'-26'0,"66"26"0,-1 13 15,1 0-15,-13 0 0,13 0 16,-14 27-16,27-27 0,-13 1 15,0-1-15,13 0 0,0 0 0,0 0 16,13 1 0,13-28-1,-12 1-15,-1 0 0,0 0 0,0 0 16,0 13-16,1-14 0,-1 1 16,0 13-16,-13-13 0,13 13 0,1 0 15,12 40 1,-26-14-16,26 53 15,-26-52-15,14-1 16,-14 1-16,13-1 0,-13 1 0,0-14 16,13 13-16,0-12 0,-13-1 15,14 0-15,-1 14 16,13-27-16,-12 0 0,-1 0 16,0 0-16</inkml:trace>
  <inkml:trace contextRef="#ctx0" brushRef="#br0" timeOffset="10171.12">14076 3360 0,'0'66'16,"0"-39"-16,0 26 0,-13-27 0,13-13 16,0 1-16,0 39 15,0-40-15,13-13 16,-13 13-16,13-13 15,14 0-15</inkml:trace>
  <inkml:trace contextRef="#ctx0" brushRef="#br0" timeOffset="10420.93">14314 3400 0,'-26'40'0,"26"-27"0,0 0 16,-14 0-16,14 0 0,0 1 0,0-1 15,14 0-15,12 14 16,-13-14-16,0-13 16,1 0-16,-1 0 0,0-13 0,0 13 15,1-14-15,-1 1 0,0 0 16,0 0-16,-13-1 0,0 1 0,0-13 16,0-14-16,-13 27 0,0-14 15,-14 1-15,-12 0 16,25 26-16,-12-14 0,0 14 15,-54 14-15</inkml:trace>
  <inkml:trace contextRef="#ctx0" brushRef="#br0" timeOffset="10818.62">12039 4524 0,'-14'93'0,"14"-53"15,-13-27-15,13 0 0,0 0 16,0 1-16,13-1 0</inkml:trace>
  <inkml:trace contextRef="#ctx0" brushRef="#br0" timeOffset="10980.86">12277 4511 0,'0'-13'0,"0"53"31,0-27-31,0 0 16,0 14-16,-14-1 0,14-13 0,0 14 0,0-1 16,0 1-16,0-1 0,0-13 15,0 14-15,14-1 0,-14-13 16</inkml:trace>
  <inkml:trace contextRef="#ctx0" brushRef="#br0" timeOffset="11307.07">13996 4551 0,'27'66'0,"-27"-40"15,13 1-15,-13-14 0,0 0 0,0 14 16,0-14-16,0 0 0,0 0 15,13 1-15,-13-1 0,0 0 16</inkml:trace>
  <inkml:trace contextRef="#ctx0" brushRef="#br0" timeOffset="11618.17">14327 4551 0,'27'0'16,"-14"0"-16,-13 13 16,0 0-16,0 1 15,-13-1-15,-1 0 0,1 0 16,13 0-16,-13 14 0,0-14 0,0 0 16,13 1-16,-14-1 15,14 0-15,0 0 16,0 0-16,14-13 0,12 0 15,-13 0 1,0 0-16,14-13 16,-14 13-16,14-13 0,-14 13 15,0-13-15,0 13 16,0-13-16,-13-1 0,0 1 16</inkml:trace>
  <inkml:trace contextRef="#ctx0" brushRef="#br0" timeOffset="12396.94">14618 1164 0,'66'13'0,"-52"1"15,12-1-15,14 0 0,-14 14 16,1-14-16,-14 13 0,13 14 16,-12-14-16,-1 14 0,13 13 15,-13 0-15,1 79 0,-1-52 16,0-14-16,-13 0 0,13 13 0,-13-13 16,14 1-16,12 91 15,-13 1-15,1-80 0,-1 93 16,-13-66-16,13-13 0,-13-14 15,13 27-15,-13 13 16,27 66-16,-27-92 0,13 13 0,0 0 16,0 66-16,1-93 0,-1 0 15,0 1-15,0-1 0,1 0 16,12 67-16,-13-80 16,0 66-16,1-79 0,-14 13 0,13-26 15,-13 13-15,-13-13 16,-1 92-16,1-92 15,0-1-15,0-12 0,0 13 0,-1-14 16,-25 40-16,12-26 16,14-14-16,-14 1 0,1-1 0,-27 27 15,13-40-15,-26 27 16,40-27-16,-14 1 16,14-14-16,-14 0 0,14-14 15,12 1-15,1 0 0,0-27 16</inkml:trace>
  <inkml:trace contextRef="#ctx0" brushRef="#br0" timeOffset="12915.32">16113 3069 0,'53'-26'16,"-13"12"-16,-14 14 0,1-13 15,-1 13-15,1 0 0,-1-13 0,0 13 16,27 0-16,-26 0 15</inkml:trace>
  <inkml:trace contextRef="#ctx0" brushRef="#br0" timeOffset="13101.9">16245 3254 0,'67'0'0,"-54"0"0,0-13 16,0 13-16,0 0 0,1-13 15,12 13-15,-13 0 0,1-13 16</inkml:trace>
  <inkml:trace contextRef="#ctx0" brushRef="#br0" timeOffset="18935.07">3360 3492 0,'146'-26'16,"-107"13"-16,28 0 0,-1-1 0,26 1 15,213-40-15,-186 40 16,145-13-16,1-1 15,-146 1-15,13 12 0,146-12 16,-185 13-16,65-1 16,-92 1-16,-13 13 15,27-13-15,-54 13 0,-13 0 16,14-13-16,-14 13 0,0 0 0,1 0 16,-1 0-16,-13-13 0,13 13 15,-26-14 1,13 1-1,-13 13 1</inkml:trace>
  <inkml:trace contextRef="#ctx0" brushRef="#br0" timeOffset="19244.86">5556 3029 0,'27'14'0,"-14"-14"0,0 0 0,14 0 15,39 26-15,-13-26 0,-14 13 16,1 1-16,0-1 0,-1 0 0,1 0 16,0 1-16,-1-1 15,1 0-15,-13 0 0,26 27 16,-27-14-16,-13-12 0,-13 12 15,0-13-15,0 14 16,0-1-16,-13 14 0,0-14 0,0 1 0,-27 39 16,27-53-16,-1 14 0,1-14 15,0 0-15,13 0 16,-27 1-16,14-1 0,0-13 0,0 13 16</inkml:trace>
  <inkml:trace contextRef="#ctx0" brushRef="#br0" timeOffset="20031.77">11523 1958 0,'26'79'0,"-26"-39"0,13 0 15,1 13-15,12 92 0,14 67 16,-27-93-16,0-13 0,14 13 16,-14 0-16,0 0 0,0-13 15,1 13-15,-1-13 0,0-1 16,0-25-16,0-1 0,1 1 0,-1-14 0,-13 0 15,13 0-15,0-13 16,-13 0-16,0-13 0,0-1 0,0 1 16,0-14-16,0-12 0,0 12 0,0-13 15,0 14-15,0-1 0,0-13 16,0 1-16,0-1 16,-13 0-16</inkml:trace>
  <inkml:trace contextRef="#ctx0" brushRef="#br0" timeOffset="20544.72">11655 4061 0,'40'106'0,"-40"-79"0,13-1 16,0 14-16,0-14 15,14 27-15,-27-40 0,13 14 16,0-14-16,0 27 0,1-27 15,-1 0-15,-13 0 0,13-13 16,-13 14-16,13-14 0,1 0 16,12 0-16,-26-14 15,13 14-15,0-13 0,1 13 16,-1-13-16,0 13 0,14-26 16,-1 12-16,-26 1 0,13 0 15,1 0-15,-1-1 16,-13 1-16,0 0 15,0 0-15</inkml:trace>
  <inkml:trace contextRef="#ctx0" brushRef="#br0" timeOffset="25691.18">19196 1971 0,'-40'13'31,"27"-13"-31,-1 14 0,-12-14 0,13 13 16,-14-13-16,14 13 0,-13-13 0,12 0 15,-25 13 1,25-13-16,1 14 0,0-14 16,39 13 15,14-13-31,-27 13 0,14-13 15,-14 0-15,13 0 0,-12 13 16,12-13-16,-13 13 0,14-13 16,-14 14-16,0-1 15,-13 0-15,0 0 16,-13-13-16,0 14 0,0-14 16,13 13-16,-27 0 0,14-13 0,0 13 15,-1-13-15,-12 13 0,13-13 16,0 0-16,13 14 0,-14-14 0,1 0 15,0 0-15</inkml:trace>
  <inkml:trace contextRef="#ctx0" brushRef="#br0" timeOffset="26324.33">19447 1931 0,'-27'0'16,"27"14"-16,14 12 16,-1 1-1,13-14-15,-26 0 0,14 14 16,-1 12 0,-13-26-16,-13 1 0,-14 25 15,27-25 1,-13-14-16,0 13 15,-1-13-15,14-13 16,0-1 0,27-12-16,-1-27 15,-12 27-15,12-1 16,-26 14-16,26-27 0,-26 27 16,14 0-16,-14-1 0,-14-12 15,14 13 1,-13 13-16,0 0 0,0 0 0,-14 0 15,1 13-15,13-13 0,-14 13 16,14 0-16,-13-13 0,12 14 16,1-1-16</inkml:trace>
  <inkml:trace contextRef="#ctx0" brushRef="#br0" timeOffset="28839.15">14036 2342 0,'80'0'15,"-54"-14"-15,14 14 0,-14 0 16,1 0-16,-14-13 0,13 13 16,1 0-16,-14 0 0,0 0 15,0 0-15</inkml:trace>
  <inkml:trace contextRef="#ctx0" brushRef="#br0" timeOffset="29984.81">14248 3903 0,'92'0'0,"-52"-14"0,13 14 16,66-13-16,-66 0 0,0 13 15,0-13-15,0 13 0,-14-14 0,1 14 16,0 0-16</inkml:trace>
  <inkml:trace contextRef="#ctx0" brushRef="#br0" timeOffset="32484.32">21167 542 0,'0'-13'16,"-14"13"-16,1 0 15,0 0-15,-13 0 16,12 13-16,14 1 15,-13-14-15,13 13 0,0 0 16,0 0-16,0 1 16,13-1-16,1 26 0,-14-25 15,13-1-15,-13 0 0,13 0 0,-13 1 16,13-1-16,-13 0 16,0 14-16,0-14 0,0 0 15,-13 0-15,0 0 0,0-13 16,-1 14-1,1-14-15,-13 0 16,12-14-16,14 1 16,0 0-16,0 0 15,14 0-15,-14-1 0,13 1 16,-13 0-16,13 0 0,0-1 0,-13-12 16,14 26-16,-14-13 15,13-27-15,-13 27 0,0 0 16,0-1-1,-13 1-15,13 0 16,-14 13-16,1-13 16,0 13-1,0 0 1</inkml:trace>
  <inkml:trace contextRef="#ctx0" brushRef="#br0" timeOffset="32681.56">21392 476 0,'39'66'15,"-39"-52"-15,27 39 0,-27-40 16,0 13-16,13-13 0,-13 1 0,13 39 15,-13-40-15</inkml:trace>
  <inkml:trace contextRef="#ctx0" brushRef="#br0" timeOffset="32960.78">21378 728 0,'27'0'16,"-1"-14"-16,-13 14 0,1 0 15,-1-13-15,13 13 0,-12 0 16,-1-13-16,13 13 16,-12 0-1,-1-13-15,0 13 16,0 0 15</inkml:trace>
  <inkml:trace contextRef="#ctx0" brushRef="#br0" timeOffset="34231.12">21841 569 0,'14'-13'0,"-1"13"0,0-14 15,27 28 1,-27-14-16,0 13 15,-13 0-15,0 0 16,-13 1-16,0-1 0,13 0 16,-27 0-16,27 0 0,-13 1 15,0-1-15,0 0 0,-1 0 16,1-13-16,13 14 0,-13-1 16,26 0-1,0-13 1,1 0-16,12 0 15,-13 0-15,1 0 0,12-13 16,0 13-16,-12 0 0,12-13 0,1-1 16,-1 1-16,0 0 0,-12 0 15,12-1-15,-13 1 0,1 13 16,-14-13-16,26-13 16,-26 12-16,-13 1 15,13 0 1,-13 39 15,26-12-31,0-14 16,0 13-16,1-13 15,-1 13-15,0-13 0,0 0 0,0 0 16,1 0-16,-1 0 16,0-13-16,0 13 0,-13-13 15,14 13-15,-14-14 16,-14 1-16,1 0 15,0 13-15,0-13 0,-1 13 16,1-14-16,0 14 16,0 0-16,0 0 15,13 14-15</inkml:trace>
  <inkml:trace contextRef="#ctx0" brushRef="#br0" timeOffset="34464.83">22754 450 0,'13'13'15,"-13"0"-15,0 14 16,0-14-16,0 0 0,0 27 15,0-27-15,0 14 16,0-1-16,0 0 16,0-12-16</inkml:trace>
  <inkml:trace contextRef="#ctx0" brushRef="#br0" timeOffset="34700.61">22662 582 0,'26'0'16,"0"-13"0,-12 13-16,-1 0 0,0 0 15,14 0 1,-14 0-16,0 0 0,0 0 15,1 0-15,-1 0 16,0-13-16,0 13 16</inkml:trace>
  <inkml:trace contextRef="#ctx0" brushRef="#br0" timeOffset="37027.74">23283 463 0,'0'-13'16,"14"13"46,12 0-46,-26-13-16,13 26 0,27-26 0,-67 39 15,27-13-15,14-13 16,-14 13-16,0 1 0,0 12 16,0-13-16,-14-13 15,14 14-15,-13-1 16,13 0-16,13-13 16,-26 0-16,13 13 0,0 1 15,0-1-15,13-13 16,-13 13-16,14 0 0,-1-13 15,-26 0-15,13 13 0,0 1 16,0-1-16,0 0 16,-14 0-16,1 1 15,0-1-15,0-13 16,0 13-16,-1-13 0,1 13 0,0-13 16,0 0-16,-1 0 0,1 14 15</inkml:trace>
  <inkml:trace contextRef="#ctx0" brushRef="#br0" timeOffset="37309.18">23521 463 0,'-26'106'15,"26"-80"1,0-12-16,13 12 16,0-26-16,-26 13 0,26-13 15,1 13-15,-1-26 16,-13 0 0,-13 0-1,-27 13 16,27 0-31,0 13 0,-14-13 0,14 13 16</inkml:trace>
  <inkml:trace contextRef="#ctx0" brushRef="#br0" timeOffset="38778.94">20981 1918 0,'-39'27'0,"26"-14"15,13 0-15,0 14 0,0-14 16,-14 13-16,14-12 0,0-1 0,14 13 16,-14-13-16,13 27 0,0-27 15,0 1-15,14-1 16,-14 0-16,27 0 0,-27-13 15,0 0-15,0 0 16,-13-13-16,-13 0 31,0 0-31,-14 13 16,1 0 0,13 13-1,-1-13-15</inkml:trace>
  <inkml:trace contextRef="#ctx0" brushRef="#br0" timeOffset="39232.12">21339 1998 0,'0'-14'16,"-14"28"-1,1-1-15,0 0 16,0-13-16,13 13 0,-14 1 16,1-1-16,13 0 0,-13 0 15,13 0-15,-13 1 0,13-1 0,0 0 16,13 0 0,0 1-16,0-14 15,1 13-15,-1-13 0,0 0 0,0 0 16,1 0-16,-1 0 0,13 0 15,1-13 1,-1-1-16,-13 1 0,1 0 16,-1 0-1,-13-1-15,0-12 0,0 13 0,0 0 16,0-1-16,0 1 16,-13 26-1,13 1 1,-14-1-16,14 0 0,-13 13 15,13-12-15,-13 39 0,0-27 16,0 40 0,13-39-16,-14 12 15,14-12-15,0-14 0,0 0 0,-13 0 0,13 1 16,0-1-16</inkml:trace>
  <inkml:trace contextRef="#ctx0" brushRef="#br0" timeOffset="40872.15">18534 1535 0,'-93'66'0,"67"-40"0,13 1 16,-14-1-16,14 14 0,0-1 15,0 1-15,13 0 0,-14 13 16,14 13-16,0-13 0,0 92 0,0-65 16,0 12-16,0 14 0,0 13 15,14-13-15,-14 13 0,13-13 16,0 132-16,-13-119 0,13 0 16,1 0-16,-14 14 0,0-14 15,13 13-15,-13-26 0,0 13 0,0-27 16,0 94-16,13-107 0,-13 0 15,13 14-15,0-14 0,1-13 16,12 80-16,-13-80 0,14 0 16,-14-13-16,14 0 0,-14-26 0,0 12 15,13-12-15,1-1 0,-14-13 16,0 1-16,14-14 0,-1-14 0,14 1 16,13-13-16</inkml:trace>
  <inkml:trace contextRef="#ctx0" brushRef="#br0" timeOffset="41483.06">21775 1376 0,'146'26'16,"-133"-26"-16,0 14 0,14-1 15,-1 26-15,1 1 0,-14-13 16,-13 12-16,13 1 0,0 66 15,0-67-15,-13 28 0,14-14 16,-1 13-16,13 53 0,-12-53 16,12 0-16,1 0 0,-1 0 15,0 27-15,1-27 0,13 13 0,-14 1 16,14-1-16,66 159 16,-80-158-16,0-1 0,14 14 15,-27-27-15,40 106 0,-39-93 16,-1 1-16,0-1 0,0 0 0,-13-13 15,13 14-15,-13-14 0,0 0 16,-13 0-16,0 0 0,0-13 16,0 0-16,-14 0 0,1-13 0,-1 0 15,-13-1-15,-39 27 0,26-26 16</inkml:trace>
  <inkml:trace contextRef="#ctx0" brushRef="#br0" timeOffset="42278.03">3863 5278 0,'132'0'0,"-66"-26"16,14 13-16,-1 0 0,27-14 0,13-13 15,13 14-15,1-1 0,144-52 16,-131 39-16,-1 14 0,1-14 15,132-26-15,-133 26 16,107-13-16,-67 1 0,-40 25 16,-105 27-16,13-13 15,-27 13-15,1-13 0,26 13 16,-40 0-16,0 13 31,1-13-31,-14 13 0,13-13 16</inkml:trace>
  <inkml:trace contextRef="#ctx0" brushRef="#br0" timeOffset="43703.29">5609 5080 0,'410'-119'0,"-344"92"15,-26 14-15,-13 13 16,-1-13-16,-13 13 0,0 0 16,14-13-16,-14 13 15,0 0-15,-13 13 47,14 0-31</inkml:trace>
  <inkml:trace contextRef="#ctx0" brushRef="#br0" timeOffset="47485.56">5768 4432 0,'13'0'0</inkml:trace>
  <inkml:trace contextRef="#ctx0" brushRef="#br0" timeOffset="49803.24">18772 3929 0,'13'79'0,"-13"-65"0,0-1 0,0 0 16,0 14-16,0 12 15,0-25-15,0 12 16,0-13-16,0 14 0,0-14 0,14-13 15,-14 13-15,0 0 0,13-13 16</inkml:trace>
  <inkml:trace contextRef="#ctx0" brushRef="#br0" timeOffset="50321.12">19037 3942 0,'26'0'16,"-13"0"-16,1 14 16,-1-1-1,-13 0-15,0 0 0,0 0 16,0 1-16,0-1 15,-13 13 1,13-12 0,0-1-1,0 0-15,0 0 16,-14 1-16,-12-1 16,26 0-16,-13-13 15,0 0-15,-1 13 16,1-13-16,13 13 0,-13-13 0,0 0 15</inkml:trace>
  <inkml:trace contextRef="#ctx0" brushRef="#br0" timeOffset="50627.2">19328 3889 0,'-66'14'0,"52"-14"0,-12 26 0,13-26 16,13 13-16,13 1 31,13-28-15,-12 14-16,12 0 15,-13 14-15,14 12 16,-27-13 0,0 0-16,13 1 0,-13-1 0,0 27 15,0-27 1,13 27 0,-13-27-16</inkml:trace>
  <inkml:trace contextRef="#ctx0" brushRef="#br0" timeOffset="51794.09">21458 3784 0,'0'39'32,"0"-26"-32,13 40 15,-13-39-15,0 12 0,0 1 16,13-14-16,-13 66 16,0-39-1,0-27 1,0 0-16,0 1 15,13-14-15</inkml:trace>
  <inkml:trace contextRef="#ctx0" brushRef="#br0" timeOffset="52159.67">21828 3823 0,'-26'0'15,"-1"13"1,14-13-16,0 14 0,0-14 16,-1 13-16,1-13 15,0 26 1,26-12-16,-13-1 15,13 0-15,1 0 16,-14 1 0,13-1-16,-13 0 0,-13 0 15,-1 14 1,14-14-16,-13-13 0,0 13 16,0 0-16,13 1 0,-14-14 0,14 13 15,-13-13-15</inkml:trace>
  <inkml:trace contextRef="#ctx0" brushRef="#br0" timeOffset="52483.48">21987 3823 0,'-40'27'15,"27"-14"-15,-13 0 16,26 0-16,-14-13 0,1 14 0,13-1 16,13 0 15,14-26-15,-14 0-16,0 13 0,0 0 15,1 0 1,-14 13-1,0 0-15,0 0 0,0 1 16,0 12-16,-14-13 0,14 0 16,0 14-16,0-14 0,-13 0 15,13 14-15,0-14 0,-13 14 0,13-14 16,0 0-16,0 0 0</inkml:trace>
  <inkml:trace contextRef="#ctx0" brushRef="#br0" timeOffset="52778.54">22767 4485 0,'-238'198'0,"199"-158"0,-1 13 16,-13-14-16,13 14 0,14-13 0,-14 0 0,27-14 16,-14 1-16,27-14 15,-13 0-15,13 0 0,13-13 16</inkml:trace>
  <inkml:trace contextRef="#ctx0" brushRef="#br0" timeOffset="52937.36">22860 4683 0,'-79'119'16,"39"-79"-1,13 13-15,-25 0 0,12 0 16,-13 13-16,0 0 0,13-13 0,-26 13 15,27-13-15,-1 0 0,13 0 0,-12-14 16,-1 1-16</inkml:trace>
  <inkml:trace contextRef="#ctx0" brushRef="#br0" timeOffset="53931.35">4657 5159 0,'410'-119'0,"-304"93"16,-1-1-16,1 1 0,0-1 16,13 1-16,-13 0 0,0 12 0,-14-12 15,-12 13-15,-1-1 0,-13 1 0,0 0 16,-13 13-16,-13-13 0,-13 13 16,-1-14-16,0 14 0,-12 0 0,-1 0 15,0 0-15,0 0 0,1-13 16,-1 13-16</inkml:trace>
  <inkml:trace contextRef="#ctx0" brushRef="#br0" timeOffset="54208.57">6496 4538 0,'79'13'0,"27"40"16,-67-40 0,1 27-16,39 13 0,-39-14 15,-13 1-15,-1 0 0,-13-1 16,1 1-16,-1 13 0,-13-13 0,-27 118 15,-12-78 1,25-27-16,1-27 0,-13 14 16,12-14-16,1-12 0,0-1 0</inkml:trace>
  <inkml:trace contextRef="#ctx0" brushRef="#br0" timeOffset="55199.47">4961 6019 0,'66'-13'0,"-26"0"16,158-53-16,-118 39 0,-1 1 15,27-1-15,0-12 0,211-54 16,-211 67-16,-27-1 16,1 1-16,-1 12 0,0-12 0,1 13 15,-14-14-15,-13 14 0,0 0 0,-13 13 16,-1-13-16,-12-1 0,-1 14 0,1 0 15,-14 0-15,0-13 0,0 13 16,0 0 0</inkml:trace>
  <inkml:trace contextRef="#ctx0" brushRef="#br0" timeOffset="55472.68">6496 5331 0,'92'14'0,"-52"-14"0,92 53 16,-79-27 0,0 0-16,53 41 0,-67-28 15,1 1-15,13 53 0,-26-54 16,-14 14-16,0-13 0,-13 92 15,0-92-15,-13-1 16,13 1-16,-13 0 0,-1 0 16,1-14-16,0 0 0,13 1 0,-13-1 15</inkml:trace>
  <inkml:trace contextRef="#ctx0" brushRef="#br0" timeOffset="56092.18">14698 1958 0,'238'728'0,"-185"-596"0,0 0 16,-1 14-16,81 158 15,-41-40-15,-39-131 0,-13-14 0,0 0 16,-1 0-16,67 238 16,-79-277-1,-14-28-15</inkml:trace>
  <inkml:trace contextRef="#ctx0" brushRef="#br0" timeOffset="56474.12">15465 4352 0,'79'199'0,"-65"-159"0,52 52 15,-40-65-15,1-1 0,-1 0 16,40 27 0,-39-53-16,-1 0 0,1 0 0,-1 0 0,0-13 15,14 0-15,-13 0 0,-1-14 0,14 1 16,-14-1-16,-13-12 0,14 12 15,-1-12-15,-12 12 0,-1-13 0,0 14 16,27-67 0,-27 67-16,-13 13 0,13-1 0,-13 1 15,0 0-15,0 0 0</inkml:trace>
  <inkml:trace contextRef="#ctx0" brushRef="#br0" timeOffset="57740.99">20809 4696 0,'67'-26'16</inkml:trace>
  <inkml:trace contextRef="#ctx0" brushRef="#br0" timeOffset="58308.39">21365 4432 0,'119'13'16,"-92"-13"-16,78-13 0,-65 13 0,13-13 16,53-1-16,-66 1 15,13 0-15,-14 0 0,1-1 0,13 1 16,-14-13-16,1-1 0,0 14 0,0-13 15,-14-1-15,0 1 0,1-1 0,-1-12 16,-12 12-16,-1-13 0,0 14 16,-13-14-16,0-26 0,-13 26 15,-14-13-15,1 14 0,-1-1 16,-39-39-16,40 39 0,-14 0 16,-52-26-16,39 26 15,13 14-15,-13 13 0,-26-27 16,39 27-16,0 0 0,-13 13 0,14 0 15,-1 0-15,-13 13 0,0 0 16,-13 14-16,0-1 0,13 14 0,-106 52 16,80-26-16,13-13 0,0 14 15,26-15-15,0 1 0,14 14 16,-1-15-16,14 1 0,0 0 0,13-13 16,13 0-16,0 13 0,27-1 15,-14-12-15,14 0 0,13 0 16,0-1-16,13 1 0,0-14 0,0-12 15,14 12-15,65 1 0,-65-27 16,-1 0-16</inkml:trace>
</inkml:ink>
</file>

<file path=ppt/ink/ink17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6:32:23.559"/>
    </inkml:context>
    <inkml:brush xml:id="br0">
      <inkml:brushProperty name="width" value="0.05292" units="cm"/>
      <inkml:brushProperty name="height" value="0.05292" units="cm"/>
      <inkml:brushProperty name="color" value="#0070C0"/>
    </inkml:brush>
  </inkml:definitions>
  <inkml:trace contextRef="#ctx0" brushRef="#br0">15994 3347 0,'93'0'62,"39"0"-46,53-13-16,-26-27 16,-40 14-16,-26 26 15,-40-14-15,-27 14 16,14 53 46,-14 40-46,1 79-16,39 40 0,-40 65 16,106 81-16,-12 78 15,12-39-15,-26 26 16,-40 1-16,13 171 15,-39-225-15,52 120 16,-25 26 0,-14-106-16,-53-13 0,0 0 15,13 13-15,-13-119 16,0-13-16,0-53 16,0-54-16,0-25 15,0 224 1,0-158-16,0-53 15,0 0 1,0 13-16,0-27 16,0-13-16,0 27 15,0-13-15,0-27 16,0-13-16,0-14 16,0-26-16,0 0 15,0-26 1,0 0-16,26 13 0,-13-53 15,-13 26-15,0-13 16,-13 14 93,-40-1-93,-53-26-16,-52 0 16,-1 0-16,-26 0 15,0 0 1,26 0-16,27 0 16,26 0-16,66 0 15,27 0-15</inkml:trace>
</inkml:ink>
</file>

<file path=ppt/ink/ink17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6:32:39.670"/>
    </inkml:context>
    <inkml:brush xml:id="br0">
      <inkml:brushProperty name="width" value="0.05292" units="cm"/>
      <inkml:brushProperty name="height" value="0.05292" units="cm"/>
      <inkml:brushProperty name="color" value="#0070C0"/>
    </inkml:brush>
  </inkml:definitions>
  <inkml:trace contextRef="#ctx0" brushRef="#br0">17251 4538 0,'92'-27'16,"-78"27"-16,12 0 0,-13 0 0,1 13 15,-1-13-15,13 0 0,-13 14 0,-13-1 16,14 0-16,-1 0 0,-26 1 16,13-1-16,0 0 0,-14 13 15,1-12-15,13-1 0,-26 13 0,13-12 16,-14-1-16,14 13 0,-14-13 15,14 1-15,-26-1 0,25-13 16,-12 13-16,13 0 16,-14 1-16,54-14 31,-14 0-15,27 0-16,-14 0 15,14-14-15,-27 14 16,0 0-16,0 0 0,14 0 0,-14 0 15,0 0-15,0-13 16,1 13-16,-1 0 0,13 0 16,-12 0-16,-14-13 15</inkml:trace>
  <inkml:trace contextRef="#ctx0" brushRef="#br0" timeOffset="253.01">17992 4511 0,'-14'13'0,"1"1"16,-13 52-1,-14-13 1,40-40-16,-13 13 0,0-12 15,-14 25-15,14-26 0,0 14 16,-27-1 0,40-12-16,-26-1 15</inkml:trace>
  <inkml:trace contextRef="#ctx0" brushRef="#br0" timeOffset="482.17">17687 4657 0,'14'-14'0,"25"28"15,-25-14-15,-1 13 16,0-13-16,0 13 0,0-13 16,1 13-16,12 1 0,-13-14 15,14 13-15,-1 0 16,-12-13-16,12 13 0,-13-13 15,0 0-15,40 0 16,-39 0-16,-1 0 16</inkml:trace>
  <inkml:trace contextRef="#ctx0" brushRef="#br0" timeOffset="1009.05">18296 4538 0,'26'-14'16,"-12"14"-16,-1 0 0,0 0 16,-13 14-16,13-14 0,1 13 15,-14 0 1,0 0-16,0 1 0,-14-14 15,14 13-15,0 0 0,-13-13 0,13 13 16,13 0 0,-13 1-16,14-14 15,-1 13-15,0 0 16,0 0 0,-39 27-1,13-27 1,-1-13-16,-12 13 0,-14 1 15,27-14 1,13 13-16,-13-13 0,-1 0 16,1-13-16</inkml:trace>
  <inkml:trace contextRef="#ctx0" brushRef="#br0" timeOffset="3283.92">17198 4405 0,'-66'14'0,"53"-14"16,-1 0-16,1 13 0,0-13 0,-14 0 16,14 13-16,0 0 0,-14 0 15,14 1-15,0-1 16,0 0-16,13 0 0,-13 1 0,13 12 15,-14-13-15,14 14 0,-13 12 16,13-25-16,0 12 0,0-13 16,0 14-16,0-14 0,-13 13 0,13 41 15,0-54 1,0 13-16,0-12 0,0-1 0,0 13 16,0-13-16,0 1 0,0-1 0,0 0 15,0 0-15,0 1 0,13-1 16,-13 13-16,13-26 15,1 14-15,-1-14 16,0 0-16,0 0 0,0 0 0,14 0 16,13-14-16,-1 14 0,1-13 15,13 0-15,0 13 0,0-27 0,13 14 16,0 0-16,13-14 0,54-12 16</inkml:trace>
  <inkml:trace contextRef="#ctx0" brushRef="#br0" timeOffset="3756.92">18825 4233 0,'27'0'0,"-14"0"16,0 0-16,-13 14 0,13-14 16,0 0-16,-13 13 0,14 0 15,-1 0-15,0 0 0,-13 1 16,13-1-16,1 13 0,-14-12 0,13 12 0,0-13 15,-13 14-15,27 12 16,-27-25-16,13 12 0,0 1 16,0 12-16,-13-12 0,13-1 15,-13-13-15,0 14 0,14 13 16,-14-27-16,0 0 0,13 27 16,-26-27-16,13 0 0,0 0 15,-14 1-15,14-1 0,-13 0 16,0 0-16,0 1 0,0-1 0,-1 0 15,-12-13-15,13 13 0,-1-13 0,1 0 16,0 13-16,0-13 16,-1-13-16,1 0 15</inkml:trace>
  <inkml:trace contextRef="#ctx0" brushRef="#br0" timeOffset="4248.96">19632 4524 0,'-13'0'0,"39"0"0,-12 0 16,-1-13-16,0 13 0,0 0 0,0 0 15,1 0-15,-1 0 0,0 0 16,0 0-16,1 13 0,-1-13 0</inkml:trace>
  <inkml:trace contextRef="#ctx0" brushRef="#br0" timeOffset="4429.03">19579 4657 0,'-13'0'0,"39"13"31,-12-13-15,-1 0-16,0 0 15,14 0-15,-14 0 0,0 0 16,0 0-16,27 0 0,-27 0 16,0 0-16,1 0 0,-1 0 15</inkml:trace>
  <inkml:trace contextRef="#ctx0" brushRef="#br0" timeOffset="5568.19">20796 4286 0,'40'0'16,"-27"13"-16,-13 14 31,0-14-31,13-13 16,1 40-1,-1-27 1,0 0-16,0-13 0,-13 14 15,14-1-15,-1 0 0,0 0 0,-13 0 16,0 14 0,0-14-16,-13 0 0,0 1 0,13-1 15,-14 0-15,1 0 0,0-13 16,0 14-16,-1-1 0,1-13 0,0 13 16,0-13-16,-1 13 0,1-13 15</inkml:trace>
  <inkml:trace contextRef="#ctx0" brushRef="#br0" timeOffset="5771.93">21325 4233 0,'0'-13'0,"0"79"16,-13-53-1,13 14-15,-13-1 0,-27 67 16,27-67-16,0-12 16,13 12-16,-27 14 0,14-27 15,13 0-15,-13 1 0,13-1 16,-13-13-16</inkml:trace>
  <inkml:trace contextRef="#ctx0" brushRef="#br0" timeOffset="5963.88">21087 4432 0,'27'13'31,"-14"0"-31,-13 0 0,13-13 0,0 14 16,1-1-16,-1-13 0,0 13 15,0 0-15,14-13 0,-14 14 16,13-14-16,-12 13 0,12-13 0,-13 13 15,14-13-15</inkml:trace>
  <inkml:trace contextRef="#ctx0" brushRef="#br0" timeOffset="7689.79">21669 4247 0,'53'26'0,"-39"-13"15,-28 14 1,14-14 0,0 0-16,0 0 15,0 1-15,14-14 16,-14 13-16,13 0 15,0 14 1,-26 12 0,0-26-16,-1 1 15,1 12-15,-27 1 16,14-14-16,13-13 0,-1 0 16,1 13-16,0 0 0,-13-13 15,-1 0-15,14 14 16,-14-14-16</inkml:trace>
  <inkml:trace contextRef="#ctx0" brushRef="#br0" timeOffset="8125.02">20532 4154 0,'-80'225'16,"67"-172"-16,13-14 0,0 1 0,0 0 15,13 39-15,1-39 16,12 0-16,-13-14 0,14 0 0,-1 1 15,1-14-15,-1 14 0,14-14 16,-14-13-16,1 13 0,-1-13 0,14 0 16,-1-13-16,14 13 0,0-27 0,0 14 15</inkml:trace>
  <inkml:trace contextRef="#ctx0" brushRef="#br0" timeOffset="8450.79">21841 3995 0,'40'40'0,"-27"-27"16,1 0-16,-1 14 0,0-1 0,0 1 0,0 12 16,1-12-16,-1 26 15,-13-27-15,0 1 0,0-1 0,-13 14 16,-1-14-16,-12 14 0,13-14 16,-27 14-16,0-13 0,14 12 15,-27-12-15,27-1 0,-27 1 0,26-1 16,-13-13-16,1 1 0,-1 12 0</inkml:trace>
  <inkml:trace contextRef="#ctx0" brushRef="#br0" timeOffset="9948.78">22238 4419 0,'40'0'15,"-14"0"1,-12 0-16,12 0 0,-13 0 16,27-14-16,-27 14 15,0 0-15,14 0 0,-14 0 16</inkml:trace>
  <inkml:trace contextRef="#ctx0" brushRef="#br0" timeOffset="10119.99">22291 4577 0,'0'14'0,"27"-14"16,12 0 15,-25 0-31,25 0 16</inkml:trace>
  <inkml:trace contextRef="#ctx0" brushRef="#br0" timeOffset="10701.54">23508 4207 0,'53'-53'0,"-40"53"15,27 0 1,-27 0-16,1 13 0,-1 0 15,0 1-15,-13-1 0,13 0 0,-13 14 16,0-14-16,0 13 0,0 1 16,0 39-16,-13-13 15,13-27-15,0 1 0,-13-14 0,13 13 16,0-12-16,0 12 16,0 1-16,0-1 0,-13-13 15,26 0-15,-13 1 0,0-1 16,-13 0-16,13 0 0</inkml:trace>
  <inkml:trace contextRef="#ctx0" brushRef="#br0" timeOffset="10837.73">23641 4829 0,'-14'0'0,"14"13"31</inkml:trace>
  <inkml:trace contextRef="#ctx0" brushRef="#br0" timeOffset="11536.79">23323 5305 0,'13'26'0,"-13"-12"15,13-1-15,-13 0 0,14 0 0,-14 1 16,13-1-16,0-13 0,0 13 15,1 0-15,12 0 0,1 1 16,-14-14-16,13 0 0,-13 0 16,14 0-16,-1-14 0,1 14 0,-14-13 15,27 0-15,-1-13 16,-25 12-16,-1 1 0,0 0 16,-26 39 15,0-12-31,-14 12 0,14 14 15,-27 26-15,-13 13 16,27-39-16,-1-14 0,14 14 16,-26 13-16,25-13 0,-12-1 15,26-12-15,-13-14 16,-1 13-16,14-12 0,-13-1 16</inkml:trace>
  <inkml:trace contextRef="#ctx0" brushRef="#br0" timeOffset="12841.91">17436 7752 0,'79'-13'0,"-65"13"16,-1 0-16,0 13 0,0 1 15,1-14-15,-1 13 16,-13 0-16,13 0 0,-13 0 0,-13 27 16,0-13-16,13-1 0,-14 1 0,-12-1 15,13-13-15,-1 14 0,1-14 16,0 0-16,13 0 0,-27 1 15,14-1-15,0 0 16,0-13-16,39 0 31,-13 0-31,1 0 16,25 0-16,-12 0 0,-14-13 16,14 13-16,-1 0 15,0 0-15,14-13 0,-13 13 0,-14-14 16,53 1-16,-53 13 15,14-13-15,-14 0 16</inkml:trace>
  <inkml:trace contextRef="#ctx0" brushRef="#br0" timeOffset="13038.09">18164 7739 0,'-14'27'31,"1"-14"-31,13 0 0,-26 40 15,-14 0-15,0 0 16,27-27-16,0 1 16,0-14-16,-14 27 0,14-27 15,0 13-15,0-13 16,13 1-16,-14-14 0,14 13 16</inkml:trace>
  <inkml:trace contextRef="#ctx0" brushRef="#br0" timeOffset="13240.18">17767 7938 0,'0'-14'0,"53"41"31,-40-27-15,0 13-16,14 0 0,-14 0 15,27 14-15,-27-14 0,26 0 16,-25 1-16,25-1 0,-25 0 15,-1-13-15,0 13 0,0-13 16,1 0-16,25 0 0,-26 0 16</inkml:trace>
  <inkml:trace contextRef="#ctx0" brushRef="#br0" timeOffset="13924.98">18600 7739 0,'66'0'15,"-52"0"-15,-1 0 0,-13 13 16,13-13-16,-13 27 16,0-14-1,0 0-15,-13 14 16,26-1 0,0-13-1,0-13-15,-13 14 0,14-14 16,12 26-16,-26-13 15,13 1-15,-13-1 0,-13 0 16,0 27 0,0-27-16,-27 13 0,27-12 15,0-14-15,-27 13 0,27 0 16,-1-13-16,-12 0 0,13 0 16,0 0-16,-14 0 0,1 0 15,12 0-15</inkml:trace>
  <inkml:trace contextRef="#ctx0" brushRef="#br0" timeOffset="14401.91">16999 7607 0,'-145'211'0,"132"-158"15,0-13-15,-1 0 0,14 13 16,14 52-16,-1-52 0,13 0 0,1 0 15,12-13-15,14 0 0,13-1 16,-13-12-16,80 26 0,-67-40 16,92 0-16,-12-13 15,-67-13-15,1 0 16,-1-1-16,1-12 0,-14 0 16</inkml:trace>
  <inkml:trace contextRef="#ctx0" brushRef="#br0" timeOffset="14746.76">18799 7448 0,'79'26'0,"-53"-12"15,14-1-15,-13 13 0,12 14 0,41 39 16,-41-39-16,-12 0 16,-1 13-16,1-14 0,-14 14 15,-13 27-15,0-41 0,-13 14 0,0 0 16,-1 0-16,-25 0 0,12 0 0,1-13 15,-14-1-15,-13 41 16,27-54-16,-1-13 16,-13 27-16</inkml:trace>
  <inkml:trace contextRef="#ctx0" brushRef="#br0" timeOffset="15139.92">19936 7646 0,'-26'40'0,"13"-13"15,-1-1-15,-12 1 0,-14 39 16,1 0-16,12-40 0,-13 40 15,1-13 1,26-26-16,-14 12 0,27-25 16,-26-1-16,26 0 15,-27 0-15</inkml:trace>
  <inkml:trace contextRef="#ctx0" brushRef="#br0" timeOffset="15418.05">19500 7646 0,'66'53'0,"-26"-26"16,-14-1-16,14-12 0,-1 25 0,28 1 15,-1 0-15,0-1 16,-40-25-16,1-1 15,-1 0-15,14 13 16,-27-26-16,14 14 0,-1-1 0,-13 0 16,1-13-1,-1 13-15,0-13 0,0 14 16</inkml:trace>
  <inkml:trace contextRef="#ctx0" brushRef="#br0" timeOffset="16271.11">21259 7422 0,'-26'0'0,"13"0"0,-14 26 15,1 27 1,12-27-16,1 14 0,0 0 0,0-1 16,0 54-16,-1-14 15,14-39-15,0 40 16,14-54-16,-14 0 15,13 1-15,-13-1 0,13-12 0,0 12 0,0 0 16,14 1 0,-27-14-16,26-13 0,1 0 15,-14 0-15,27-13 16</inkml:trace>
  <inkml:trace contextRef="#ctx0" brushRef="#br0" timeOffset="17249.88">21524 7620 0,'66'-13'15,"-53"13"-15,14 13 16,-14 0 0,0 0-16,-13 1 0,0 12 15,0-13-15,-40 54 16,27-41-16,-13-13 15,13 14-15,-1-14 0,-12 13 16,26-12-16,-13-14 0,-1 13 16,1 0-16,13 0 15,-13-13-15,26 0 32,0 0-32,14 0 15,-1 0-15,-12 0 0,-1-13 16,0 13-16,13 0 0,-12-13 0,12 13 15,-13 0-15,14-13 0,-14 13 16,14 0-16,-14-14 0,26 1 16,1 0-16,-27 0 0</inkml:trace>
  <inkml:trace contextRef="#ctx0" brushRef="#br0" timeOffset="17457.55">22146 7620 0,'0'-13'0,"-14"52"16,1-25-16,0-1 0,13 0 0,-13 14 0,-1-14 15,14 13-15,-26 1 16,0 26-16,12-27 0,1-13 0,0 14 16,0-14-16,-1 14 15,1-14-15,13 0 0,-13 0 16,0 0-1</inkml:trace>
  <inkml:trace contextRef="#ctx0" brushRef="#br0" timeOffset="17640.68">21894 7805 0,'0'-13'15,"27"39"1,-14-26-16,0 14 15,0-1-15,1-13 0,12 26 16,1-12-16,-1-14 0,-13 13 16,14-13-16,12 0 15,-25 0-15,-1 0 0,0 0 16</inkml:trace>
  <inkml:trace contextRef="#ctx0" brushRef="#br0" timeOffset="18309.84">22437 7646 0,'13'0'15,"0"0"-15,0 0 0,14 14 31,-14-14-31,-13 13 0,13-13 0,-13 13 16,13 0-16,-13 1 16,0-1-1,0 0-15,14 0 16,-14 1 0,13-14-16,0 13 0,-13 0 15,13 13-15,1-12 0,-14-1 16,13 0-1,-13 14-15,-13-14 0,-1 0 16,14 0-16,-13 1 0,0-14 16,-14 13-16,14 0 15,0-13-15,0 0 0,0 0 0,-1 0 16,-12-13 0,26 0-16,-13 13 0,13-27 0,0 14 15,0-27-15</inkml:trace>
  <inkml:trace contextRef="#ctx0" brushRef="#br0" timeOffset="18584.98">22635 7210 0,'40'-13'0,"-27"13"15,40 26 1,-40-13-16,27 1 0,-14 12 0,1 0 15,-1 14-15,1-13 0,39 52 16,-53-39-16,27 39 16,-27-39-16,13 26 0,-26-26 15,0-1-15,0-12 0,-13 12 16,0-12-16,0 13 0,0-14 0,-1 1 16,-52 39-1,53-40-15,0-13 0,-14 1 16,1-1-16,13 0 0,-1-13 15</inkml:trace>
  <inkml:trace contextRef="#ctx0" brushRef="#br0" timeOffset="26003.69">3863 10504 0,'13'-13'16,"0"13"0,27-13-1,-27 13-15,1 0 16,-1 0-16,13 0 0,1 0 16,-14-14-16,13 14 0,27 0 15,-39 0-15,12 0 0,27 0 16,-27 0-16,27 0 15,-40 0-15,14 0 0,-14 0 16,27 0-16,-27 0 0,0 0 16,1 0-16,-1 0 15,-40 0 32,14 0-47,0 0 0,-14 14 16,14-14-16,0 0 0,-14 0 15,1 0-15,0 0 0,-54 13 16,41-13-16,12 13 0,1-13 16,-1 0-16,14 0 0,-14 13 15,-25-13 1,38 0-16,1 0 0,0 0 16,13 13-1,26-13 1,27-13-1,-26 13 1,-14 0-16,27 0 0,-14 0 0,-13 0 16,40-13-16,-26 13 0,-1 0 15,1 0-15,-1 0 0,0 0 16,1 0-16,-1-13 0,1 13 0,-1 0 16,1 0-16,26 0 0,-40 0 15,13 0-15,-12-13 0,12 13 16,14 0-16,-27 0 0,0 0 15,0 0-15,14 0 0,-14 0 0,0-14 16,1 14 0,-1 0-16,0 0 0,0 0 15,0 0-15,1 0 16,-1 0-16,13-13 16,-12 13-1,-1 0 16,0 0 1</inkml:trace>
  <inkml:trace contextRef="#ctx0" brushRef="#br0" timeOffset="26659.73">4789 10358 0,'13'27'31,"0"-27"-15,-13 13-16,14-13 15,-1 13-15,0-13 16,0 14 0,1-14-16,-1 13 15,0-13-15,0 13 16,0-13 0,-13 13-16,14-13 15,-1 14 1,0-14 15,-13 13-15,-13 13-1,13-13 1,-13-13-16,13 14 0,0-1 16,-14-13-16,14 13 0,-13 14 15,0-14 1,0 0-16,13 0 0,-13-13 15,13 13-15,-14 1 16,1-1-16,0-13 16</inkml:trace>
  <inkml:trace contextRef="#ctx0" brushRef="#br0" timeOffset="28452.84">6482 10292 0,'0'-13'0,"0"53"62,0-27-62,14 0 16,-14 14-16,13 79 16,-13-67-16,0 1 15,0 13-15,13-14 0,-13 1 0,0 0 16,0 13-16,0 26 15,0-26-15,0-13 0,0 26 16,0-40-16,0 14 0,0-14 0,0-12 16,0 12-16,0-13 0,-13 27 15,13-27-15,0 1 0,0-1 16,0 0-16,0 0 16,13-39 15,-13 13-31,0-1 0,0 1 15,0-13-15,0 12 0,0-12 16,0-1-16,0-12 0,0-41 16,0-12-16,0 39 0,0 13 15,0-52-15,-13 52 16,13 0-16,0-13 0,0 14 0,0-14 16,0 26-16,-13 1 0,13 13 15,0-14-15,0 14 16,0 0-16,0-1 0,0-12 0,-14 26 15,14-13-15,0 0 16,-13 39 0,13-13-16,0 0 15,0 40-15,0-26 0,0-1 16,13 67-16,-13-1 16,0-52-16,0 13 0,0 0 15,14 40-15,-14-40 16,0 39-16,0-52 0,0 13 15,0 26-15,13-13 16,-13-13-16,0-40 16,0 14-16,0-14 0,0 14 15,0-14-15,0 0 0,0 0 0,0 14 16,0-14-16,0 0 16,0 0-16,0 1 15,0-54 16,13 27-15,-13-1-16,0-12 0,0 0 0,0-1 16,0-13-16,0 1 0,0-14 15,0-27-15,0 41 0,0-54 16,0 53-16,-13 1 0,13 12 16,-13-26-16,13 27 15,0 13-15,-14-14 0,14 14 16,0 0-16,0-14 15,0 14 1,0 40 0,0 12-16,0-26 15,14 67-15,-14-40 16,0-1-16,0 54 0,0-54 16,0 14-16,0 27 15,0-41-15,0 14 0,0-26 0,0-1 16,0-12-16,0 12 15,13 14-15,-13-27 0,0 0 16,0 0-16,0 1 16</inkml:trace>
  <inkml:trace contextRef="#ctx0" brushRef="#br0" timeOffset="29414.82">6390 11443 0,'-14'0'0,"41"13"31,-27 1-31,26 25 16,-12-25-1,-14-1-15,13 13 0,0-12 16,-13 25-16,13-26 16,-13 1-16,14-1 0,-14 0 15,0 0-15,0 1 16,13-1-16,13-26 31,1-14-15,-14 14-1,-13-14-15,13 14 0,0 0 16,1 0-16,-1 0 0,0-14 0,0 14 16,-13 0-16,27-14 0,-14 14 15,-13 0-15,13 13 16,-13-14-16,13 1 0,1 13 15,-14-13-15,0 0 0,13 13 16,-13-13 0,13 13-1,-26 13 32,0 0-47,-1 27 16,1-27-1,0 13-15,13-12 0,-13-1 0,0 0 16,-1 0-16,14 14 0,-13-14 0,0 0 16,13 0-16,-13 1 15,-1-1-15,14 0 0,-13-13 0,0 13 16,13 1-16,-13-1 16,-1 0-1,1-13 16,0 0-15,13-13 0,0 0-1,0-1-15,0 1 0,0 0 16,-13 0-16,13-1 0,0 1 16,0 0-16,-13 13 0,13-26 15,-14 12-15,14 1 16,-13 0-16,13 0 15,-13-1 1,13 1 0,-13 13-1,26-13 1,0 13 0</inkml:trace>
  <inkml:trace contextRef="#ctx0" brushRef="#br0" timeOffset="30787.99">6694 11298 0,'13'0'16,"0"0"0,1 0-1,-1 0 1,13 0 0</inkml:trace>
  <inkml:trace contextRef="#ctx0" brushRef="#br0" timeOffset="30985.71">7078 11271 0,'13'0'31,"0"13"-15</inkml:trace>
  <inkml:trace contextRef="#ctx0" brushRef="#br0" timeOffset="31140.1">7369 11271 0,'13'0'31,"0"-13"-15,0 13-1</inkml:trace>
  <inkml:trace contextRef="#ctx0" brushRef="#br0" timeOffset="31268.69">7713 11258 0,'13'0'0,"0"-13"32</inkml:trace>
  <inkml:trace contextRef="#ctx0" brushRef="#br0" timeOffset="34257.69">10186 10200 0,'80'26'15,"-40"-13"-15,-1-13 0,14 27 0,0-14 16,13 0-16,14 14 0,-14-14 16,106 40-16,13-13 15,-93-14-15,-12-13 0,12 1 0,14-1 16,-13 0-16,26 0 16,79 0-16,14-13 0,26-13 15,-145 13-15,13 0 16,-14-13-16,1 0 0,-1 0 15,1-1-15,79-12 0,-93 13 16,-12-14-16,78 1 0,-39-27 16,0 13-16,-67 14 15,14-1-15,27-39 16,-54 40-16,14-14 0,26-40 16,-40 41-16,1-1 0,-1 14 15,1-54-15,-14 1 16,-26-14-16,0 40 15,-1 0-15,-25-52 0,-1 52 16,14 13-16,-14-13 0,-40-53 16,-12 0-16,-40 14 15,52 39-15,27 13 0,-26 14 16,0-14-16,-1 0 0,-92-13 16,93 27-16,-106-14 15,105 14-15,-12 13 0,-1-1 16,0 1-16,-105 0 0,92 13 15,14 0-15,-120 0 0,0 13 16,14-13-16,105 13 16,-13 1-16,-92-1 15,105-13-15,-79 26 16,93-12-16,-14-1 0,-79 13 16,0 1-16,93-14 0,0 13 15,-1-12-15,14-1 0,-13 13 16,13-12-16,-1 12 0,-65 27 15,40 0-15,39-27 0,-13 27 16,39-26-16,1 12 16,-27 54-16,39-14 15,1-39-15,13 53 16,0-1-16,13-52 16,14 66-16,-1-53 15,1 0-15,-14-14 0,53 54 16,14-14-16,-28-39 0,-12 0 15,79 26-15,-66-27 16,27-12-16,-14-1 0,106 14 16,-14 0-16,14-14 15,-13-13-15,-79 1 16,-28-14-16,54 0 0,-66 0 16,-14 13-16,1-13 0,13 0 15,-14 0-15,-13 0 16,0 0-16,1 0 0,-1 0 15,0 0-15,0 0 16,1 0-16,-1 0 0,0 0 16,0 0-1,1-13-15</inkml:trace>
  <inkml:trace contextRef="#ctx0" brushRef="#br0" timeOffset="37924.1">6734 9962 0,'39'0'0,"-25"0"0,-1 0 16,0 13-16,13-13 15,-12 0-15,12 0 0,1 13 0,-1-13 16,14 0-16,-14 0 0,1 13 0,12-13 16,-12 0-16,13 0 0,-14 0 15,14 13-15,-14-13 0,14-13 0,-14 13 16,14 0-16,-14 0 0,1-13 0,13 13 15,-14-13-15,0 13 0,1-13 16,-1 13-16,1-14 0,-1 1 16,-12 13-16,12-13 0,0 0 0,-12-1 0,-1 14 15,0-13-15,14 0 0,-14 0 16,0 13-16,0-14 0,1 1 16,-1 0-16,0 0 15,-13 0-15,13 13 0,-13-14 16,0 1-16,0 0 0,0 0 15,-13-1-15,13 1 0,-13-13 16,13 13-16,-13-1 0,13 1 16,-14-13-16,1 12 0,13 1 0,-13 0 15,-14-14-15,1 1 0,13 13 16,-1 0-16,-12-1 0,0-12 16,-1-1-16,1 14 0,-14 0 0,13-14 15,-39 1-15,40 13 16,-1 0-16,-12 13 0,12-14 0,-12 1 15,-1 13-15,0-13 0,1 13 16,-1-13-16,-26 13 0,26 0 16,14-14-16,-14 14 0,13 0 15,1 0-15,-14 0 0,14 0 0,13 0 16,-14 0-16,1 0 0,12 0 0,-12 0 16,13 0-16,-14 0 0,14 0 15,0 14-15,0-14 0,-1 13 0,1-13 16,0 13-16,0 0 0,-1 1 15,1-14-15,0 26 0,13-13 16,-13 14-16,0-14 0,-1 0 16,14 14-16,-13-14 0,13 0 0,0 14 15,-13-14-15,13 13 0,0-13 16,0 14-16,-13-14 0,13 0 0,0 27 16,0-27-16,0 14 15,0-14-15,13 27 0,0-14 16,0 1-16,-13-14 0,27 0 15,-1 13-15,1-12 16,12-1-16,-12 0 0,-1-13 16,14 13-16,-14 1 0,-12-14 15,-1 0-15,13 0 0,-12 0 16,12 13-16,-13-13 0,0 0 16,1 0-16,-1 13 15</inkml:trace>
  <inkml:trace contextRef="#ctx0" brushRef="#br0" timeOffset="39062.23">2990 9935 0,'26'0'16,"1"0"-16,-14 0 0,27 0 15,-14 0-15,80 0 0,-53 0 16,0 0-16,13 0 0,-13-13 0,13 13 15,-13 0-15,13 0 0,0-13 16,106-1 0,-119 14-16,-13-13 0,-1 13 0,14-13 15,-26 13-15,-1-13 0,1 13 0,-14-14 16,13 14-16,1-26 16,-14 13-16,0-14 0,1 14 15,-14 0-15,13 0 0,-13-14 0,0 14 16,-13-13-16,13-1 0,-14-13 15,1 14-15,0-14 0,0 14 16,-14-14-16,1 14 0,-1-14 0,-52-13 16,39 27-16,-39-27 15,39 26-15,0 14 0,-12 0 16,12 0-16,-13-1 0,0 14 0,-40-13 16,27 0-16,13 13 15,0 13-15,1-13 0,-15 13 0,1 1 16,13-1-16,-13 13 0,13 1 0,0-1 15,-13 1-15,13 12 0,0 1 16,-39 39-16,52-39 16,0 0-16,14-1 0,-1 14 0,1-13 0,0 0 15,12 26-15,1-27 16,13-12-16,0-1 0,13 27 16,-13-26-16,14-14 0,-14 13 15,13-12-15,0-1 0,-13 13 0,13-12 16,0-1-16,-13 0 15,14 0-15,-14 1 16,13-1 0,-26-13 15,13 13-15,-14-13-16,1 0 15</inkml:trace>
  <inkml:trace contextRef="#ctx0" brushRef="#br0" timeOffset="41324.5">3969 10517 0,'92'0'15,"-78"-13"-15,12 13 16,1 0-16,12 0 0,-12 0 0,12 0 15,1 0-15,39 0 0,-26 0 16,-13 0-16,0 0 0,-14 0 16,14 0-16,-14 0 0,1 0 0,-1 0 15,27 0-15,-40 0 16,1 0-16,-1 0 0,0-13 16,0 13-16,0 0 0,-52 0 46,-27 13-30,39-13-16,-12 0 0,12 0 0,-39 13 16,39-13-16,1 0 15,0 13-15,-1-13 0,14 0 16,-27 0-16,27 0 0,0 0 16,-1 0-1,54-13 1,-13 13-16,65 0 15,-52 0-15,13 0 16,-13-13-16,12 13 0,-12 0 0,39 0 16,-39 0-16,-13 0 15,-1 0-15,14 0 0,-27 0 16,0 0-16,0 0 0,1 0 0,-1 0 16,-53-13 15,27 26-31,-13-13 0,-94 0 15,81 0 1,-14 0-16,13 0 0,14 0 16,-14 0-16,14 0 0,-1 0 0,1 0 15,-1 0-15,14 0 0,0 0 16,-14 0-16,14 0 0,0 0 16,39 0 15,-12 0-31</inkml:trace>
  <inkml:trace contextRef="#ctx0" brushRef="#br0" timeOffset="41933.75">4696 10345 0,'-26'0'16,"52"13"-1,-12-13-15,-1 14 0,0-14 0,0 0 16,0 13-16,1 0 16,12-13-16,-13 13 0,1-13 0,-1 14 15,27-1-15,-27-13 0,0 0 16,0 13-16,0-13 0,1 0 16,-1 13-16,0-13 15,0 14-15,-26-1 31,0 13-15,0-13-16,-1 1 16,1-1-16,-13 0 0,13 0 0,-1 1 15,-25 12-15,25-13 0,1 0 16,0 1-16,13-1 16,-27 0-16,27 0 0,0 1 15</inkml:trace>
  <inkml:trace contextRef="#ctx0" brushRef="#br0" timeOffset="53317.48">6615 9829 0,'13'0'16,"0"-13"-16,0 13 0,1 0 15,-1 0-15,0 13 16,0-13-16,0 13 15,1 1-15,-14-1 16,-27 27 0,1-1-1,13-25-15,-1-1 16,-25 13-16,25-26 0,1 13 16,0 1-16,0-14 0,-1 0 15,1 13-15,0-13 16</inkml:trace>
  <inkml:trace contextRef="#ctx0" brushRef="#br0" timeOffset="54170.14">6668 11205 0,'26'13'32,"-26"1"-32</inkml:trace>
  <inkml:trace contextRef="#ctx0" brushRef="#br0" timeOffset="54332.65">7302 11271 0</inkml:trace>
  <inkml:trace contextRef="#ctx0" brushRef="#br0" timeOffset="63637.05">17515 8255 0,'14'26'31,"-14"-12"-31,0-1 0,0 40 16,13-27-16,-13 1 0,13 65 16,0-52-1,-13 0-15,14-1 0,-14-12 16,13-1-16,0 40 0,-13-39 0,13-1 16,-13 14-16,13-13 0,14 39 15,-14-40-15,0 1 0,14 26 16,-14-40-16,0 13 0,1-13 15,-1 1-15,0 12 0,13 1 16,-12-14-16,-1 0 0,27 27 16,-27-27-16,0-13 15,0 13-15,1 0 0,-1 1 0,0-1 16,0-13-16,14 13 0,-14 0 16,13 1-16,1-14 0,-14 13 0,14-13 15,-1 13-15,53 0 16,-26 0-16,-13-13 15,0 14-15,-1-14 0,14 13 16,-13 0-16,-14-13 0,14 0 16,-13 0-16,-1 13 0,14-13 15,-14 0-15,14 0 0,-14 14 0,40-14 16,-13 0-16,-13 0 0,-14 0 16,14 13-16,0-13 0,0 0 0,-14 0 15,53 13-15,1-13 16,-54 0-16,14 0 0,-14 0 15,14 0-15,0 0 0,-14 0 16,14 0-16,26 0 0,-13 0 16,-13 0-16,-1 0 0,-12 0 0,12 0 15,-12 0-15,13-13 0,-1 13 16,-12 0-16,12 0 0,-12-13 0,13 13 16,-1-14-16,1 14 0,0-13 0,-1 13 15,1-13-15,13 13 0,-13-13 16,-1-1-16,41 1 15,-41 13-15,14-13 0,-13 0 16,-14 13-16,1-13 0,-1-1 16,14 14-16,-27-13 0,40 0 15,13-14-15,-13 14 16,-26 0-16,-14 0 0,13 0 16,14-1-16,-13 1 0,-1 0 0,14 0 15,-1-1-15,41-25 16,-54 25-16,1 1 15,26 0-15,-14-13 16,1 12-16,-14 1 0,-12 0 0,52-14 16,-40 14-16,1 0 0,26-14 15,-27 27-15,1-13 16,-14 0-16,40-13 0,-40 12 16,27 1-16,13-13 15,-1-1-15,-25 14 16,-14 0-16,27-14 0,-14 14 15,1-13-15,26-1 0,-40 14 16,13 0-16,14-27 16,-27 40-16,27-27 0,-27 14 15,14-13-15,-14 26 16,13-27-16,1 14 16,-14 0-16,0 0 0,14-1 15,-14 14-15,0-13 16,0 13-16,14-13 0,-27 0 15,26 13-15,-12-13 0,-1 13 16,0-14-16,0 14 0,0-13 0,27 0 16,-27 13-16,1-13 0,-1 13 15,13-14-15,1 1 16,-1 0-16,-13 13 16,1-13-16,-1 13 0,0-14 15,0 14 1,1 0-1,-14-13-15,13 13 32,0-13-1,-39 13 250,-1 13-265,14-13-1,0 0-15,-27 13 16,27-13-16,-40 14 31,40-14-31,-1 13 0,1-13 0,0 0 16,0 0-16,-1 0 16,14 13-16,-13-13 0,0 0 15,0 0-15,0 0 16,-1 0-16,14 13 15,-13-13 1,0 0 0,39-13 31,1 0-32,-14 13-15,0 0 16,0-13-16,1 13 15,39-14-15,-40 14 16,0 0-16,0 0 0,0-13 0,1 13 16,-1 0-16,0 0 0,0-13 15,1 13-15,12 0 16,-13 0-16,1 0 16,-14-13-1,13 13-15,0 13 16,-13 0-1,13-13 1,-26 13-16,13 1 16,0-1-16,0 0 0,0 0 15,0 1-15,-13-1 0,13 0 16,-13 40-16,13-27 16,0-12-16,-14-1 0,14 0 15,0 0-15,0 1 16,-13-14-16,13 13 0,0 0 15,0 0 1,-13 0 0,0 1-16,-1-14 0,1 13 15,-13-13-15,-1 0 0,-12 13 0</inkml:trace>
  <inkml:trace contextRef="#ctx0" brushRef="#br0" timeOffset="64592.01">19513 9803 0,'26'0'0,"-12"-13"16,12 13-16,27-14 15,-26 14 1,-1 0-16,27-13 0,-40 13 16,0 0-16,1 0 0,-1 0 15,0 0-15,0 0 0,1 0 16,-1 0-16</inkml:trace>
  <inkml:trace contextRef="#ctx0" brushRef="#br0" timeOffset="64878.66">19487 9988 0,'52'-13'16,"-25"13"-16,-14-13 0,14 13 15,-1 0-15,-13-14 0,27 14 16,-14-13-16,1 13 0,-1 0 0,-12-13 16,12 13-16,1 0 0,-14 0 15,0 0-15,27-13 0,-27 13 16,0 0-16,0 0 15,1 0 1,-1 0-16,0 0 0,-13 13 16,13-13-1</inkml:trace>
  <inkml:trace contextRef="#ctx0" brushRef="#br0" timeOffset="65728.17">20981 9697 0,'-13'40'0,"13"-27"16,0 0-16,-13 0 0,13 1 0,0-1 0,0 0 15,0 0-15,0 0 0,0 1 16,0-1-16,0 0 0,0 0 15,13 1-15,-13-1 0,0 0 16,0 0-16,13 1 16,1-14 15,12-14-15,-13 1-16,14-13 0,-1 12 15,27-39-15,40-13 0,-54 40 16,14-14-16,0 14 0,53-40 15,26-1-15,-65 28 16,-1 12-16,-13 1 0,13-1 16,-13 1-16,0-1 0,-14 14 0,1 0 15,0 0-15,-14 0 0,-13-1 0,14 14 16,-14-13-16,0 13 0,1 0 16,-1-13-16,0 13 0,0-13 15,-39 39 16,13-13-31,-14 1 0,1 12 16,-54 40-16</inkml:trace>
  <inkml:trace contextRef="#ctx0" brushRef="#br0" timeOffset="66254.63">19434 10927 0,'39'-26'16,"-25"26"0,12-13-16,0 13 0,1 0 0,26-14 15,13 1-15,-26 13 16,-14-13-16,1 13 0,-1 0 0,1 0 0,-14-13 15,13 13-15,-13 0 0,1 0 16,-1 0-16,0 0 0,0 0 16,1 0-16,-14 13 0</inkml:trace>
  <inkml:trace contextRef="#ctx0" brushRef="#br0" timeOffset="66521.89">19381 11112 0,'0'0'16,"26"0"-1,-13 0-15,1 0 0,12-13 16,-13 13-16,14-13 16,-1 13-16,14-13 0,13 0 15,-27 13-15,1-14 0,-1 14 0,1-13 16,26 13-1,-27-13-15,1 0 0,-14 13 16,0 0-16,0-14 0,0 14 0,1 0 16,-1-13-16,0 13 15,-13-13-15</inkml:trace>
  <inkml:trace contextRef="#ctx0" brushRef="#br0" timeOffset="66824.11">19857 10544 0,'-79'79'0,"65"-53"16,-52 80-16,27-13 0,12-40 15,-13 39-15,-13 1 16,40-40-16,-13-13 16,-1 26-16,-12 13 0,25-52 15,1 26-15,0-27 16,0-13-16,13 14 16,-13-14-16,26-13 31,0-13-31</inkml:trace>
  <inkml:trace contextRef="#ctx0" brushRef="#br0" timeOffset="67268.82">21762 10411 0,'-53'27'16,"27"-1"-16,-1 1 15,1 12-15,-1 1 0,-12 13 0,-28 40 16,28-40-16,-1-1 0,0 1 16,-13 0-16,14 0 0,-1 0 15,0-13-15,14-1 0,-14 1 16,1 26-16,25-39 0,1-14 15,0 13-15,0-12 0,-1-1 0,1 0 16,0 0-16,0-26 16,13 0-1,-14 0-15,14-1 16</inkml:trace>
  <inkml:trace contextRef="#ctx0" brushRef="#br0" timeOffset="67588.14">20809 10491 0,'172'66'16,"-119"-40"-16,0 1 15,66 39-15,-53-40 0,1 1 16,12-1-16,-13 14 0,159 39 15,-159-52-15,0-1 16,53 27-16,0-13 16,-79-27-16,106 40 15,-133-40 1,13-13-16,-12 13 0,-1-13 0,0 14 16,0-14-16,1 13 15,-28-13 16</inkml:trace>
  <inkml:trace contextRef="#ctx0" brushRef="#br0" timeOffset="71264.03">11060 1839 0,'79'0'47,"93"-13"-32,106-14-15,66-26 0,-40 14 16,424 12 0,-437 27-1,0 0-15,-80 0 16,-12 0-16,-80 0 16,-66 0-16,-14 0 15</inkml:trace>
</inkml:ink>
</file>

<file path=ppt/ink/ink17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6:33:55.975"/>
    </inkml:context>
    <inkml:brush xml:id="br0">
      <inkml:brushProperty name="width" value="0.05292" units="cm"/>
      <inkml:brushProperty name="height" value="0.05292" units="cm"/>
      <inkml:brushProperty name="color" value="#0070C0"/>
    </inkml:brush>
  </inkml:definitions>
  <inkml:trace contextRef="#ctx0" brushRef="#br0">18389 1945 0,'-265'39'16,"212"-25"-16,13-14 0,1 13 0,-54 13 16,67-26-16,-1 0 15,14 14-15,-27-1 16,27 0-16,0-13 0,13 13 16,-13 0-16,13 1 0,0-1 0,0 13 15,0 1-15,13 52 0,0-26 16,-13 13-16,13 0 15,14 80-15,-14-67 0,-13 1 0,13 26 16,0-27-16,1 40 0,-14-13 16,0 13-16,0-13 0,0 13 15,0 0-15,-14 0 0,1-13 0,0 13 16,0-13-16,-1-1 0,1-25 0,0-1 16,0-13-16,0 0 0,13 1 15,-14-14-15,28-14 0,-14 14 0,0-13 16,13-1-16,0-12 0,0-1 15,27 14-15,-27-27 16,14 1-16,-1-1 0,1-13 0,-1 0 16,14 0-16,-1 0 0,14-13 0,13-1 15,1 1-15,65-27 0,-66 27 16,13-13-16,-12-1 0,12 14 16,0-13-16,-13-1 0,14-13 0,12 14 15,1-14-15</inkml:trace>
  <inkml:trace contextRef="#ctx0" brushRef="#br0" timeOffset="734.9">22199 1971 0,'158'-66'15,"-118"66"-15,26-26 0,-39 26 16,-14-14-16,13 14 0,-13-13 16,1 13-16,-1 0 0,0 0 0,0 0 15,1 0-15,-14 13 0,13 1 0,-13-1 16,13 13-16,-13 1 0,13 12 15,-13 1-15,14 0 0,-14 26 0,13-13 16,0 13-16,0 0 0,0 0 0,-13 14 16,14-1-16,-1-13 15,0 14-15,14 25 0,-14-38 0,13 12 16,14 106-16,-14-106 0,-12 1 0,-1-1 16,0 1-16,14-14 15,-14 13-15,0 0 0,-13-12 0,13 12 0,-13-13 16,14 0-16,-28-13 0,14-13 15,0 13-15,-13-13 0,0-1 16,-27 27-16,27-26 16,-14-14-16,14-12 0,0-1 0,-13 0 15,12 0-15,1-13 0,-13 0 0,-1 0 16,1-13-16,-14 0 0,0-14 16,-52-25-16</inkml:trace>
  <inkml:trace contextRef="#ctx0" brushRef="#br0" timeOffset="1343.44">18812 2262 0,'0'53'31,"0"-40"-31,0 1 0,0 12 16,0 0-16,0 1 0,0-1 15,13 27-15,-13-26 0,0-1 16,13-13-16,-13 14 0,14-1 0,-1-12 16,0-1-16,13 13 15,-12-12-15,12-1 0,1 0 0,-1-13 16</inkml:trace>
  <inkml:trace contextRef="#ctx0" brushRef="#br0" timeOffset="1683.15">20704 3029 0,'13'93'16,"0"-53"-16,0-1 15,-13-12-15,14 13 16,-1-27-16,-13 27 16,13-14-16</inkml:trace>
  <inkml:trace contextRef="#ctx0" brushRef="#br0" timeOffset="2005.22">21709 3717 0,'27'93'0,"-14"-67"0,0 1 16,-13 13-16,13-14 0,0 1 0,1-1 16,-1-13-16,0 14 0,-13-14 0,27 27 15,-14-27-15</inkml:trace>
  <inkml:trace contextRef="#ctx0" brushRef="#br0" timeOffset="2647.26">20466 2183 0,'-27'66'16,"27"-53"-16,40 80 0,-27-67 16,13 1-16,1-14 0,-14 13 0,14-12 15,12-1-15,-12-13 0,-1 0 16,1 0-16,-1 0 0,-13 0 15,14 0-15,-14-13 0,0-1 0,0 14 16,1-13-16,-14-27 16,0 27-16,0 0 0,-14 0 0,14-14 15,-13 14-15,-13-27 0,-1 27 16,14 0-16,0 0 0,-14-14 16,14 27-16,0-13 15,0 13-15,0-13 16</inkml:trace>
  <inkml:trace contextRef="#ctx0" brushRef="#br0" timeOffset="2967.29">21603 2196 0,'13'53'0,"-13"-27"0,0-12 16,27 65-16,-14-53 15,14 1-15,-1-14 0,14 0 16,-14 14-16,14-27 0,-14 13 0,-12-13 16,12 0-16,-13 0 0,27 0 15,-27 0-15,0-13 0,1 0 16,-14-1-16,0 1 0,0 0 15,0 0-15,-14-14 0,1 14 0,0-13 16,0 12-16,-14 1 0,14 0 0,-13 0 16,-1 13-16,1 0 15,-1 0-15,-26 0 0,14 13 0,-28 0 16,1 0-16</inkml:trace>
  <inkml:trace contextRef="#ctx0" brushRef="#br0" timeOffset="3484.46">19368 3268 0,'-53'119'0,"53"-106"16,26 27-16,-13-14 0,27-13 15,0 14-15,13-1 0,13-13 16,0 1-16,0-14 0,-13 0 0,0 0 0,0 0 16,-14 0-16,14-14 0,-26 1 15,12 0-15,-12 0 0,-1-14 16,-26 14-16,0-27 0,0 14 15,-13 13-15,0-27 0,0 14 0,-14-1 16,1 14-16,13-14 16,-14 14-16,14 0 0,0 0 0,-1 13 15,14-14-15,-13 14 0,40 0 32</inkml:trace>
  <inkml:trace contextRef="#ctx0" brushRef="#br0" timeOffset="3837.58">21564 3029 0,'-40'106'16,"40"-92"-16,0-1 0,26 26 16,-12-25-16,-1-1 0,0 0 15,0-13-15,14 0 0,-14 0 16,0 0-16,0 0 0,1 0 0,-1 0 16,0-13-16,0 0 0,-13-1 15,14-12-15,-14 13 0,0 0 16,-14-14-16,14 14 0,-13-14 15,0 1-15,13 13 0,-13-1 0,-14-12 16,1 13-16,-27 13 16,13 13-16,0 0 0,-13 14 15,-13-1-15,0 14 0,0-14 16,-13 27-16</inkml:trace>
  <inkml:trace contextRef="#ctx0" brushRef="#br0" timeOffset="4266.38">19817 4128 0,'14'79'0,"-1"-79"16,0 13-16,13 0 0,-12 1 0,25-14 15,14 13-15,-40-13 16,14-13-16,-14 13 0,14-14 15,-14 14-15,0-13 0,0 0 0,-13 0 16,14-1-16,-14 1 0,0 0 0,-14-40 16,1 40-1,0 0-15,0-1 0,-1 14 16,-12-13-16,13 0 0,-1 13 0,1 0 16,0 0-16,0 0 15,0 0-15</inkml:trace>
  <inkml:trace contextRef="#ctx0" brushRef="#br0" timeOffset="4551.14">20585 3903 0,'0'53'0,"0"-40"0,13 0 16,-13 0-16,13 14 0,14-1 15,12 14-15,1-27 16,0-13-16,26 27 16,-40-27-16,1 0 0,12 0 15,-12-14-15,-1 14 0,1-13 0,26-40 16,-53 40 0,0 0-16,0-14 0,-14 14 15,1 0-15,-13-14 0,12 14 16,-65-13-16,53 12 0,-14 14 0,0 0 15,-13 0-15,0 0 0,14 0 16,-14 14-16,0-14 0,0 13 0</inkml:trace>
  <inkml:trace contextRef="#ctx0" brushRef="#br0" timeOffset="9402.86">9168 12488 0,'79'0'0,"-52"14"0,12-14 16,14 13-16,40 0 15,-27-13-15,0 13 0,0 0 0,0 1 16,1-1-16,12 0 0,-13 0 0,13 1 16,-12-1-16,12-13 0,14 13 15,-14 0-15,14-13 0,-14 14 0,14-14 16,-1 0-16,1 0 0,-1 0 0,1 0 16,0 0-16,-1 0 0,93-14 15,-105 14-15,12-13 0,1 0 16,0 13-16,-14-13 0,14-1 15,-14 1-15,14-13 0,-14 12 0,159-52 16,-159 53 0,1-13-16,-1-1 0,-13 14 0,0-14 15,1 1-15,-14 0 0,-1 12 0,15-12 16,12-1-16,-39 14 16,-1-13-16,-12 13 0,12-1 0,-12 1 15,-1 0-15,1 0 0,-14-1 0,0 14 16,1-13-16,-1 0 0,0 0 15,0-14-15,0 14 16,-13 0-16,0 0 0,-13-14 0,13 14 0,-13-14 16,0 1-16,-14-1 15,14 1-15,-13 0 0,12-1 0,1 1 16,-13-1-16,12 1 0,-12-1 0,0 1 16,12-1-16,-12 1 0,-67-53 15,40 26 1,14 26-16,-1 1 0,-13 12 0,13-12 15,-13 0-15,1 12 0,-1 1 16,0 0-16,-13 0 0,-1-1 0,14 1 16,-26 0-16,26 13 0,-13-13 0,13-1 15,-13 14-15,13-13 0,-13 13 0,0-13 16,13 13-16,0-13 0,-13 13 16,0-13-16,0 13 0,-80-14 15,14 1-15,52 13 16,14-13-16,-13 13 0,13 0 15,-14-13-15,1 13 0,0 0 0,-1 0 16,14 0-16,-13 0 0,13 0 0,13 0 16,-27 0-16,1 0 0,-1 13 15,14 0-15,0-13 0,-13 27 0,-54 12 16,67-26-16,0 14 0,0 13 16,0-14-16,0 1 15,0 12-15,-1 1 0,15 13 0,-15 0 0,15 0 16,-1 0-16,13 0 0,0-1 15,1 1-15,12 13 0,1-13 0,-1 14 16,1-15-16,12 15 0,14-28 16,0 14-16,0-13 0,14 0 0,12 12 15,14-12-15,52 40 0,-39-54 16,14 0-16,-1 1 0,13-14 16,0 0-16,80 1 0,-66-14 15,-14 0-15,0 13 0,1-13 0,-1 0 16,-13 13-16,1-13 0,-1 13 15,-27 1-15</inkml:trace>
  <inkml:trace contextRef="#ctx0" brushRef="#br0" timeOffset="9966.45">10623 13031 0,'-119'-53'15,"79"26"-15,-92-12 0,79 12 16,-13 14-16,0 0 0,13 0 16,-13-1-16,0 1 0,13 0 0,-14 13 15,-65 13-15,53 0 16,-1 1-16,1-1 0,-14 13 0,14 1 16,-199 92-16,199-80 15,-14 14-15,14 13 0,0-13 16,-1 14-16,14-15 0,13 15 15,0-14-15,14-1 0,-67 107 16,79-93-16,14-13 16,-13 0-16,26-13 0,0 13 0,0 0 15,13 0-15,13 0 0,1-1 0,12 1 16,1 0-16</inkml:trace>
  <inkml:trace contextRef="#ctx0" brushRef="#br0" timeOffset="10610.3">8374 14274 0,'5093'-79'0,"-5079"66"0,-1-14 16,0 14-16,0-13 0,0-14 15,-13 13-15,0 1 16,0 13-16,0-14 0,-13-12 0,0 12 16,-27-39-16,27 26 0,-53-26 15,39 40-15,-39-41 16,27 28-16,12 12 0,-13 1 16,1-14-16,12 27 0,-26-27 0,14 14 15,-54-27-15,40 40 0,14-14 16,-14 1-16,0-1 0,0 14 15,0-13-15,0 12 0,0-12 0,0 13 16,-13-1-16,-53-12 16,53 13-16,13 0 0,-13-1 0,0 14 15,-1-13-15,1 0 0,0 13 0,0-13 16,0-1-16,-14 1 0,14 0 16,0 13-16,-13-13 0,13 0 0,-14 13 15,1-14-15,-1 14 16,1-13-16,0 13 0,-1 0 0,1-13 0,0 13 15,-159 13-15,158 0 16,1-13-16,-14 14 0,14-1 16,13-13-16,-14 13 0,14 0 0,0-13 15,13 13-15,0-13 0,0 14 0,14-14 16,-1 0-16,0 13 0,14-13 16,12 0-16,1 0 0</inkml:trace>
  <inkml:trace contextRef="#ctx0" brushRef="#br0" timeOffset="12200.01">15584 6403 0,'-212'53'0,"173"-53"16,12 13-16,-13 0 0,27 1 16,-13-1-16,13 0 15,-1 0-15,14 14 0,-13-14 0,13 27 16,0-14-16,0 1 0,0-1 16,0 14-16,0-1 0,13 1 15,-13 0-15,0-1 0,14 1 0,-14 0 16,13-1-16,0 1 0,-13 0 15,13 0-15,-13-1 0,0 1 0,13-14 16,-13 27-16,0-26 0,0-1 16,0 1-16,0-1 0,0 1 15,0-14-15,14 0 0,-14 13 16,0-12-16,0-1 0,0 0 0,13-13 0,-13 13 16,13 1-16,-13-1 0,13-13 15,1 13-15,-1-13 0,0 13 16,0-13-16,1 0 0,12 0 0,-13 0 15,0 0-15,14 0 0,-14 0 16,14 0-16,-1 0 0,1-13 0,-14 0 16,13 13-16,1-13 0,-14-1 15,0 1-15,0 0 0</inkml:trace>
  <inkml:trace contextRef="#ctx0" brushRef="#br0" timeOffset="12803.49">15901 6522 0,'93'0'16,"-93"13"-16,13-13 0,1 40 15,-14-27-15,0 0 16,-14 1-16,14-1 0,-13 13 15,13-12-15,-13-1 0,0 0 0,13 0 16,-14 0-16,1 1 0,13-1 0,-13-13 16,13 13-16,-13 0 0,39-13 47,14-13-32,-27 13-15,14 0 0,-14-13 16,13 13-16,1-13 0,-1 13 0,40-27 15,-39 27 1,-14-13-16,13 13 0,-12-13 0,-1 13 16</inkml:trace>
  <inkml:trace contextRef="#ctx0" brushRef="#br0" timeOffset="13274.28">16748 6337 0,'93'39'15,"-93"-25"-15,0-1 16,0 0-16,-13 0 0,-1 14 16,14-14-16,0 0 0,-13-13 15,13 14-15,0-1 16,13 0-16,14-13 15,-1 13 1,-13 0 0,1 14-1,-14-14-15,0 0 16,-14-13-16,14 14 0,-13-1 16,-26 13-1,25-12-15,-25 25 16,25-39-1</inkml:trace>
  <inkml:trace contextRef="#ctx0" brushRef="#br0" timeOffset="13770.45">16272 7210 0,'-40'26'16,"27"-26"-16,-53 53 15,39-40-15,14 1 0,-13 12 16,26-13-16,-27 1 15,27-1-15,0 0 16,0 0-16,13 1 16,1-14-16,-1 0 15,0 0-15,14 0 0,-14 13 16,26-26-16,-12 13 0,-1 0 0,-12 0 16,12 0-16,-13-14 0,1 1 15,12 13-15,0-13 16,-26 0-16,0-1 15</inkml:trace>
  <inkml:trace contextRef="#ctx0" brushRef="#br0" timeOffset="13965.1">16338 7236 0,'0'-13'0,"0"26"0,-13-13 31,26 40-31,-13-27 16,0 0-16,0 1 0,0 12 0,0-13 15,13 14-15,-13-14 0,0 14 16,0-1-16,13-13 0,-13 0 16,0 1-16,0-1 0,14 0 15</inkml:trace>
  <inkml:trace contextRef="#ctx0" brushRef="#br0" timeOffset="14319.02">16907 7170 0,'-27'0'0,"14"0"0,-13 13 16,-1 1-16,14-1 0,0-13 15,-14 26-15,14-12 16,13-1-16,0 0 16,13 0-1,1-13-15,-1 13 0,0 1 16,0-14-16,1 13 0,12 13 31,-26-12-31,-13-1 0,13 0 16,-13-13-16,13 13 15,-14-13-15,1 14 0,-13-14 16,12 0-16,1-14 16,0 1-16,0 0 0,13 0 0</inkml:trace>
  <inkml:trace contextRef="#ctx0" brushRef="#br0" timeOffset="14889.15">16867 6085 0,'80'-13'16,"-67"13"-16,13 0 0,-13 0 0,67 13 31,-67 1-31,14-14 16,-1 13-16,-13 0 0,-13 0 15,13 1-15,1 25 16,-1 14-16,0-26 16,0 39-16,-13-27 0,0 1 15,14 13-15,-1 0 0,0 0 16,0 0-16,14 0 0,-1 39 16,1-39-16,-14-13 0,0 0 0,14 13 15,-14-14-15,13 27 16,-13 1-16,1-41 0,-14 0 15,0 1-15,0-1 0,0 1 16,0-14-16,-14 13 0,-12 27 0,13-26 16,0-14-16,-1 0 0,1 14 15,-13-27-15,12 13 0,-38 0 16,25 0 0,14-13-16,0 0 0,-1 0 0,1 0 0,-13-13 15,12 13-15,1-13 16,0 0-16</inkml:trace>
  <inkml:trace contextRef="#ctx0" brushRef="#br0" timeOffset="15124.1">17873 6601 0,'-40'53'15,"40"-26"-15,-13-1 0,-1-13 0,1 14 0,0 13 16,0-27-16,0 13 0,13 1 16,-14-14-16,1 0 0,0 0 15,0 1-15,13-1 0</inkml:trace>
  <inkml:trace contextRef="#ctx0" brushRef="#br0" timeOffset="15320.33">17595 6694 0,'39'13'0,"-25"-13"0,12 13 15,1-13-15,-1 14 0,1-1 16,12 0-16,-12-13 0,12 13 15,-12 1-15,13-1 0,-1 0 16,-39 0-16,13 0 16,1-13-16,-14 14 0</inkml:trace>
  <inkml:trace contextRef="#ctx0" brushRef="#br0" timeOffset="15972.04">18561 5874 0,'-172'79'0,"158"-79"0,-25 79 16,39-65-16,0-1 16,0 13-16,13-12 15,0 25-15,0-12 0,1 12 0,12-12 0,-13 13 16,0-1-16,1 1 0,-1 13 15,0-13-15,0 13 0,1-14 0,-14 1 16,13 13-16,0-13 0,0 92 16,-13-79-16,0-14 15,0 1-15,0 13 0,0-13 16,0-1-16,0-12 0,14 13 0,-14-14 16,0 0-16,13 27 0,-13-39 15,13 12-15,-13-13 0,26 14 16,-12-14-16,-1-13 15,27 13-15,-27-26 0,13 13 16,1 0-16,-1-13 0,1 13 0,-1-14 16,-13 1-16,14 0 0,-1 0 15,-13 0-15,14-14 0,-1 1 16,-26 12-16,14-12 0</inkml:trace>
  <inkml:trace contextRef="#ctx0" brushRef="#br0" timeOffset="16296.78">18944 6178 0,'0'79'0,"0"-65"0,0 12 15,0-13-15,13 1 0,-13 12 0,0-13 16,14 14-16,-14-14 0,13 0 15,-13 0-15,13 14 0,0-14 0,1 0 16,-1-13-16</inkml:trace>
  <inkml:trace contextRef="#ctx0" brushRef="#br0" timeOffset="16826.9">19698 6032 0,'-26'67'16,"26"-54"-16,0 13 0,0-12 15,0 12-15,13-13 0,0 14 16,0-14-16,14 13 16,13 1-16,-27-14 0,13-13 0,-12 13 15,-1-13-15,0 0 0,0 0 16,0 0-16,1-13 0,-1 13 16,-13-13-16,13 13 0,-13-13 0,0-1 0,-13 1 15,13 0-15,-13 0 16,-1-14-16,-12 1 0,0-1 0,12 1 15,-12 13-15,-1-14 0,14 27 0,0 0 16,13-13-16,-27 26 0,14-13 16,0 13-16,-27 54 15,14-41-15</inkml:trace>
  <inkml:trace contextRef="#ctx0" brushRef="#br0" timeOffset="17251.33">19196 6972 0,'13'39'0,"-13"-25"0,0-1 0,0 0 16,13 0-16,-13 1 0,0-1 0,13 13 16,-13-12-16,13-1 15,1 13-15,-1-26 0</inkml:trace>
  <inkml:trace contextRef="#ctx0" brushRef="#br0" timeOffset="17581.5">19711 6932 0,'-26'66'16,"26"-53"-16,0 1 0,13-1 16,0 0-16,1 0 0,-1 1 0,0-14 15,14 13-15,-14-13 0,13 0 16,1-13-16,-14 13 0,0 0 16,14-14-16,-14 1 0,-13 0 15,0 0-15,0-1 16,-13 1-16,-1 0 0,1 0 0,0 0 15,0-1-15,0 1 0,-1 13 0,1-13 16,-13 0-16,12 13 16,1-14-16,0 14 0,13-13 0,-13 13 15,-1 0-15,1-13 0</inkml:trace>
  <inkml:trace contextRef="#ctx0" brushRef="#br0" timeOffset="18237.72">19751 5583 0,'66'0'16,"-39"-14"-16,-14 14 0,27 0 15,-27 0-15,27 0 16,-27 0-16,0 0 0,0 0 16,0 14-16,1-14 0,-14 13 0,13-13 15,-13 26-15,13-12 16,-13 12-16,13-13 0,-13 27 0,14 0 0,-14-1 15,0 1-15,26 66 0,-26-53 16,13 13-16,1-13 16,-1 0-16,0 13 0,0-13 0,14 13 15,-14-13-15,13 0 0,-12 13 0,12-13 0,1 0 16,-1 0-16,-13 0 0,14 0 16,-14-1-16,13 1 0,-12-13 15,-1 0-15,0-1 0,0 14 16,-13-26-16,0-1 0,0 1 15,-26 39-15,-1-40 0,14 1 16,-13-1-16,12-13 0,-12 1 0,0-1 16,-1 0-16,1-13 0,12 0 15,1 0-15,0-13 0,-14 13 16,14-13-16,0-1 0,0 1 16,13 0-16,-13-13 0</inkml:trace>
  <inkml:trace contextRef="#ctx0" brushRef="#br0" timeOffset="18531.3">20730 6297 0,'53'-13'0,"-27"13"0,27-13 15,-26-1-15,-14 14 16,0 0-16,1 0 0,-1 0 0,0 0 15,0 0-15</inkml:trace>
  <inkml:trace contextRef="#ctx0" brushRef="#br0" timeOffset="18703.64">20849 6509 0,'40'0'16,"66"-27"-1,-93 14-15</inkml:trace>
  <inkml:trace contextRef="#ctx0" brushRef="#br0" timeOffset="22203.28">19738 6839 0,'13'40'16,"0"0"0,-13-27-16,0 14 0,14-1 15,-14-13-15,13 14 0,-13-1 0,26 1 16,-26-14-16,14 13 15,-1-12-15,-13-1 0,0 0 16,13-13-16,-26-26 31,0-27-15,13 26-16,-14 1 16,14-1-16,-13 1 0,13 13 15,-13-14-15,0 1 0,13 12 0,0 1 16,0 0-16,-14 13 0,14 26 31,0-12-31,0 12 16,0 1-16,0-1 0,14-13 0,-14 14 15,0 12-15,13-25 16,-13-1-16,0 0 0,0 0 16,0 1-16,-13-41 31,13 1-16,-14 12-15,1-12 0,13-14 0,-13 14 16,0-14-16,13 14 0,-14 12 0,14-12 16,-13 13-16,13-1 0,0 1 15,0 40 1,0 12 0,13-12-16,-13-1 0,14 14 15,-14 0-15,13-14 0,-13 1 0,13-1 16,-13-13-16,13 14 0,-13-14 0,0 0 15,0 0-15,14 1 16,-14-1-16,0-53 31,-14 27-31,14-13 0,0-1 16,-13 1-16,0-14 0,13 0 16,-13 14-16,13-1 0,-14 1 0,14 13 0,0-1 15,0 1-15,-13 13 16,13-13-16,-13 39 15,13-12 1,0 12 0,0-13-16,0 1 0,0-1 15,0 0-15,13 0 0,-13 0 0</inkml:trace>
  <inkml:trace contextRef="#ctx0" brushRef="#br0" timeOffset="23291.18">19262 7051 0,'0'-13'0,"0"39"32,13-12-17,-13-1-15,0 0 0,13 14 16,14 12 0,-14-39-16,0 13 0,0 1 15,1-14-15,-14 13 16,13-13-16,0 0 0,0 0 15,27 0 1,-40-13-16,13 13 0,-13-14 16,13-12-1,-13 13-15,0 0 0,0-1 16,-13 1-16,13-13 0,-13 12 16,13 1-16,0-13 0,-13 12 15,-1 1-15,1 0 0,0 0 16,13 0-16,-13 13 0,0-14 15,-1 1-15,1 13 0,0 0 16,13-13-16,-13 13 0,-1 0 0,1 0 16,-13 0-16,12 0 15,-12 13 1,13-13 0,13 13-16,-13 1 0,-1 12 15,14-13 1,0 0-16,0 14 15,0-14-15,0 0 0,0 1 0,0-1 16,14-13-16,-14 13 0,13 14 16,0-14-16,-13 0 15,13-13-15,-13 13 0,13 0 0,1-13 16,-14 14-16,13-14 0,0 13 0,0-13 16,-13 13-16,27-13 15,-14 13 1,0-13-16,1 0 15,-1 0-15,0-13 16,0 0 15,-26 0-15,13-14 0,0 14-16,-13 13 0,13-13 15,-13 0 1,13-1-1,13 1 1</inkml:trace>
  <inkml:trace contextRef="#ctx0" brushRef="#br0" timeOffset="24604.4">19897 6919 0,'-14'13'0,"14"0"16,0 1-16,-13-14 0,13 26 15,0 0-15,0 1 0,0-14 16,0 0-16,0 1 0,0-1 0,0 13 16,0-12-16,0 12 15,0-13-15,0 0 16,-13-39 31,0-27-32,0 40-15,-1-14 0,1-12 0,0 12 16,0 14-16,-1-13 0,1 12 16,0 1-16,13-13 0,-13 26 15,13-14-15,-14 1 0,14 0 16,-13 39 0,26-12-1,-13 12-15,14-13 0,-1 93 16,0-93-1,0 54-15,1-54 16,-14 13-16,0-13 0,13-13 16,-13 14-16,0-1 0,13 0 0,-13-39 47,0-14-32,0 14-15,0-1 0,0 1 0,0-1 16,0 1-16,-13-1 0,13 14 15,0-27-15,0 27 0,0 0 16,-13 13-16,13-13 0,13 39 31,-13 1-31,0-14 0,0 40 16,13-27-16,-13-13 0,0 14 16,13-1-16,-13-12 15,0 12-15,14-13 0,-14 0 0,0 1 16,0-1-16,13-13 0,-13 13 0,0-39 47,0-1-47,0 14 0,0-13 0,-13-1 15,13 1-15,-14-67 16,14 80-16,0 0 16,0-1-16,-13 1 0,13 0 0,0 53 31,0-27-31,0 53 15,13-40-15,-13 1 16,0-1-16,0-12 0,14-1 0,-14 26 16,0-25-16,13-14 15,-13 13-15,0 0 0,13-26 32,-13 0-32,0-1 15,0-12-15,0 13 0,0 0 0,0-14 16,0 14-16,0-14 0,0 14 15,0 40 17,0-1-32,0-13 0,-13 14 15,13-1-15,0 1 0,0-1 16,0 27-16,13-40 16,-13 14-16,0-14 0,0 0 0,13 0 0,-13 1 15,0-1-15,0 0 16,27-39-1,-27 12 1,0 1-16,0 0 0,0 0 16,-14-1-16,14 1 15,-13-13-15,0 26 0,0-13 0,0 13 16,-14-14-16,14 14 16,-14 0-16</inkml:trace>
  <inkml:trace contextRef="#ctx0" brushRef="#br0" timeOffset="27927.95">19103 6416 0,'13'0'16</inkml:trace>
  <inkml:trace contextRef="#ctx0" brushRef="#br0" timeOffset="29264.2">21471 6019 0,'13'-13'16,"14"0"0,-14 0-16,0 13 0,14 13 15,-1 13 1,-26 1 0,-26 26-1,12-40-15,1 0 0,0 14 0,0-14 0,13 0 16,-14 0-16,1-13 0,13 13 15,-13 14 1,13-14 0,13-13-16,0 0 15,27 0 1,-27-13-16,1 13 0,-1 0 0,0 0 16,0-13-16,14 13 0,-14 0 15,0-14-15,0 14 0,1 0 0,-1 0 16,0-13-16</inkml:trace>
  <inkml:trace contextRef="#ctx0" brushRef="#br0" timeOffset="30784.29">22675 5887 0,'39'0'16,"-25"0"-16,-1 13 31,-13 0-31,0 1 0,0-1 0,0 0 16,0 14-1,13-27 1,0 13-16,1 0 0,-1-13 16,0 13-16,0-13 0,-13 13 15,14-13-15,-14 14 0,13-14 0,-13 13 16,0 13-16,-13-26 16,13 14-16,-14-1 0,1 0 15,0 0-15,-14 14 0,14-14 16,-13 0-16,12 0 0,-12-13 15,13 14-15,-14-1 0</inkml:trace>
  <inkml:trace contextRef="#ctx0" brushRef="#br0" timeOffset="31536.06">22013 6800 0,'-39'13'0,"-1"27"16,14-40 0,12 13-16,-25 13 15,25 1-15,1-14 0,0 0 0,0-13 16,13 14-16,-14-1 0,14 0 15,-13 0-15,13 0 0,13 1 16,1-1-16,-1 0 16,0-13-16,0 0 0,1 13 15,12-13-15,-13 0 0,1 0 0,-1 0 16,0-13-16,0 13 0,14-13 16,-1-14-1,1-12-15,-27 26 0,0-1 16,0 1-16,13 0 0,-13 0 15,0-1 1,0 1-16,0 0 0,0 53 31,0-27-31,0 0 16,0 0-16,13 27 16,-13 13-1,13-27-15,-13-12 0,0 12 0,0-13 16,13 1-16,1 12 0,-1-13 15,-13 0-15,13-13 0</inkml:trace>
  <inkml:trace contextRef="#ctx0" brushRef="#br0" timeOffset="31835.97">22701 6813 0,'-79'40'16,"79"-27"-16,13 0 0,0 27 31,1-27-31,-1 14 0,0-1 16,0-13-16,-13 0 15,0 1-15,0-1 0,-26 13 16,13-12-16,-1-14 0,-12 13 16,-40 13-16,39-26 0,1 0 15,-54 0-15,28 0 16</inkml:trace>
  <inkml:trace contextRef="#ctx0" brushRef="#br0" timeOffset="32317.04">21550 5794 0,'-66'0'0,"53"0"16,92 0-16,-198 40 0,80 0 15,-1 13-15,27-14 16,-1 41-16,14-27 16,0 52-16,0-38 0,14 158 15,-1-159-15,0 13 16,0 0-16,1-12 0,38 144 16,-25-65-1,-1-80-15,1 40 16,-14-53-16,14 26 15,-1-26-15,-13-27 0,0 1 16,27-14-16,0-13 16,0-26-16</inkml:trace>
  <inkml:trace contextRef="#ctx0" brushRef="#br0" timeOffset="32739.26">22767 5530 0,'80'-13'16,"-41"13"-16,14 13 16,-13 0-16,13 40 15,-27-27-15,14 54 16,-27-14-16,14 53 0,-14-40 16,0 67-16,1-54 0,-1 67 15,0-79-15,-13-1 16,13-13-16,0 93 0,1-93 15,-1 66-15,0-66 0,-13-13 16,13 53-16,-13-53 16,14-13-16,-14 13 0,0-14 0,0-12 15,13-1-15,-13 1 0,-13 26 16,13-27-16,-14-13 0,1 1 16</inkml:trace>
  <inkml:trace contextRef="#ctx0" brushRef="#br0" timeOffset="34243.28">13454 12541 0,'93'-26'0,"-54"13"0,1-1 0,26-12 16,53-1-16,-66 1 15,13 13-15,0-14 0,1 14 0,-14 0 16,66-27-16,-66 40 0,-1-13 16,-12 13-16,39-13 15</inkml:trace>
  <inkml:trace contextRef="#ctx0" brushRef="#br0" timeOffset="34422.23">14698 12449 0,'79'-27'16,"-158"54"-16,184-67 0,-65 27 0,0-14 15,13 1-15,0-1 0,13-12 16,0 12-16,13-26 0</inkml:trace>
  <inkml:trace contextRef="#ctx0" brushRef="#br0" timeOffset="34880.73">18415 8057 0,'119'-27'0,"-238"54"16,304-80-16,-79 26 0,13 1 0,0-14 15,0 14-15,14-14 0,144-26 16,-12 0-16,-133 39 0,0-13 16,1 14-16,-14 0 0,145-54 15,-197 67-15</inkml:trace>
  <inkml:trace contextRef="#ctx0" brushRef="#br0" timeOffset="35019.98">19883 7977 0,'-79'40'0,"66"-27"0,0 0 16,13 1-16,0-1 0,13-13 16,13 13-16,14-13 0,26-13 15,13 0-15,41-1 0,-1-25 16,0 12-16,13-12 0,14-14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6.713"/>
    </inkml:context>
    <inkml:brush xml:id="br0">
      <inkml:brushProperty name="width" value="0.025" units="cm"/>
      <inkml:brushProperty name="height" value="0.025" units="cm"/>
      <inkml:brushProperty name="ignorePressure" value="1"/>
    </inkml:brush>
  </inkml:definitions>
  <inkml:trace contextRef="#ctx0" brushRef="#br0">55 1,'47'0,"-41"0,-31 0,19 1,-1 0,1 0,-1 1,1-1,-1 2,1-1,-8 5,12-6,0 0,1-1,-1 1,1 1,-1-1,1 0,0 0,-1 0,1 1,0-1,0 1,0-1,0 1,-1 1,2-2,0 0,0 0,0 0,0 0,0 0,0 0,0 0,0 0,0 0,0 0,1 0,-1 0,0 0,1 0,-1 0,1 0,-1 0,1 0,0-1,-1 1,1 0,0 0,-1 0,1-1,0 1,0-1,1 2,38 16,-35-17,0 1,-1-1,1 1,0 0,-1 1,0-1,1 1,4 3,-9-5,1 1,0-1,0 0,-1 1,1-1,-1 0,1 1,-1-1,0 1,1-1,-1 1,0-1,0 0,0 1,0-1,0 1,0-1,-1 1,1-1,0 1,-1-1,1 0,-1 1,0-1,1 0,-1 1,0-1,0 0,0 0,0 0,0 1,0-1,-1 1,-1 2,0-1,0 1,-1-1,1 1,-1-1,0 0,0-1,0 1,0-1,0 1,0-1,-1-1,1 1,-1 0,1-1,-1 0,-5 0,-6 1</inkml:trace>
</inkml:ink>
</file>

<file path=ppt/ink/ink18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6:34:41.453"/>
    </inkml:context>
    <inkml:brush xml:id="br0">
      <inkml:brushProperty name="width" value="0.05292" units="cm"/>
      <inkml:brushProperty name="height" value="0.05292" units="cm"/>
      <inkml:brushProperty name="color" value="#0070C0"/>
    </inkml:brush>
  </inkml:definitions>
  <inkml:trace contextRef="#ctx0" brushRef="#br0">10306 2170 0,'66'-27'15,"-53"27"-15,13 0 0,-12 0 0,-1 0 0,13 0 16,40 13-1,-66 1-15,14-1 0,-14 0 16,0 27 0,-40 13-16,27-27 0,-27 14 15,27-14-15,-14-13 16,14 1-16,-27 12 16,27-13-16,0-13 0,0 14 15,0-1 1,39-13-1,27 0 1,-40-13 0,119-14-1,-105 27-15,13-13 0,-14 0 16,27-1 0,-27 1-16,1 13 0</inkml:trace>
  <inkml:trace contextRef="#ctx0" brushRef="#br0" timeOffset="204.94">11337 2090 0,'0'13'0,"-13"27"16,-13-13-1,12-1-15,1-13 0,-13 14 0,13-1 0,-40 40 16,26-52-1,14-1-15,-27 26 16,27-25-16,0-14 0,0 13 16</inkml:trace>
  <inkml:trace contextRef="#ctx0" brushRef="#br0" timeOffset="389.44">10993 2222 0,'14'14'16,"-1"-14"-16,27 26 16,-14-13-16,14 14 15,-27-14-15,13-13 16,14 13-16,-13 1 16,12-14-16,-12 0 15</inkml:trace>
  <inkml:trace contextRef="#ctx0" brushRef="#br0" timeOffset="737.18">11867 2064 0,'-53'13'15,"39"0"-15,-12 0 16,0 1-16,12-1 16,1 0-16,0 0 0,0 1 15,13-1-15,13 0 16,0-13 0,0-13-1,1 13-15,-14 13 16,13-13-16,0 0 0,13 26 15,-12-26 1,-1 27-16,0-14 16,14 0-1,-14 1-15,0-1 0,13-13 16</inkml:trace>
  <inkml:trace contextRef="#ctx0" brushRef="#br0" timeOffset="1114.13">13494 1998 0,'13'-14'15,"0"14"-15,27 0 16,0-13-16,-27 13 0,13 0 16,-13 0-16,54 0 15,-54 0-15,13 13 16</inkml:trace>
  <inkml:trace contextRef="#ctx0" brushRef="#br0" timeOffset="1284.83">13560 2183 0,'26'0'0,"-12"0"16,25 0 0,-12 0-16,-1-13 0,1 13 0,-14 0 15,13-14-15,1 14 0,-1 0 0,-13-13 16,1 13-16</inkml:trace>
  <inkml:trace contextRef="#ctx0" brushRef="#br0" timeOffset="1850.17">15558 1680 0,'-159'53'0,"132"-40"15,1 0-15,13 1 0,-27 12 16,40-13-16,-13 1 0,13-1 0,0 0 15,0 0 1,13-13-16,0 0 0,0 0 16,1-13-16,-1 13 0,27-13 0,-27 13 15,0-13-15,0 13 0,0 0 16,1 0-16,-1 13 0,0-13 0,-13 13 16,13 0-16,1 1 0,-14-1 15,13 13-15,-13-13 0,0 14 0,0-1 16,0-12-16,0 12 0,0 1 15,0-14-15,0 13 0,13-13 0,-13 1 16,0-1-16,0 0 0,0 0 0,0 1 16,13-14-16,-13 13 0,14-13 15</inkml:trace>
  <inkml:trace contextRef="#ctx0" brushRef="#br0" timeOffset="2056.98">16179 1680 0,'-26'40'0,"-1"26"15,14-40 1,-13 14-16,12-13 0,1-1 16,0 14-16,0-14 0,0-13 0,-1 14 15,1-14-15,13 14 0,-13-14 0,0 26 16,13-25-1,-14-14-15,14 13 0</inkml:trace>
  <inkml:trace contextRef="#ctx0" brushRef="#br0" timeOffset="2245.69">15875 1892 0,'-13'-13'0,"26"39"31,0-13-31,27 27 16,-27-27 0,0 0-16,27 1 15,0 12-15,-27-26 16,13 13 0</inkml:trace>
  <inkml:trace contextRef="#ctx0" brushRef="#br0" timeOffset="2552.67">16431 1667 0,'39'-13'16,"-78"26"-16,92-13 0,-40 13 15,-13 0-15,0 1 16,0 12-16,-13 0 0,-1 1 15,1 13-15,0-14 0,0 1 0,-1-1 16,1-13-16,13 0 0,0 1 0,0-1 16,0 0-16,0 0 0,13-13 15,1 0-15,-1 14 16,40-28-16,-27 1 0,14 0 16,0 0-16,-1-1 0,1 1 0,0 13 15,-14-13-15,1 0 0,-14 13 16,0 0-16</inkml:trace>
  <inkml:trace contextRef="#ctx0" brushRef="#br0" timeOffset="3010.21">10941 3387 0,'-14'53'16,"14"-14"0,0-26-16,0 27 0,0-13 15,0-1-15,0 1 0,0-1 0,14-13 16,-1 40 0,0-40-16,0-13 0,-13 14 0</inkml:trace>
  <inkml:trace contextRef="#ctx0" brushRef="#br0" timeOffset="3431.24">11364 3387 0,'13'39'31,"0"1"-31,1-27 16,-14 0-16,0 14 0,0-1 0,0-12 15,0 12-15,0-13 0,-14 14 16,14-14-16,-13 13 0,13-12 16,-13-1-16,13 0 0,-13-13 15,13-13 16,0 0-31,13-1 0,0-12 0,0 13 16,-13-14-16,14 1 0,-1-1 16,0-12-16,0 12 0,-13 1 15,0-1-15,-13 14 0,13 0 16,-26-14 0,12 27-16,1 0 0,13-13 0,-26 13 15,12 0-15,1 13 0,0-13 16,13 14-1,13-1-15</inkml:trace>
  <inkml:trace contextRef="#ctx0" brushRef="#br0" timeOffset="3944.79">14605 3268 0,'40'0'0,"-14"-14"0,27 14 31,-26 0-31,-14-13 0,13 13 0,-13 0 16,1 0-16,-1 0 0</inkml:trace>
  <inkml:trace contextRef="#ctx0" brushRef="#br0" timeOffset="4113.41">14711 3440 0,'66'0'16,"-40"0"-16,-12-14 15,25 1-15,1 13 0,-14-13 0,1 0 16</inkml:trace>
  <inkml:trace contextRef="#ctx0" brushRef="#br0" timeOffset="4339.3">16166 2924 0,'0'39'0,"-13"-12"15,26-93-15,-39 171 0,26-91 16,0 12-16,0 1 0,-14-14 15,14 13-15,0 1 0,0-14 0,0 13 16,0 1-16,0-14 0,14 0 0,-14 14 16,13-14-16,0 0 0</inkml:trace>
  <inkml:trace contextRef="#ctx0" brushRef="#br0" timeOffset="4770.38">16550 2924 0,'-40'26'0,"53"1"16,40 65-1,-40-65-15,1-1 16,-1-13-16,0 14 0,-13-1 15,13-13-15,-13 1 0,0-1 0,-13 13 16,0 1-16,0-14 0,-14-13 16,1 13-16,12-13 15,-12 0-15,13 0 0,0-13 16,13 0-16,13-14 16,26-39-1,-12 40-15,-1-1 0,-12 1 16,-1 13-16,0-14 0,14 1 15,-14 12-15,-13 1 16,0 0-16,0-13 16,-13 26-16,-1-14 0,1 14 15,-13-13-15,12 13 0,-12-13 16,13 13-16,-1 0 0,1-13 0,-13-1 16,13 1-1,-1 0-15,14 0 0</inkml:trace>
  <inkml:trace contextRef="#ctx0" brushRef="#br0" timeOffset="5425.41">17396 860 0,'66'13'16,"-39"66"-1,-27-39-15,0 13 16,0 79-16,-13-65 0,-1 12 0,14-13 16,-13 13-16,0 1 0,13-14 15,-13 0-15,26 27 16,0-14-16,0-52 0,1-1 15,-1-13-15,-13 0 0,26 1 0,-12-14 16,-1 0-16,0 0 0,0 0 16,27-27-16,-14 14 0,1-13 15,-1 12-15,-12 14 16,-1-13-16,0 26 0,0-13 16,1 40-16,12 0 15,-13-1-15,0 14 0,1 0 0,12 79 16,14 14-16,-27-67 15,0 1-15,1-1 0,12 67 16,-26-80-16,13 66 16,0-79-16,-26 0 0,13 0 0,-13-13 15,-27 65-15,-13-25 16,27-41-16,-1-12 16,-78 26-16,78-53 15,1 0-15,-1 0 0,14-13 0,-13-1 16,-1-12-16,-13-27 15,40 13-15,-13 1 0</inkml:trace>
  <inkml:trace contextRef="#ctx0" brushRef="#br0" timeOffset="8387.85">7832 5993 0,'0'106'0,"-14"-80"16,14 1-16,0-1 0,0 0 16,0 1-16,-13-1 0,13 1 0,0-1 15,0 1-15,0 39 16,-13-53-16,13 27 16,-13-67 15,13-26-16,0 14-15,13-1 0,-13 0 16,0 1-16,0-1 0,13 0 16,-13-13-16,13 27 0,1-14 0,-1 14 15,13-14-15,-12 27 16,-1 13-16,0 0 0,0 0 16,1 0-16,-1 13 0,0 0 0,13 14 15,1 26-15,-14-27 16,0 14-16,14 39 15,-27-52-15,13 26 0,-13-27 16,0 1-16,0-14 0,0 26 16,0-12-16,0-14 15,0 0-15,-13 1 0,13-1 0,0 0 16,0 0-16,0 1 16,-13-14-1</inkml:trace>
  <inkml:trace contextRef="#ctx0" brushRef="#br0" timeOffset="8594.71">7726 6310 0,'53'-13'16,"-40"13"-1,13 0-15,1 0 0,-1 0 0,-12 0 0,12-13 16,1 13-16,-1 0 0,14 0 16,-14 0-16,1-13 0,-14 13 15,13-14-15</inkml:trace>
  <inkml:trace contextRef="#ctx0" brushRef="#br0" timeOffset="8793.89">8467 6072 0,'-27'13'0,"1"27"15,13-27-15,13 1 0,-14-1 16,1 0-16,0 13 0,0-12 0,13 12 16,-14-13-16,1 14 0,0-14 15,13 14-15,-13-27 0,-1 39 16,1-26-16,13 1 15</inkml:trace>
  <inkml:trace contextRef="#ctx0" brushRef="#br0" timeOffset="9050.19">8215 6046 0,'0'-14'15,"14"41"1,-14-14 0,13 0-16,0 1 0,-13 12 0,13-13 15,0 14-15,1-14 0,-14 0 16,13 14-16,13 12 16,-26-25-16,14-1 0,-14 0 0,13 0 15,-13 1-15,13-1 0,0 26 16,1-39-1</inkml:trace>
  <inkml:trace contextRef="#ctx0" brushRef="#br0" timeOffset="9249.76">8308 6006 0,'0'40'16,"0"-27"-16,0 0 0,0 14 0,0-14 16,13 13-16,-13 1 0,0-1 0,0-13 15,13 40 1,-13-39-16,0 12 0,0-13 0,0 1 0,0-1 16</inkml:trace>
  <inkml:trace contextRef="#ctx0" brushRef="#br0" timeOffset="9445.17">8162 6310 0,'14'-13'16,"-1"13"-16,0 0 15,27-13-15,-14 13 16,1 0-16,65-27 15,-39 14 1,-40 13-16,1 0 0</inkml:trace>
  <inkml:trace contextRef="#ctx0" brushRef="#br0" timeOffset="9744.33">8890 5993 0,'-13'119'16,"13"-93"-16,0 1 0,0-1 0,-13 14 15,13-14-15,0 1 0,0-1 16,0 1-16,-14-1 0,14-13 0,0 14 15,0-14-15,0 0 0,0 1 16,0-1-16,0 0 16,0 0-16</inkml:trace>
  <inkml:trace contextRef="#ctx0" brushRef="#br0" timeOffset="10259.76">8824 6125 0,'92'0'16,"-78"0"-16,-14 13 0,13 1 16,-13-1-16,-13 0 0,13 0 15,0 0-15,-14 1 0,14-1 16,0 0 0,14 14-1,-1-14 1,0 0-16,14 14 15,-27-14-15,0 0 0,0 0 16,0 0-16,-14 1 0,1-1 16,0 0-16,0 14 0,-14-14 0,14 0 15,0 0-15,-27 1 16,27-1-16,0 0 0,-1-13 16,1 0-16</inkml:trace>
  <inkml:trace contextRef="#ctx0" brushRef="#br0" timeOffset="10746.07">10213 5993 0,'40'-13'16,"13"-14"-16,-27 14 15,14 13-15,13-13 0,-14 13 0,1-14 16,13 1-16,-13 13 0,-1 0 16,-12-13-16,12 13 0,-12 0 0,-1 0 15,1 0-15,-14 0 0,0 0 0,0 13 16,1-13-16</inkml:trace>
  <inkml:trace contextRef="#ctx0" brushRef="#br0" timeOffset="10958.24">10213 6165 0,'66'0'16,"-39"-13"-16,78-1 0,-52 14 0,13-13 0,1 13 15,-1-13-15,0 0 0,0-1 0,-13 14 16,-13-13-16,13 13 0,-27-13 15,0 13-15,-12 0 0,-1-13 0,0 13 16,0-14-16,1 14 0,-14-13 0,0 0 16</inkml:trace>
  <inkml:trace contextRef="#ctx0" brushRef="#br0" timeOffset="11189.22">10729 5450 0,'-119'239'16,"106"-187"-16,-1 81 15,1-67-15,-13 79 0,12-65 16,1-14-16,13 13 0,-13-13 16,0 1-16,0 12 0,-1 80 15,1-106-15,13-14 16,0 1-16,-13-14 0,13 1 0,0-14 15,0 0-15,0 1 16</inkml:trace>
  <inkml:trace contextRef="#ctx0" brushRef="#br0" timeOffset="11572.66">12753 5741 0,'0'40'0,"0"-27"0,0 1 0,0 12 15,0 1-15,0 39 0,0-27 16,-13 27 0,13-26-16,0-13 0,-14-1 0,14 1 15,0-14-15,0 0 0,0 13 0,0-12 16,-13-1-16,13 0 15,0 0 1</inkml:trace>
  <inkml:trace contextRef="#ctx0" brushRef="#br0" timeOffset="12177.17">12819 5781 0,'106'-13'16,"-93"26"-16,0-13 0,-13 13 0,14-13 16,-14 14-16,13-1 0,-13 0 15,-13 0-15,13 1 0,-14 12 0,14-13 16,-13 14-16,0-14 16,13 0-16,0 0 0,13 1 15,0-1 1,1-13-16,-1 13 0,0-13 15,0 13-15,1 0 0,-1 1 16,-13-1-16,0 0 0,0 0 0,0 1 16,-13 12-16,-14 14 15,1-14-15,12 1 0,-39 12 16,27-25-16,0-1 0,12-13 0,1 13 16,0-13-16,0 0 0,-1 0 15,14 13-15,-13-26 16,26 0-1,14-14-15</inkml:trace>
  <inkml:trace contextRef="#ctx0" brushRef="#br0" timeOffset="12401.1">13573 5755 0,'13'0'0,"-13"13"0,0 0 15,0 0-15,-13 14 16,0-14-16,0 27 0,13-14 16,-27 14-16,27-14 0,-26 1 0,13 12 15,13-25-15,-14 12 0,1-13 0,13 14 16,-13-14-16,13 0 0,-13 1 16,-1-1-16,1 0 15</inkml:trace>
  <inkml:trace contextRef="#ctx0" brushRef="#br0" timeOffset="12618.2">13388 5794 0,'0'-13'0,"40"53"16,-27-14-16,0-12 15,0-1-15,1 13 0,-1-13 16,0 1-16,0 12 0,0-13 0,1 1 16,-1-1-16,-13 0 0,13-13 15,0 26-15,1-26 16</inkml:trace>
  <inkml:trace contextRef="#ctx0" brushRef="#br0" timeOffset="12804.3">13520 5662 0,'0'-13'0,"0"26"0,-13 0 15,13 1 1,0-1-16,0 13 0,0 1 16,13 26-16,-13-27 15,0 1-15,0-1 0,13 0 0,-26 14 0,13-13 16,0-1-16,0 14 15,0-27-15,0 0 0</inkml:trace>
  <inkml:trace contextRef="#ctx0" brushRef="#br0" timeOffset="12985.72">13189 5993 0,'80'-40'15,"-54"40"-15,14-13 16,-14 13-16,27-13 0,-13 13 0,-13-14 16,12 14-16,1-13 0,-14 13 15,1 0-15,-14-13 0,27 13 16,-14 0-16</inkml:trace>
  <inkml:trace contextRef="#ctx0" brushRef="#br0" timeOffset="13494.13">14486 5662 0,'-13'66'16,"13"-39"-1,13 158-15,0-145 0,-13-1 16,0-12-16,13-1 0,-13 1 0,0-14 16,0 13-16,14-12 0,-14-1 0,0 0 15,0 0 1,-14-39-1,14 13-15,-13-14 16,13 1-16,0-14 0,0 0 0,13-13 16,-13 0-16,0 14 15,14-14-15,-1 26 0,0-12 0,0-1 0,14 14 16,-1-1-16,-13 27 16,1 0-16,-1 13 0,0-13 15,14 14-15,-14 12 0,40 27 16,-27 0-16,1-27 0,-14 1 15,-13-14-15,13 13 0,0-12 16,-13-1-16,14 0 0,-14 0 0,13 1 16,-13-1-16,0 0 0,0 0 15,-13 0 1,-1-13-16</inkml:trace>
  <inkml:trace contextRef="#ctx0" brushRef="#br0" timeOffset="13674.05">14420 5953 0,'39'-13'0,"-12"0"15,13-1-15,13 14 0,-14-13 16,27 0-16,14 0 0,-14-14 16,13 14-16,-13 0 0,14 0 0,39-1 15,-79 14-15,-14 0 0,0 0 16,-12 14-16,-1-14 0,-13 26 15</inkml:trace>
  <inkml:trace contextRef="#ctx0" brushRef="#br0" timeOffset="14090.26">7885 7461 0,'198'-53'0,"-119"40"16,40-13-16,172-27 15,-132 26-15,198-26 16,-92 14-16,-14-1 0,1 0 0,12 14 16,252-40-16,-251 39 15,-14 1-15,14 13 0,-67-14 0,67 14 16,343-40-16,-409 53 16,171-27-16,-211 27 0,13-13 15,-40 13-15,-26 0 16,79 13-16,-132-13 0,0 0 0,-26 0 15,-14 14-15,0-1 0,-39-13 16,-14 13-16,-13 0 0,-26 14 16,-41-14-16,-12 0 0,-13 14 15</inkml:trace>
  <inkml:trace contextRef="#ctx0" brushRef="#br0" timeOffset="14439.05">7144 8004 0,'-119'13'0,"198"-40"16,67 1-16,-27 0 16,13-1-16,13 1 0,14-1 0,265-52 15,-186 39-15,13-13 16,265-39-16,-251 52 0,-1 0 15,14-13-15,0 14 0,251-28 16,-265 28-16,-12 12 0,-67 14 16,14 0-16,-1 0 0,-13-1 0,0 1 15,-13 0-15,0 0 0,133-1 16,-186 14-16,-14-13 0,-12 13 16,0 0-16,-14 0 0,0 0 0,1-13 15,-1 13-15,-13 0 0,14-13 16,-27 13-16,13 0 0,-13-13 15,13 13-15,0-14 0,0 1 0,-13 0 16,0 0-16</inkml:trace>
  <inkml:trace contextRef="#ctx0" brushRef="#br0" timeOffset="15382.13">17410 6628 0,'-159'-397'16,"119"304"-16,-66-224 16,80 211-16,-1 0 15,1 14-15,-1 12 0,14 14 0,13 0 16,-13 26-16,13-13 0,0 27 16,0 13-16,13-27 0,0 40 15,1 0-15,12 0 0,1 26 0,12 1 16,1 13-16,0-1 0,-1 14 15,14 0-15,-13 0 0,0 26 0,-1-26 16,1 0-16,26 53 16,-39-53-16,-14-13 0,-13-1 0,13-12 15,-26-1-15,13 1 0,-27-1 0,1 14 16,-14-14-16,-13 1 0,0-1 0,-13 1 16,0-14-16,0 0 15,-172 27-15,79-40 16,80 0-16,26-13 15,0 13-15,13-27 0,14 14 0,13-14 16,13 1-16,0-14 0,26-13 0,27-26 16,0 13-16,26-14 0,106-92 15,-79 93-15,0 0 0,0-1 16,172-92 0,-133 106-16,-118 66 15,-14 0-15,0 13 0,-13 14 16,-13-1-16,-14 27 0,-12 13 0,-67 106 15,-26 14-15,-1 12 16,67-105-16,13-1 16,0 1-16,14-1 0,12-25 0,1-1 15,-1-13-15,1 13 0,26-26 0,-13 12 16,13-12-16,0-13 0,13-14 16,0 13-16,0-26 0</inkml:trace>
  <inkml:trace contextRef="#ctx0" brushRef="#br0" timeOffset="16067.41">18852 6668 0,'-146'-225'0,"93"145"15,13-12-15,-12-1 0,12-13 16,0 0-16,0-13 0,14 13 0,0 1 0,12 12 16,1 14-16,0 13 0,13-1 15,0 14-15,13 14 0,-13-1 0,13 14 16,14 12-16,-14 1 15,13 13-15,-12 0 0,25 13 0,14 14 16,-13 13-16,13-1 0,-13 14 0,12-13 16,-12 26-16,13 0 0,0-13 0,-13 0 15,39 53-15,-52-53 16,12 0-16,-12 0 0,-1-14 0,-13 1 16,1 0-16,-1 26 0,-13-40 15,-13 27-15,-1-26 16,1 12-16,-13-12 0,-107 39 15,80-40-15,1-12 16,-15-1-16,1-13 0,13 13 16,-92-26-16,79 13 0,-14-13 15,27-14-15,0 14 0,1-14 0,12-12 16,27 12-16,-1-12 0,1-14 16,26-14-16,1 1 0,39-13 0,-1-14 15,15 1-15,12-1 0,0 1 16,107-94-16,-81 107 0,1 0 15,-13 12-15,-1 15 0,-12 12 16,-14 13-16,-26 1 0,-14 26 0,1 0 16,-14 13-16,-13 14 0,-13 26 0,-67 119 15,14-67-15,-13 28 16,-27 12-16,0 14 0,0 0 0,27-54 16,-1 15-16,1-15 0,0 1 15,13 0-15,-54 66 0,68-79 16,-1-27-16,13 0 0,14-13 0,-1 0 15,1 0-15,-1-14 0,1-12 16,12-1-16</inkml:trace>
</inkml:ink>
</file>

<file path=ppt/ink/ink18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6:35:14.808"/>
    </inkml:context>
    <inkml:brush xml:id="br0">
      <inkml:brushProperty name="width" value="0.05292" units="cm"/>
      <inkml:brushProperty name="height" value="0.05292" units="cm"/>
      <inkml:brushProperty name="color" value="#0070C0"/>
    </inkml:brush>
  </inkml:definitions>
  <inkml:trace contextRef="#ctx0" brushRef="#br0">6429 4815 0,'-26'27'16,"26"-1"-1,0 40-15,-13-26 16,13 13-16,0-13 0,0-1 0,0 14 16,0-13-16,0 0 0,0 13 0,0-27 15,0 14-15,-14 13 16,14-27-16,0-13 0,0 14 0,0-14 15,0 0-15,0 1 0,0-1 16,-13 0-16,26-13 16,14-13-1</inkml:trace>
  <inkml:trace contextRef="#ctx0" brushRef="#br0" timeOffset="492.15">6839 5001 0,'53'-14'16,"-39"1"-16,-1 13 16,13 13-16,-12-13 0,-1 0 0,0 14 0,0-1 15,0 0-15,1 0 0,-14 1 16,0 12-16,0 0 0,-14 14 15,1-13-15,0 12 0,-13-12 0,12 12 16,-12 1-16,-1 0 0,1-14 0,-1 14 16,1-14-16,0 1 15,26-14-15,-14-13 16,14 13-16,14 1 16,-1-28-1,0 14-15,0 0 0,14-13 16,-14 13-16,13-13 0,1 13 0,26-13 15,-27-1-15,1 14 16,12-13-16,1 13 16,-13-13-16,-1 13 0,0 0 15,-12 0-15</inkml:trace>
  <inkml:trace contextRef="#ctx0" brushRef="#br0" timeOffset="929.98">8136 5093 0,'-13'-13'16,"52"26"-1,-12-13-15,-1 0 0,14 0 0,66 0 16,-53 13-16,0-13 0,26-13 16,-39 13-16,-1 0 15,-12 0-15,13 0 0,-27 0 0,13-13 16,1 13-16,-14 0 0,27-13 16,-27 13-16,0-13 15,-13-1-15,0 1 16</inkml:trace>
  <inkml:trace contextRef="#ctx0" brushRef="#br0" timeOffset="1187.84">8493 4776 0,'132'13'16,"-92"0"-16,0 0 0,-14 14 0,1-14 15,39 27-15,-26-14 16,-14-13-16,0 14 0,1-1 16,-1 27-16,-12-26 0,-1 12 15,-13-12-15,-13 13 0,-1-14 0,-12 14 16,-1-1-16,-12 1 16,-1 0-16,0 0 0,-13-1 0,14-12 15,-14 12-15,0-12 0,0-1 0,0 14 16,-53 0-1</inkml:trace>
  <inkml:trace contextRef="#ctx0" brushRef="#br0" timeOffset="5595.76">9842 4895 0,'-13'13'16,"0"0"-1,-66 40 1,52-40-16,1 14 0,-14-1 0,14 1 15,-41 12-15,41-25 0,0 12 0,-1-13 16,14 1-16,-14 12 16,27-13-16,0 1 15,0-1-15,14-13 0,-1 13 0,13-13 16,-12 13-16,91-13 16,-78 0-16,26 0 15,0 0-15,-14-13 0,14 13 0,-13-13 16,0 13-16,-14 0 0,1-13 15,-1 13-15,14-27 16,-27 14-16,0 13 0,-13-13 0</inkml:trace>
  <inkml:trace contextRef="#ctx0" brushRef="#br0" timeOffset="5803.33">9922 4829 0,'-40'39'0,"14"1"16,12 0-16,1-14 0,13 14 0,-13 0 16,0-14-16,0 14 0,13 13 0,-14-14 15,1 1-15,0 0 0,13-14 16,-13 14-16,13-14 0,-14 1 16,14-1-16,0-13 0,0 1 0,0-1 0,0 0 15,14-13-15,-14 13 16</inkml:trace>
  <inkml:trace contextRef="#ctx0" brushRef="#br0" timeOffset="6103.5">10941 4908 0,'-80'40'0,"67"-14"0,-14 1 16,-12 78-1,12-78-15,14 13 0,0-14 0,0 1 16,-1-1-16,1 14 0,0-14 15,13-13-15,-13 14 16,13-14-16,-14-13 0,14 13 0</inkml:trace>
  <inkml:trace contextRef="#ctx0" brushRef="#br0" timeOffset="6311.56">10583 5080 0,'0'0'15,"27"13"17,-14 0-32,0 1 0,14-1 0,-14 0 15,13 14-15,1-14 0,-1 0 0,-12 0 16,25 14-16,-12-14 16,-14 0-16,0-13 0,14 13 0,-1-13 15,-13 0-15,14 0 0,-1 0 0,-13 0 16,14 0-16</inkml:trace>
  <inkml:trace contextRef="#ctx0" brushRef="#br0" timeOffset="7055.64">11509 4974 0,'40'53'16,"-40"-40"-16,-53 27 15,53-27-15,0 0 16,0 1-16,13-1 0,1 0 15,25 14 1,-25-14-16,-1 0 16,-13 0-16,13 1 15,-26 12 1,0-13-16,-1 0 0,1 1 0,0-1 16,-27 0-16,0 0 15,27-13-15,-13 14 0,13-14 0,-14 13 16,14-13-16</inkml:trace>
  <inkml:trace contextRef="#ctx0" brushRef="#br0" timeOffset="8122.74">7197 6019 0,'238'146'16,"-159"-107"-16,1 28 0,12-14 16,107 79-16,-107-53 15,1-13-15,13 1 0,-1 12 16,1-13-16,0 0 0,0 0 0,-27 0 16,14-13-16,0 14 0,-14-15 0,14-12 15,-41 0-15,1-1 0,0-12 16,-13-1-16,0-12 0,-14 12 0,-13-13 15,1 1-15,12-1 16,-39-26 15,13-1-31</inkml:trace>
  <inkml:trace contextRef="#ctx0" brushRef="#br0" timeOffset="8379.08">9075 6892 0,'119'67'0,"-79"-54"16,0 26-16,-1-12 0,-12 13 0,12-1 0,1 1 15,-13 0-15,-1 39 16,-13-39-16,-39 105 15,-1-105-15,-12 13 16,-67 39-16,27-39 16,65-39-16,-39 12 15,40-26 1</inkml:trace>
  <inkml:trace contextRef="#ctx0" brushRef="#br0" timeOffset="9167.28">10610 6826 0,'-27'40'15,"14"-14"-15,-13 1 0,12 13 16,-38 92-16,25-40 16,27-39-16,0 40 15,0-67-15,13 1 16,1-1-16,25 1 0,-26-14 16,14 0-16,-1-13 0,-12 0 15,12 0-15,-13 0 0,0 0 0,14-13 16,-14 13-16,14-40 15,-27 27-15,0 0 0,-14 0 16,14-1-16,-13 1 0,0 0 0,0 0 16,-1-1-16,-12 1 0,13 0 0,-14 0 15,14 13-15,-13-13 0,12 13 16,1 0-16,-13-14 0,13 14 16,-1 0-16</inkml:trace>
  <inkml:trace contextRef="#ctx0" brushRef="#br0" timeOffset="9371.66">11033 6985 0,'13'40'15,"-26"-27"-15,13 13 0,-13-12 0,0 25 16,-1-12-16,1 12 0,13-12 15,-13 13-15,0-14 0,0 0 0,-1 1 16,14-14-16,-13 0 0,13 14 0,-13-14 16,13 0-16,-13 1 0,13-1 15</inkml:trace>
  <inkml:trace contextRef="#ctx0" brushRef="#br0" timeOffset="9582.69">10702 7197 0,'27'13'0,"-14"0"0,0 0 16,53 14 0,-52-14-16,12 0 0,-13 0 0,27 1 15,-13-1-15,-14 0 0,13 0 0,1-13 16,-1 14-16,-13-14 15,14 13-15,-14-13 0,0 0 0,14 0 16</inkml:trace>
  <inkml:trace contextRef="#ctx0" brushRef="#br0" timeOffset="9951.95">11628 6998 0,'27'0'15,"-54"0"-15,67 0 0,-27 0 0,1 13 0,-1-13 16,-13 14-16,0-1 0,0 13 16,0-12-16,-13 12 0,-1 14 0,-12-14 15,-1 1-15,1 12 16,0 1-16,-1-14 0,-26 27 15,40-26-15,0-14 0,13 14 16,13-14 0,0-13-16,0 13 0,1-13 0,78 0 15,-65 0 1,12-13-16,-12 13 0,-1 0 16,14-13-16,26-1 15,-39 14-15,-14 0 0,0 0 0,0 0 16</inkml:trace>
  <inkml:trace contextRef="#ctx0" brushRef="#br0" timeOffset="10706.13">6403 6019 0,'40'13'16,"-27"1"-16,13 12 0,-12 14 0,12 0 15,0 12-15,1 1 0,-1 14 16,1 25-16,-1 1 0,1-1 0,-1 14 16,1 0-16,-1 0 0,14 0 0,-14 13 15,14-13-15,-14 13 0,14 0 16,13-13-16,-13 13 0,13 0 0,0 13 16,-1-13-16,1 13 0,0-13 0,0 0 15,53 133-15,-53-133 16,0 0-16,0 0 0,0-13 0,13 13 15,-13-13-15,0 0 0,0-1 0,0 1 16,13-13-16,-27-1 16,14-12-16,0-1 0,-13 1 0,0-28 15,-14 1-15,14 0 0,-1-13 0,-12 0 0,-1-1 16,1-12-16,-1-14 16,-13 14-16,14-14 0,-14 0 15,0-13 1,1 0-16,-14-13 15,13 0-15</inkml:trace>
  <inkml:trace contextRef="#ctx0" brushRef="#br0" timeOffset="11009.58">8520 10120 0,'172'119'15,"-133"-92"-15,-12-1 0,-1 1 0,1-1 16,26 27-16,-40-26 0,0-1 15,-13-13-15,0 14 0,0-1 16,0 14-16,-13-14 0,-14 14 0,1-14 16,-1 14-16,1-13 0,-14 12 0,1-25 15,12 12-15,-13-13 0,14 0 16,-1 1-16,14-14 0</inkml:trace>
  <inkml:trace contextRef="#ctx0" brushRef="#br0" timeOffset="11635.2">10570 9909 0,'93'53'0,"-93"-40"16,0 0-16,0 0 0,0 0 15,-14 27-15,14-27 16,-13 1-16,13-1 0,-13-13 0,13 13 16,0 0-16,0 1 0,13-1 15,-13 0-15,13-13 0,1 13 0,-1 0 16,0 1-16,-13-1 0,13-13 16,1 13-16,-14 0 0,0 1 0,13-1 15,-13 0-15,-13 0 0,13 1 16,-40 38-1,13-38-15,14-1 0,0 0 16,0-13-16,0 13 0,-1-13 0,1 0 16,0 0-16,0 0 15,-1 0-15,14-26 16,14 13-16</inkml:trace>
  <inkml:trace contextRef="#ctx0" brushRef="#br0" timeOffset="11809.04">10993 9935 0,'27'27'16,"-27"-14"-16,-13 40 15,13-27 1,0 1-16,-14-1 0,1 1 0,13-1 16,-13 14-16,0-14 0,0 1 0,-14 26 15,14-14 1</inkml:trace>
  <inkml:trace contextRef="#ctx0" brushRef="#br0" timeOffset="11975.18">10888 10160 0,'26'13'15,"-13"0"1,27 1-16,0 12 15,-27-13-15,13-13 0,27 14 16,-26-1-16,-1-13 0,1 0 16</inkml:trace>
  <inkml:trace contextRef="#ctx0" brushRef="#br0" timeOffset="12359.63">11377 9935 0,'27'13'15,"-54"-26"-15,67 26 0,-27-13 0,-13 14 0,13-1 16,-13 0-16,0 0 15,-13 0-15,13 14 0,-13-14 16,-14 14-16,1-1 0,13 1 0,-14-1 0,-13 14 16,27-27-1,0 0-15,0 0 0,0 1 16,13-1 0,13 0-1,-13 0-15,13-13 0,0 0 16,0 0-16,14 0 0,-14 0 0,14 0 15,-1 0-15,-13-13 0,27 13 0,-14 0 16,1-13-16,-1 13 0,1-13 16,-1 13-16,1-14 0</inkml:trace>
  <inkml:trace contextRef="#ctx0" brushRef="#br0" timeOffset="12571.83">12277 9962 0,'-66'79'16,"52"-53"-16,14-12 16,-13 12-16,-13 1 0,12-1 0,-12 14 15,-1-14-15,14 1 0,0-14 16,0 0-16,0 0 0,-1 1 15</inkml:trace>
  <inkml:trace contextRef="#ctx0" brushRef="#br0" timeOffset="12757.9">11986 10186 0,'26'14'31,"14"-1"-16,-27 0-15,13 0 0,-12-13 16,12 14-16,1-14 0,-1 13 0,14 0 16,26-13-16,-40 13 15,1-13-15,12 0 0,-12 0 0,-1 0 16</inkml:trace>
  <inkml:trace contextRef="#ctx0" brushRef="#br0" timeOffset="13121.95">12700 9935 0,'26'0'0,"-12"0"16,39 27-1,-27-14-15,-13 0 0,-13 0 0,14 0 16,-14 14-16,0 13 16,-14-27-16,1 27 0,0-14 0,-14 0 15,1 14-15,13-13 0,-1-14 16,14 0-16,-13 0 0,26 1 16,-13-1-16,14-13 15,-1 0-15,27 13 0,-27-13 16,13 0-16,1 0 0,-1-13 0,1 13 15,-1 0-15,14-13 0,0-1 16,-14 14-16,53-26 0,-52-1 16,-1 14-16,14-13 0,-14 12 0,-12-12 15</inkml:trace>
  <inkml:trace contextRef="#ctx0" brushRef="#br0" timeOffset="14082.28">12753 3770 0,'40'0'15,"-27"0"-15,53 93 16,-66-67-16,0 14 0,0 13 16,0-13-16,0 13 0,0 13 0,-13 0 15,13 0-15,0 13 0,0-12 16,-13 12-16,13 0 0,0 1 15,0 12-15,0-12 0,0 12 0,0 27 0,-14 80 16,14-80-16,0-13 0,14 13 16,-14 0-16,0 0 0,13-13 15,0 13-15,0 0 0,0 0 0,1 0 16,25 119-16,-25-119 16,-1 0-16,13 13 0,-12-12 15,-1 12-15,0-13 0,13 13 0,-12 0 16,-1-12-16,13 144 0,1-13 15,-14-118-15,-13-1 0,13 0 16,0 120 0,1-120-16,-14-13 0,13 13 0,-13 1 0,0-14 15,13 13-15,-13-13 0,27 132 16,-27-132-16,13 1 0,0-1 16,0 0-16,1-14 0,-14 15 15,13-15-15,0 1 0,0-13 0,0-1 0,1 1 16,-1 66-16,0-80 15,0 1-15,1-14 0,-1 13 0,0-26 16,0 13-16,1-13 0,-14 0 16,13 40-16,-13-54 0,-13 14 15,-1-13-15,1 0 0,-13 12 16,-14-12-16,0 0 0,-13-1 0,0-12 16,-79 39-16,66-39 15,-80 12-15,67-12 0,-14-27 16,14 13-16,0 0 0,-14-13 0,14 0 15,-14 0-15,1 0 0,-1-13 0</inkml:trace>
  <inkml:trace contextRef="#ctx0" brushRef="#br0" timeOffset="16044.4">15743 5331 0,'66'-39'15,"-53"39"-15,0 0 16,14 13 0,-14 13-16,-13-12 0,-13-1 15,-14 53-15,14-26 0,-13-14 16,-1 14-16,1-14 0,12 1 16,-25 26-16,26-40 0,-1 0 15,1 0-15,0 1 16,13-1-16,13-13 15,0 0-15,1 0 16,-1 0-16,0 0 0,13 0 16,1-13-16,-14 13 0,14 0 0,-1-14 15,1 14-15,-1-13 0,-13 13 16,14 0-16,-1-13 0,-13 13 0,14-13 16,-14 13-16,0-14 0,1 14 0,-1-13 15,0 13-15</inkml:trace>
  <inkml:trace contextRef="#ctx0" brushRef="#br0" timeOffset="16569.11">16444 5331 0,'-40'14'15,"-13"25"1,27-12-16,-1-14 0,1 13 15,-1-12-15,14-1 0,0 0 16,0 0-16,-1 1 0,1-1 0,0 0 0,0 0 16,13 0-16,0 1 15,13-14-15,0 13 16,0-13-16,14 0 16,-14 13-16,0-13 0,1 0 0,25 0 15,-25 0-15,12-13 16,-13 13-16,14 0 0,-14-13 15,0 13-15,0 0 0,-13-14 16,14 14-16,-1-13 16,-13 0-1,0 0-15,-13 0 0,13-1 16,0 1 0,-14 0-16,14 0 0,0-1 15,-13 28 1,0-1-1,13 0-15,0 0 0,-13 1 0,13 12 0,0-13 16,0 14-16,0-1 0,-14 1 16,14-1-16,0 1 0,0-1 15,0-13-15,0 14 0,0-1 16,14-13-16,-14 1 0,0 12 0,0-13 16,0 1-16,13-1 0,0-13 15,0 0 1,14-13-16</inkml:trace>
  <inkml:trace contextRef="#ctx0" brushRef="#br0" timeOffset="16873.8">17039 5424 0,'53'0'16,"0"-13"-1,0 0-15,-13 13 16,-1 0-16,1-14 0,-14 14 0,1 0 15,-1-13-15,1 13 0,-1 0 0,1 0 16,-14-13-16,0 13 0,0 0 16,14 0-16,-14 0 0,0-13 15</inkml:trace>
  <inkml:trace contextRef="#ctx0" brushRef="#br0" timeOffset="17130.28">17357 5159 0,'66'14'16,"-40"-14"-16,1 13 0,-1 0 16,54 27-16,-54-27 0,27 27 15,-27-14 1,1 27-16,-14-40 0,-13 14 0,0 12 15,-13-12-15,0 13 16,-1-14-16,-12 0 0,13 14 0,-14-13 16,1-1-16,-40 40 0,39-39 15,-13-1-15,1 1 0,-1-1 16</inkml:trace>
  <inkml:trace contextRef="#ctx0" brushRef="#br0" timeOffset="20557.71">18389 5212 0,'-14'159'0,"14"-132"15,0-1-15,0 14 0,0 13 16,0-27-16,0 0 0,0-12 16,0 12-16,0 40 15,14-52 1</inkml:trace>
  <inkml:trace contextRef="#ctx0" brushRef="#br0" timeOffset="20890.93">18653 5331 0,'79'0'0,"-79"14"16,0 25-1,-13-25-15,0 12 0,-13 14 16,-1-27-16,14 13 0,0-12 16,-1-1-16,1 0 0,13 0 15,-13 0-15,0-13 0,13 14 0,-13-1 16,13 0-16,13-13 31,0 13-31,0-13 0,0 0 0,1-13 16,12 13-16,1 0 0,-14-13 15,13 13-15,1-13 0,-14 13 16,13-14-16,1 14 0,-1-13 0</inkml:trace>
  <inkml:trace contextRef="#ctx0" brushRef="#br0" timeOffset="21085.86">19619 5212 0,'-53'119'15,"40"-92"-15,-1-1 0,14-12 0,-13 38 16,0-25-16,0-14 15,13 14-15,-13-1 0,-1 0 16,1-12-16</inkml:trace>
  <inkml:trace contextRef="#ctx0" brushRef="#br0" timeOffset="21272.76">19328 5437 0,'0'-13'0,"13"26"15,14 0 1,-14-13-16,13 14 16,-13-14-16,1 13 0,12-13 0,-13 13 15,14-13-15,-14 13 0,13-13 0,-12 14 16,12-14-16,1 0 16</inkml:trace>
  <inkml:trace contextRef="#ctx0" brushRef="#br0" timeOffset="21665.86">19989 5278 0,'13'-13'0,"14"40"31,-27-14-31,0 0 16,0 0-16,0 1 0,0-1 0,-13 13 15,13-12-15,-14-1 0,14 0 0,0 13 16,0-12-16,0-1 15,27 0 1,-14-13-16,14 0 0,-14 0 16,13 0-16,1 0 0,-1-13 15,-13 13-15,14 0 0,13-13 16,-27 13-16,0 0 0,0 0 16</inkml:trace>
  <inkml:trace contextRef="#ctx0" brushRef="#br0" timeOffset="22510.77">18455 6535 0,'-14'0'0,"-12"13"0,13 1 16,-40 25 0,40-12-16,-14-14 15,14 14-15,-14-14 0,14 13 0,0-13 0,0 14 16,0-14-16,-1 0 0,14 1 16,-13-1-16,13 0 0,-13 13 15,13-12-15,0-1 16,13 0-16,0 0 15,1 1-15,12-14 16,-13 0-16,14 0 0,-14 0 0,0-14 16,14 14-16,-14-13 0,13 13 0,-12-13 15,12 0-15,0-14 16,-12 14-16,-1 0 0</inkml:trace>
  <inkml:trace contextRef="#ctx0" brushRef="#br0" timeOffset="22709.57">18494 6601 0,'-26'-26'16,"13"39"0,13 0-16,-14-13 0,14 14 15,-13-1-15,13 13 0,0-12 16,-13 12-16,13 0 0,-13-12 0,0 12 0,-1 67 16,1-80-1,13 13-15,0 1 0,-13-14 16,13 0-16,0 1 0,13 12 15,0-26-15</inkml:trace>
  <inkml:trace contextRef="#ctx0" brushRef="#br0" timeOffset="22911.76">18693 6562 0,'0'-14'15,"-13"67"-15,13 0 16,-14-26-16,14 12 0,-13 1 16,13-13-16,-13 12 0,13-12 15,0-1-15,-13 1 0,13-1 0,0 1 16,-14 12-16,14-26 16,0 1-16,0-1 0</inkml:trace>
  <inkml:trace contextRef="#ctx0" brushRef="#br0" timeOffset="23094.47">18508 6853 0,'-14'-14'0,"41"28"32,-14-14-17,0 0-15,27 13 0,-27 0 16,14-13-16,-14 13 0,13-13 15,1 0-15,-14 0 0,13 0 0,1 0 0,13 0 16,-14 0-16,14 0 16</inkml:trace>
  <inkml:trace contextRef="#ctx0" brushRef="#br0" timeOffset="23574.71">19050 6601 0,'79'-13'15,"-65"13"-15,-1 0 0,0 13 16,0-13-16,-13 14 0,14-1 16,-14 0-16,13 0 15,-13 1-15,0-1 0,13 0 16,27 13-1,-27-12 1,0-14-16,0 13 0,1 13 16,-14-12-16,-14-1 15,14 0-15,0 0 0,-13 0 16,-13 14-16,12-14 0,1 0 16,0-13-16,0 14 0,0-1 15,26-53 16,0 27-31</inkml:trace>
  <inkml:trace contextRef="#ctx0" brushRef="#br0" timeOffset="23750.8">19513 6562 0,'13'-27'16,"14"54"-1,-27-14-15,0 0 0,0 0 16,0 1-16,0 12 0,0 1 15,0-14-15,0 13 0,0-13 0,0 14 16,-14-14-16,14 14 0,0-14 16,0 0-16,0 0 0,0 0 15,-13 1-15</inkml:trace>
  <inkml:trace contextRef="#ctx0" brushRef="#br0" timeOffset="23939.55">19447 6668 0,'0'-14'15,"40"41"1,-27-14-16,0 0 0,0-13 16,27 27-16,-27-27 0,0 13 0,14-13 15,-14 13-15,0 0 0,1-13 16,-1 0-16,0 14 0,0-14 0</inkml:trace>
  <inkml:trace contextRef="#ctx0" brushRef="#br0" timeOffset="24223.66">19976 6456 0,'53'40'16,"-53"-27"-16,13 0 0,-13 0 0,-13 40 16,13-26-16,0-14 15,-13 13-15,13-12 0,0-1 0,0 0 16,0 0-16,13 0 0,-13 1 16,13-14-16,0 13 0,1-13 15,12-13-15,1 13 0,12-14 0,1 14 0,-14-13 16,1 13-16,-1-13 0,1 13 0,-1-13 15,14 0-15,-27 13 16,14 0-16</inkml:trace>
  <inkml:trace contextRef="#ctx0" brushRef="#br0" timeOffset="24929.66">18111 7977 0,'39'0'0,"-12"0"0,-93 0 0,145 0 0,-66 13 15,1-13-15,-1 14 16,0-1-16,-13 0 0,0 0 0,13 1 16,-26 12-16,0 0 0,0 1 0,-1 13 0,1-14 15,-13 14-15,-14 13 16,27-40-16,0 13 0,-1-12 15,14-1-15,-13 0 0,0 0 16,13 1-16,0-1 16,0 0-16,13-13 15,0 0-15,27 0 16,-14 0-16,-12-13 0,12 13 16,1 0-16,-14-13 0,13 13 0,1-14 15,-1 1-15,-13 13 0,14-13 16,-1 0-16</inkml:trace>
  <inkml:trace contextRef="#ctx0" brushRef="#br0" timeOffset="25108.42">18680 8030 0,'0'13'16,"0"1"-1,-14-1-15,14 13 0,0-13 0,-13 1 16,-13 65-1,26-52-15,-27 65 16,14-79-16,0 14 0,13-14 0,-13 0 16,13 1-16,-14-14 0</inkml:trace>
  <inkml:trace contextRef="#ctx0" brushRef="#br0" timeOffset="25277.78">18508 8229 0,'0'0'15,"0"-14"-15,26 28 16,-13-14 0,1 0-16,-1 13 0,40 0 15,-27-13-15,-13 13 0,14-13 16,12 13 0,1 1-16,-13-14 0</inkml:trace>
  <inkml:trace contextRef="#ctx0" brushRef="#br0" timeOffset="25719.12">19169 7990 0,'66'0'0,"-53"0"15,1 0-15,12 14 0,-13-14 0,1 13 16,-1 0-16,0 0 0,0 1 0,-13-1 15,0 0-15,0 0 0,-13 14 16,13-1-16,-13 1 0,-14-1 16,14 1-16,0-1 0,0 0 0,-1-12 15,1-1-15,13 0 0,-13 0 0,13 1 16,-13-1-16,13 0 16,13 0-16,0 1 15,0-14-15,1 0 0,-1 0 16,27 0-16,-14-14 15,1 14-15,12-13 0,1 0 0,0 0 16,-14-14-16,14 14 0</inkml:trace>
  <inkml:trace contextRef="#ctx0" brushRef="#br0" timeOffset="25886.4">19844 8070 0,'13'-13'0,"-26"26"15,13 0 1,0 0-16,0 14 15,-13-14-15,13 13 0,-14 1 16,14-14-16,0 14 0,-13-1 0,0 14 16,0-14-16,-1 1 0,1-14 0,13 13 15,-13-26-15,13 14 0,0-1 16,-13-13-16</inkml:trace>
  <inkml:trace contextRef="#ctx0" brushRef="#br0" timeOffset="26037.89">19659 8215 0,'13'-13'16,"0"26"-16,0-13 0,0 0 0,14 0 15,-14 14-15,14-14 0,-1 0 16,1 13-16,-1-13 0,0 0 16,14 13-16,-13-13 0,-1 0 0,0 13 15</inkml:trace>
  <inkml:trace contextRef="#ctx0" brushRef="#br0" timeOffset="26487.68">20532 8043 0,'53'-13'0,"-14"26"16,-25 1-1,-14-1 1,0 13 0,0-13-16,0 1 15,26 39 1,0-27 0,-26-13-16,14 27 15,-28-27-15,14 0 16,-13 1-16,13-1 0,-26 13 15,13-12-15,-1-1 0,1 0 16,0-13 0</inkml:trace>
  <inkml:trace contextRef="#ctx0" brushRef="#br0" timeOffset="26655.74">20968 7990 0,'27'0'0,"-27"14"16,13-1-16,-13 0 0,0 0 16,0 14-16,0 12 15,0-12-15,-13-14 0,13 14 16,0-1-16,-14 1 0,1-1 0,13-13 16,0 14-16,-13-14 0</inkml:trace>
  <inkml:trace contextRef="#ctx0" brushRef="#br0" timeOffset="26832.15">20823 8202 0,'39'0'0,"-25"0"16,-1 13-16,0-13 0,14 14 15,-14-1-15,13-13 0,1 13 16,12 0-16,-12-13 0,-1 13 15,-12-13-15,38 14 16</inkml:trace>
  <inkml:trace contextRef="#ctx0" brushRef="#br0" timeOffset="27143.75">21405 7990 0,'13'106'16,"-26"-79"-16,0-1 0,-1 1 16,-12 26-1,26-40-15,0 0 0,0 0 0,13-13 16,-13 13-16,13-13 0,1 0 0,-1 0 15,53 0 1,-40 0-16,-12 0 0,12-13 0,-13 13 16,14 0-16,-14 0 0,0 0 15,0 0-15,1 0 0,-14 13 32</inkml:trace>
  <inkml:trace contextRef="#ctx0" brushRef="#br0" timeOffset="27410.75">18640 9155 0,'251'-80'0,"-118"67"15,144-40-15,28 13 16,-147 14-16,173-14 0,-159 27 16,-13-13-16,0 12 0,145-25 15,-159 25-15,-26 1 0,67 0 16,-107 13-16,-26 0 16,-13 0-16,-14 0 0,-13 0 0,-13 13 15</inkml:trace>
  <inkml:trace contextRef="#ctx0" brushRef="#br0" timeOffset="27710.8">18732 9353 0,'358'-93'15,"-226"67"-15,185-40 0,-158 39 0,13 1 16,0-1-16,0 1 0,-13 0 16,0-1-16,132-13 0,-172 27 15,-27 0-15,-12 0 0,-1-1 16,-39 14-16,13-13 0,-14 13 0,-12 0 16,-14-13-16,0 13 0,1 0 0,12 0 15,-52 0 16,12 0-15</inkml:trace>
</inkml:ink>
</file>

<file path=ppt/ink/ink18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6:35:51.873"/>
    </inkml:context>
    <inkml:brush xml:id="br0">
      <inkml:brushProperty name="width" value="0.05292" units="cm"/>
      <inkml:brushProperty name="height" value="0.05292" units="cm"/>
      <inkml:brushProperty name="color" value="#0070C0"/>
    </inkml:brush>
  </inkml:definitions>
  <inkml:trace contextRef="#ctx0" brushRef="#br0">3082 5226 0,'-13'-14'0,"40"14"16,-1-13-16,14 13 0,13 0 0,0 0 15,0 0-15,13-13 16,66 13-16,0-13 0,-52-1 16,-14 14-16,0-13 0,0 13 15,-13-13-15,0 13 0,-13-13 16,39-1-16,-53 14 16,1 0-16,-14 0 0,27 0 15,-67 14 1</inkml:trace>
  <inkml:trace contextRef="#ctx0" brushRef="#br0" timeOffset="189.81">3069 5424 0,'27'13'15,"-54"-26"-15,67 26 16,-14-13-16,14 0 0,66 0 15,79-13-15,-119 0 16,-13 13-16,0 0 0,0-13 16,0-1-16,0 14 0,-14-13 0,41 0 15,-54 13-15,-12-13 0</inkml:trace>
  <inkml:trace contextRef="#ctx0" brushRef="#br0" timeOffset="1116.89">18799 3889 0,'13'80'16,"-13"-54"-16,0-13 0,0 14 16,0 26-16,0-27 15,0-12-15,0 12 0,0 0 0,0-12 16,0 12-16,0-13 0,0 1 0,0-1 16,0 0-16,13 0 15,-13 0 1,13-13-16</inkml:trace>
  <inkml:trace contextRef="#ctx0" brushRef="#br0" timeOffset="1502.15">19420 3995 0,'-119'0'0,"93"0"0,-53 13 0,65 1 16,-12-1-16,13-13 16,13 13-16,0 0 0,0 1 15,26 12-15,-13-13 16,1 1-16,12-1 0,0 13 15,1 1-15,-14-14 16,0-13-16,-13 13 0,0 0 0,0 1 16,-13-1-16,0 0 15,0 0-15,-1 0 0,-12-13 0,13 14 16,-14-1-16,1-13 0,-1 13 0,1-13 16,13 13-16,-14-13 0,14 14 15,0-14-15,0 0 0,-1 0 16,14 13-16,-13-13 0</inkml:trace>
  <inkml:trace contextRef="#ctx0" brushRef="#br0" timeOffset="1733.96">19844 3916 0,'0'13'16,"-13"0"-16,-1 27 0,14-27 16,-13 14-16,13-1 0,-13 1 15,0-1-15,-1 1 0,14-1 16,-13-13-16,13 14 0,-13-1 0,0-13 16,13 14-16,-14-14 0,14 0 0,0 0 15,-13 1-15,13-1 0,0 0 16</inkml:trace>
  <inkml:trace contextRef="#ctx0" brushRef="#br0" timeOffset="1972.2">19579 4088 0,'27'13'15,"-14"-13"-15,27 13 16,-14 1-16,14-1 0,-14 0 16,40 13-1,-26-12-15,-14-1 0,27 0 16,-39-13-16,12 0 0,-13 13 16,14-13-16,-1 0 15,1 0-15</inkml:trace>
  <inkml:trace contextRef="#ctx0" brushRef="#br0" timeOffset="2520.4">20770 3823 0,'-13'53'16,"13"-40"-16,0 27 0,13-13 0,-13-1 16,0 14-16,0-14 15,-13 1-15,13-1 0,-14-13 0,1 14 16,0-14-16,13 0 0,-13 0 0,-1-13 16,14 14-16,-13-14 0,0-14 31,66-38-16,0-1 1,-27 39-16,14-12 0,-14-1 0,-12 1 16,25-14-16,-25 14 15,-14 13-15,13-14 0,-13 14 16,0 0-16,-13-1 0,13 1 0,-14 0 16,1 0-16,13 0 0,-13 13 0,0-14 15,-1 14-15,1 0 0,0-13 0,-14 26 16,14-13-1,13 14-15,-13-1 16</inkml:trace>
  <inkml:trace contextRef="#ctx0" brushRef="#br0" timeOffset="5317.49">18865 4776 0,'0'-14'0,"-27"41"47,27-14-47,-13 0 0,-13 14 16,-1-1-16,1 1 0,-1-1 0,-12 14 16,-1 0-16,0-1 0,1-12 15,-1 12-15,-40 28 0,41-41 16,-1 14-16,14-14 0,-41 14 15,41-14-15,0-12 0,-1-1 16,14 0-16,0 0 0,-1-13 16,14 14-16,-13-14 0</inkml:trace>
  <inkml:trace contextRef="#ctx0" brushRef="#br0" timeOffset="5673.69">18812 4789 0,'79'132'16,"-39"-66"0,0-13-16,-14-26 0,14 12 15,-1 1-15,1-13 0,0 12 0,13-12 16,13 12-16,-26-12 15,-14-14-15,40 27 0,-39-40 16,-14 13-16,0 0 0,0-13 0,1 14 16,-14-1-16,13-13 15</inkml:trace>
  <inkml:trace contextRef="#ctx0" brushRef="#br0" timeOffset="6688.1">18111 6138 0,'106'27'15,"-93"-14"-15,-13 0 0,13 27 16,-13-27-16,-13 0 16,13 1-16,-13 25 15,26-12 1,0-14-16,0 13 16,0-26-16,1 14 15,-14-1-15,0 0 0,0 0 16,0 1-16,-14-1 15,14 0-15,-13 0 0,0 1 0,0-1 16,0 0-16,-1-13 0,1 13 0,0 0 16,0-13-16,13 14 0,-14-14 15,1 0-15</inkml:trace>
  <inkml:trace contextRef="#ctx0" brushRef="#br0" timeOffset="6886.77">18799 6204 0,'0'67'16,"-27"-14"0,14-40-16,0 26 15,-1-12-15,1-14 0,0 14 0,13-14 16,-13 0-16,13 0 0,-13 1 15,13-1-15,-14-13 0</inkml:trace>
  <inkml:trace contextRef="#ctx0" brushRef="#br0" timeOffset="7080.6">18600 6363 0,'40'13'31,"-27"-13"-31,0 14 0,14-14 0,-14 13 16,13 0-16,-12-13 0,39 27 16,-40-14-16,0-13 0,0 13 15,1-13-15,-1 13 0,0-13 16,0 14-16,0-14 0,1 0 0,-14 13 16</inkml:trace>
  <inkml:trace contextRef="#ctx0" brushRef="#br0" timeOffset="7513.25">19487 6244 0,'-67'13'16,"54"-13"-16,-13 0 15,13 14-15,13-1 16,13 0-1,-13 0-15,13-13 0,0 14 16,0-1-16,1 0 0,-1-13 16,0 13-16,0 0 0,-13 1 0,14-1 15,-14 13-15,-14 1 16,1-14 0,0-13-16,-14 13 0,14 1 0,-13-1 15,-1-13-15,14 13 0,-13-13 0,-1 13 16,14-13-16,0 0 15,-1 0-15,1 0 0,-13 0 0</inkml:trace>
  <inkml:trace contextRef="#ctx0" brushRef="#br0" timeOffset="8413.61">20915 4710 0,'-79'92'16,"52"-65"-16,1 12 0,0 14 0,-14 0 16,-26 40-16,39-40 0,-12 0 15,12-14-15,-13 1 0,27 0 16,-13-14-16,-1 1 0,14-1 15,0 1-15,0-14 0,-1 0 0,1 0 16,13 0-16</inkml:trace>
  <inkml:trace contextRef="#ctx0" brushRef="#br0" timeOffset="8668.27">20955 4736 0,'53'79'16,"-27"-52"-16,-12 13 0,91 79 16,-52-80-16,-13 1 0,0-14 15,13 14-15,-14-13 0,14-1 16,27 27-16,-41-40 0,1 14 15,79 12-15,-79-12 16,-1-14-16,-12 0 0,-1 1 16,-12-14-16,-1 13 0,-13 0 0</inkml:trace>
  <inkml:trace contextRef="#ctx0" brushRef="#br0" timeOffset="9176.86">20333 6138 0,'-13'14'16,"0"25"-1,0-26-15,-1 27 0,1-13 16,0 12-16,-14-12 0,14 12 0,-27 28 15,27-28-15,-13-12 0,13-1 16,-1 14-16,1-27 0,13 14 16,-13-14-16,0 0 0,13 0 15</inkml:trace>
  <inkml:trace contextRef="#ctx0" brushRef="#br0" timeOffset="9373.6">20095 6271 0,'0'-14'0,"27"41"16,25 39-1,-38-40 1,12 1-16,1-1 0,-1 1 0,27 13 16,-27-14-16,1-13 0,-14 0 15,14 1-15,-1-1 0,-13 0 16,1-13-16,12 13 0,-13-13 15</inkml:trace>
  <inkml:trace contextRef="#ctx0" brushRef="#br0" timeOffset="9850.19">20836 6257 0,'79'0'0,"-65"14"0,-14-1 0,13 0 16,0 0-16,0 1 0,-13-1 15,0 13-15,0-13 0,-13 14 0,-40 52 16,40-52-16,-14-1 16,14-13-16,-13 14 15,26-14-15,-14 0 0,1-13 0,13 14 16,-13-1-16,39-13 31,-12 0-31,-1 0 16,27-13-1,-27 13-15,13-14 0,1 14 0,-1 0 0,67-26 16,-80 26-16,14-13 16,-14 13-16,0 0 0,0-14 15,14 1-15</inkml:trace>
  <inkml:trace contextRef="#ctx0" brushRef="#br0" timeOffset="10042.53">21656 6204 0,'-53'53'0,"14"14"16,12-41-16,14 0 15,-40 67 1,26-66-16,14-1 0,0-13 16,0 0-16,0 1 0,13-1 0</inkml:trace>
  <inkml:trace contextRef="#ctx0" brushRef="#br0" timeOffset="10237.36">21325 6376 0,'14'-13'0,"12"13"0,-13 13 0,1-13 15,-1 14-15,0-14 0,13 13 0,-12 0 16,12-13-16,-13 13 0,14 1 16,-14-14-16,14 0 0,-14 13 0,0-13 15,13 13-15,-12-13 0,-1 0 16</inkml:trace>
  <inkml:trace contextRef="#ctx0" brushRef="#br0" timeOffset="10624.47">22106 6231 0,'-53'40'0,"27"-27"0,12 0 15,1 0-15,-13 1 0,12-1 16,1 0-16,0 0 0,0 0 0,-14 1 15,14 12-15,13-13 16,0 1-16,13-1 16,1 0-16,-1-13 0,0 13 15,0-13-15,27 0 0,26 0 16,-40 0 0,1 0-16,-1-13 0,1 13 15,-1-13-15,-12 13 0,12-13 16,0-14-16,-12 14 0,-1 0 0</inkml:trace>
  <inkml:trace contextRef="#ctx0" brushRef="#br0" timeOffset="10793.77">22225 6191 0,'-13'106'0,"13"-79"16,0-14-16,13 13 0,13 107 15,-26-107 1,14 0-16,-14 1 0,13-14 0,-13 14 16,0-14-16,0 0 0</inkml:trace>
  <inkml:trace contextRef="#ctx0" brushRef="#br0" timeOffset="12513.61">20823 6099 0,'-146'264'16,"133"-211"-1,13 13-15,0-26 0,0 13 16,0 13-16,13 0 0,0-13 0,27 53 16,0-53-16,-1-13 15,54 26-15,-27-40 0,0-13 16,67 14-16,-80-27 0,13-13 15,92-14-15</inkml:trace>
  <inkml:trace contextRef="#ctx0" brushRef="#br0" timeOffset="12840.81">22595 5913 0,'159'252'16,"-146"-199"-16,14 66 0,-27-66 16,0 119-1,-13-119-15,-1 13 0,-12-13 0,-1 0 16,1-1-16,0-12 0,-54 53 16,40-67-16</inkml:trace>
  <inkml:trace contextRef="#ctx0" brushRef="#br0" timeOffset="14925.76">18045 5913 0,'-106'186'0,"79"-67"15,27-53-15,0 79 16,14-78-16,-1-1 15,13 0-15,14 0 0,0 0 0,13-13 16,-1 13-16,15-26 0,-15 0 0,15-1 16,-1-12-16,0-1 0,0-26 15,-13 13-15</inkml:trace>
  <inkml:trace contextRef="#ctx0" brushRef="#br0" timeOffset="15288.07">19857 5887 0,'145'278'0,"-118"-225"0,-14 277 15,-39-263-15,-1-1 0,1 0 0,-27 13 16,13-26 0,-13 13-16,14-26 0</inkml:trace>
  <inkml:trace contextRef="#ctx0" brushRef="#br0" timeOffset="18779.52">18878 8255 0,'53'79'15,"-53"-52"-15,-13-14 0,-1 14 0,-12-1 16,0 14-16,-1-14 15,1 1-15,-1-14 0,14 13 0,-40 14 16,40-27-16,0 0 0,-1-13 0,1 14 16,0-14-16,0 13 0,-1-13 15,14 13 1,14-13 0,-1 0-16,0 0 15,0 0-15,1 0 0,12 0 0,-13 0 16,14 0-16,-1 0 0,14-13 0,-14 13 15,14-13-15,0 13 0,-1-14 0,1 1 16</inkml:trace>
  <inkml:trace contextRef="#ctx0" brushRef="#br0" timeOffset="18952.68">19420 8295 0,'-26'53'15,"13"-27"-15,-14 14 0,14-1 16,0-12-16,-14-1 16,-12 27-16,25-26 0,1-1 15,0 1-15,0-14 0,0 0 0,-1 14 16,1-14-16</inkml:trace>
  <inkml:trace contextRef="#ctx0" brushRef="#br0" timeOffset="19141.83">19090 8506 0,'13'-13'16,"13"26"-16,-12 1 0,-1-1 16,13-13-16,-12 13 0,-1 0 15,0 0-15,0-13 0,0 14 16,1-1-16,12 0 0,1 0 0,-14-13 15,0 14-15</inkml:trace>
  <inkml:trace contextRef="#ctx0" brushRef="#br0" timeOffset="19441.82">19831 8361 0,'-67'0'0,"54"0"0,0 0 16,-14 13-16,14-13 0,0 27 15,13-14-15,0 0 16,0 0-16,0 14 0,13-14 16,14 27-16,-14-27 15,-13 13-15,13-13 0,-13 1 0,0-1 16,0 0-16,-13 14 0,-27 12 15,1 1 1,12-27-16,1 0 0,12-13 0,-12 14 16,-27-1-16,27-13 15,-1 0-15,1 0 0,-1-13 0,-12-1 16,-1 14-16</inkml:trace>
  <inkml:trace contextRef="#ctx0" brushRef="#br0" timeOffset="19714.54">18084 8149 0,'-119'384'15,"132"-331"-15,14 13 16,-1-13-16,14 0 0,13 0 0,13 0 16,0-14-16,0 1 0,67 13 15,-54-27-15,0-12 0,54-14 16,12-14-16,-79 14 16,1-26-16</inkml:trace>
  <inkml:trace contextRef="#ctx0" brushRef="#br0" timeOffset="19982.59">20294 8043 0,'39'119'16,"-39"-39"-16,13-27 0,-13-14 16,0 14-16,0-13 0,14 0 15,-28 52-15,14-52 0,0 0 16,0-14-16,-13 14 16,13-1-16,-26 1 0,13 0 0,-14 39 15,14-52-15,-14 12 0</inkml:trace>
  <inkml:trace contextRef="#ctx0" brushRef="#br0" timeOffset="20329.66">19407 9697 0,'0'13'31,"0"0"-31,0 14 15,0-1-15,0-12 0,0 38 16,-13 41 0,0-53-1,13-27-15,0 13 0,13-12 16</inkml:trace>
  <inkml:trace contextRef="#ctx0" brushRef="#br0" timeOffset="20626.61">19672 9723 0,'-27'27'16,"27"13"-16,0-14 16,14 27-1,-1-40-15,0 0 0,13 1 16,1-1-16,-14-13 0,0 0 15,14 0-15,-14 0 16,27-13-16,-27 13 16,0-14-16,-13 1 0,0 0 15,-13 0-15,0-14 0,0 14 16,-14 0-16,-13-14 16,1 27-16,-1-13 15,0 13-15,14 0 16,13 0-1</inkml:trace>
  <inkml:trace contextRef="#ctx0" brushRef="#br0" timeOffset="21120.53">21444 8176 0,'-39'105'15,"12"-25"-15,1-40 0,-1 52 16,14-52-16,-13-14 16,12 14-16,-12 26 0,13-26 15,0-14-15,-1 1 0,14-14 16,-13 13-16</inkml:trace>
  <inkml:trace contextRef="#ctx0" brushRef="#br0" timeOffset="21321.92">21153 8414 0,'40'13'0,"26"40"16,-39-27-16,-1 1 15,40 12-15,0 14 16,-39-26-16,39 13 16,-39-14-16,-1-13 0,0 14 15,1-27-15,-14 13 0,0-13 16,14 13-16</inkml:trace>
  <inkml:trace contextRef="#ctx0" brushRef="#br0" timeOffset="22194.85">22199 8334 0,'39'-13'16,"-12"26"-1,-27 27 1,0-27 0,-14 14-16,1 12 15,0-39-15,13 14 16,0-1-16,13 0 16,-13 0-16,13-13 0,-13 14 15,14-1-15,-1-13 0,-13 13 0,13 0 16,-13 0-16,0 1 0,0-1 15,-13-13-15,13 13 0,-13 0 16,-1 1-16,1-1 0,0 0 0,0 0 16,0-13-16,13 14 0,-14-14 0,1 0 15,13 13-15,-13-13 16</inkml:trace>
  <inkml:trace contextRef="#ctx0" brushRef="#br0" timeOffset="22381.31">22688 8321 0,'13'13'0,"-13"1"16,0 12-16,-13-13 16,13 1-16,-26 25 0,26-12 0,-14-14 15,1 27-15,-13-14 16,-1 14-16,27-27 0,-13 0 15,0 0-15</inkml:trace>
  <inkml:trace contextRef="#ctx0" brushRef="#br0" timeOffset="22561.13">22516 8480 0,'40'13'16,"-27"0"-16,0 1 16,0-14-16,1 13 0,-1-13 15,0 0-15,0 13 0,1-13 0</inkml:trace>
  <inkml:trace contextRef="#ctx0" brushRef="#br0" timeOffset="23048.78">23402 8308 0,'-92'40'15,"79"-40"-15,-1 13 0,1 0 16,0 0-16,0 1 0,-1-1 0,14 0 16,-13 0-16,13 14 15,0-14-15,0 0 16,13-13-16,1 13 16,12-13-16,1-13 15,-14 13-15,0-13 0,0 13 16,0-13-16,1-1 0,-14 1 15,13 0-15,0 0 0,0 13 16,-13-27-16,14 27 0,-14-13 0,0 0 0,13 13 16,-13-13-16,0-1 15,-13 28 17,-1-1-32,14 0 0,-13 0 0,0 14 15,0 26 1,-1-27-16,14-13 0,0 14 15,-13-14-15,13 0 0,0 0 0,0 14 16,0-14-16,0 0 0,0 1 0,13-1 16,-13 13-16,0-12 15</inkml:trace>
  <inkml:trace contextRef="#ctx0" brushRef="#br0" timeOffset="23596.95">22304 9737 0,'0'53'32,"0"-27"-32,0-13 0,0 14 15,0-1-15,-13 1 0,13-1 0,0 1 16,0-1-16,0 0 0,0-12 16,0 25-16,0-25 15</inkml:trace>
  <inkml:trace contextRef="#ctx0" brushRef="#br0" timeOffset="23894.88">22754 9657 0,'66'0'16,"-66"14"-16,0-1 15,-13 40-15,0-27 16,-14 14-16,14-14 0,0 14 0,-14-14 16,14 1-16,0-1 0,0 1 15,13-14-15,0 0 0,0 0 0,0 1 16,0-1-16,13-13 0,0 13 0,0-13 16,1 0-16,-1 13 0,0-13 15,40-13-15,-13 13 16,-1 0-16,-25 0 0,-1 0 15</inkml:trace>
  <inkml:trace contextRef="#ctx0" brushRef="#br0" timeOffset="24162.47">21299 9829 0,'-79'185'0,"52"-145"0,-26 92 16,40-92-16,0 0 0,0-14 16,-1 1-16</inkml:trace>
  <inkml:trace contextRef="#ctx0" brushRef="#br0" timeOffset="24343.08">20929 9948 0,'105'80'15,"-52"-54"-15,-13 14 0,26-14 16,-13 1-16,13-1 0,0 1 16,14-1-16,-14-13 0,0 14 0</inkml:trace>
  <inkml:trace contextRef="#ctx0" brushRef="#br0" timeOffset="25478.18">20280 12078 0,'27'-13'15,"-1"13"-15,14 0 0,-14 0 0,1 0 16,-1 13-16,1-13 0,-1 0 0,1 13 16,-14-13-16,0 14 0,0-14 0,1 13 15</inkml:trace>
  <inkml:trace contextRef="#ctx0" brushRef="#br0" timeOffset="25668.18">20360 12343 0,'-14'0'16,"41"0"0,26 0-1,-27-13 1,-12 13-16,25-14 15,41-12-15,-54 13 16,-13-1-16,14 1 0,-14 0 0,13 0 16,1-14-16</inkml:trace>
  <inkml:trace contextRef="#ctx0" brushRef="#br0" timeOffset="27152.85">21762 11959 0,'-13'66'15,"13"-52"-15,-13 12 16,13-13-16,-14 40 0,14-26 15,0-1-15,-13 1 0,13-14 0,0 13 16,0-13-16,0 14 0</inkml:trace>
  <inkml:trace contextRef="#ctx0" brushRef="#br0" timeOffset="27514.26">22053 11959 0,'40'13'15,"-40"1"1,0-1-16,-14 13 0,1 1 15,0-14-15,-13 13 0,12 1 0,1-14 16,-13 0-16,12 14 0,1-14 16,0 14-16,13-14 15,-13-13-15,13 13 0,0 0 0,0 0 16,13-13-16,-13 14 16,13-14-16,0 0 0,1 0 0,-1 0 15,13 0-15,1 0 0,-1 0 16,-13 0-16,14-14 0,-14 14 15,14-13-15,-1 0 0,-13 13 0</inkml:trace>
  <inkml:trace contextRef="#ctx0" brushRef="#br0" timeOffset="27808.98">22503 11999 0,'-40'40'0,"40"-27"0,13 26 16,1-25 0,12-1-1,0 0-15,-12-13 0,-1 0 16,0 0-16,14-13 16,-27 0-16,0-1 15,0 1-15,0 0 0,-14 0 16,14-14-16,-13 14 0,0 0 0,-14 0 15,14-1-15,0 1 16,0 13-16,-14 0 0,14 0 0,0 0 16,-27 0-16,27 13 0,-13-13 15,-1 14-15</inkml:trace>
  <inkml:trace contextRef="#ctx0" brushRef="#br0" timeOffset="28293.63">22106 12568 0,'106'-14'0,"-80"14"16,14-13-16,13 13 0,-13-13 0,52-13 15,-26 12-15,-13 1 0,0-13 16,-13 12-16,-1 1 15,1-13-15,-13 12 0,39-38 0,-27 25 16,-12 14-16,-1-14 0,-12-12 16,12 12-16,-13 1 0,14-54 15,-27 41-15,13-14 0,-26-13 16,13 13-16,-27-93 0,-26 14 16,27 66-16,-1 13 15,-25 0-15,-68-26 0,54 39 16,-13 27-16,-199-1 15,159 28-15,0 12 0,0 1 16,-106 39-16,119-13 0,14 0 16,-94 79-16,107-66 15,13 0-15,0 0 0,26-13 16,14 0-16,-1 13 0,14-13 0,0 0 16,26 0-16,40 53 0,-13-66 15,79 52-15,-53-65 16,13-1-16,0 1 0,14-14 0,79 0 15,-93-26-15,14 13 0,-14-13 16,1-1-16,-1-12 16,1-1-16,65-26 0</inkml:trace>
  <inkml:trace contextRef="#ctx0" brushRef="#br0" timeOffset="28994.9">22437 10319 0,'92'13'15,"-65"-13"-15,12 0 0,120-26 16,-93 12-16,0 1 16,14 0-16,-14 0 0,80-40 15,-1 0-15,14-40 16,-80 40-16,27-39 16,-53 39-16,-13 0 0,-14-13 15,-13 0-15,-39-133 16,-1 133-16,-26-13 0,1 12 0,-15 15 15,1 12-15,-26 0 16,-80 14-16,79 12 0,-132 41 16,0 26-16,40 26 15,106-26-15,-1 13 16,41-13-16,-28 66 0,41-66 16,13 13-16,26 67 0,0-81 15,27 15-15,0-14 0,132 119 16</inkml:trace>
  <inkml:trace contextRef="#ctx0" brushRef="#br0" timeOffset="31272.69">21828 12726 0,'-26'53'0,"12"-39"0,1 25 0,0-12 16,0 12-16,0 1 15,-1 0-15,1 0 0,0-1 0,-14 1 0,14 0 16,-13 39-16,12-53 15,-12 14-15,13-13 0,0-1 16,-1-13-16</inkml:trace>
  <inkml:trace contextRef="#ctx0" brushRef="#br0" timeOffset="31545.77">21722 12700 0,'-53'93'0,"0"-27"15,40-40-15,0-13 0,145-211 0,-277 410 16,145-199-16,-13 0 0,-1 0 16,14 1-16,14-1 15,12-26 1,14-1-16,13 1 15,-40 13-15,13 0 16,-12 0-16,-1 0 0,13 0 16,-13 0-16,1 0 15</inkml:trace>
  <inkml:trace contextRef="#ctx0" brushRef="#br0" timeOffset="38940.62">13824 4207 0,'199'-13'109,"92"-1"-93,79-12-16,-26-14 15,93 27-15,26 13 16,79 0 0,-224 0-16,-93 0 0,-93 0 15,-39 0-15</inkml:trace>
</inkml:ink>
</file>

<file path=ppt/ink/ink18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6:36:38.689"/>
    </inkml:context>
    <inkml:brush xml:id="br0">
      <inkml:brushProperty name="width" value="0.05292" units="cm"/>
      <inkml:brushProperty name="height" value="0.05292" units="cm"/>
      <inkml:brushProperty name="color" value="#0070C0"/>
    </inkml:brush>
  </inkml:definitions>
  <inkml:trace contextRef="#ctx0" brushRef="#br0">873 1376 0,'503'-53'15,"-424"40"-15,1-1 0,-1 1 0,80 0 16,-93 0-16,0 13 0,-13-13 16,0 13-16,-13 0 0,-14-14 15,0 28-15,-12-14 0,-1 0 0</inkml:trace>
  <inkml:trace contextRef="#ctx0" brushRef="#br0" timeOffset="212.69">1072 1521 0,'-40'0'15,"80"0"-15,-40 0 16,224-26 0,-144 13-16,-1-1 0,1 1 15,12 13-15,-12-13 0,12 0 0,-12 0 16,-1 13-16,-13-14 0,40 14 15,-53 0-15,-14-13 16,1 13-16,0 0 0,-14 0 0,14 0 16</inkml:trace>
  <inkml:trace contextRef="#ctx0" brushRef="#br0" timeOffset="641.16">4485 1244 0,'0'0'16,"39"0"-16,-12 0 0,26 0 15,0 0-15,26 0 0,14-14 16,12 14-16,1 0 0,27 0 0,-1 0 0,13 0 15,-12 0-15,12 0 0,-12 0 16,-28 0-16,14 0 0,-13 0 0,-13 0 16,-14 0-16,1 0 0,-14 0 15,-13 0-15,0 0 0,-27 0 16,1 14-16,-14-14 0</inkml:trace>
  <inkml:trace contextRef="#ctx0" brushRef="#br0" timeOffset="873.91">4564 1468 0,'40'0'16,"-80"0"-16,106 0 0,-13-13 0,13 13 0,27-13 15,-1 0-15,28 0 0,-28 13 0,40-14 16,-12 1-16,12 0 0,0 13 15,0-13-15,-13-1 0,-13 14 0,-13 0 16,-1-13-16,1 13 0,-27 0 0,0 0 16,-13 0-16,-13 0 0,-14 0 15,1 0-15,-1 0 0,-12 13 0,-1-13 16</inkml:trace>
  <inkml:trace contextRef="#ctx0" brushRef="#br0" timeOffset="2432.92">5794 3043 0,'40'0'0,"13"0"16,0-14-16,211-12 15,41 0 1,-213 12-16,1 1 0,0 0 0,251-27 31,-278 27-31,53 0 16,-93 0-16,-13 13 0,1 0 0</inkml:trace>
  <inkml:trace contextRef="#ctx0" brushRef="#br0" timeOffset="2608.81">6575 3109 0,'212'-53'0,"-133"40"0,-13-1 0,27 1 16,-14 0-16,0 0 0,14 0 16,-14-1-16,1 14 0,12-13 0,-12 13 15,12 0-15</inkml:trace>
  <inkml:trace contextRef="#ctx0" brushRef="#br0" timeOffset="3421.1">12819 2950 0,'199'13'0,"-133"-26"16,0 13-16,13-13 0,146-27 15,-146 27-15,1-13 0,-1 12 16,-13-12-16,14-14 0,-14 14 16,0-14-16,93-79 15,-106 79-15,-27-13 0,1 14 16,-14-14-16,0 13 0,-13-13 0,-13 0 16,-14 0-16,-12 0 0,-1 0 15,-13 14-15,0-14 0,-79 0 16,66 40-16,-27-1 0,14 14 0,-14 14 15,14-1-15,-27 13 0,0 14 16,0 0-16,27-1 0,-14 14 0,14 0 16,13 0-16,13 0 0,0 0 0,13-13 15,14 13-15,-1 0 0,1-1 16,26-12-16,-13 53 0,26-54 16,0 1-16,0-13 0,14 26 0,-1-27 15,1 0-15,-1 1 0,1-1 16</inkml:trace>
  <inkml:trace contextRef="#ctx0" brushRef="#br0" timeOffset="7692.77">1574 10530 0,'-53'-13'15,"40"13"-15,40 0 32,-14 0-32,13 0 0,1 0 15,-14 0-15,13 13 0,1-13 16,26 0-16,-27 0 0,27 0 16,-26 0-16,12 0 15,-25 14-15,-1-14 16,0 0-16</inkml:trace>
  <inkml:trace contextRef="#ctx0" brushRef="#br0" timeOffset="7896.45">1495 10663 0,'-119'26'15,"145"-26"1,1 0-1,39-13-15,-13 0 16,-13 13-16,-1-14 0,14 14 0,-13 0 16,-14-13-16,14 13 0,26-13 15,-39 13-15,-1 0 0,-13 0 16,0 0-16,1 0 0,-1 0 16,0 0-16,0 0 0</inkml:trace>
  <inkml:trace contextRef="#ctx0" brushRef="#br0" timeOffset="9208.68">2725 10372 0,'357'-27'16,"-277"27"-16,250 0 0,-237 0 15,0 0-15,-1 0 0,1 0 0,-14 13 16,93-13-16,-79 0 0,-14 14 16,1-14-16,-27 0 0,105 0 15,-118 0-15,-14 0 16,1 0-16,13 13 0,-27-13 15,0 0-15,0 0 16</inkml:trace>
  <inkml:trace contextRef="#ctx0" brushRef="#br0" timeOffset="9584">2712 10464 0,'26'0'16,"-12"-13"-16,25 13 0,54 0 16,-27 0-16,13 0 15,1-13-15,12 13 0,1 0 0,13 0 0,0 0 16,26 0-16,-26 0 0,0 0 15,26 0-15,-26 0 0,0 0 16,-1 0-16,-12 0 0,0-13 0,-14 13 16,14 0-16,-27 0 0,13 0 15,-26-14-15,-13 14 0,39 0 16,-52 0-16,12 0 0,-25 0 16,-1-13-16,0 13 0,0 0 15,-52 0 16,12 0-15</inkml:trace>
  <inkml:trace contextRef="#ctx0" brushRef="#br0" timeOffset="12244.9">9591 3810 0,'159'-26'16,"-133"26"-16,-12 0 0,-1 13 0,0-13 0,0 26 15,-13 1 1,0-1-16,-13-13 0,0 14 16,-14 13-16,14-14 0,-13-13 0,12 14 15,-12-14-15,13 13 0,0-12 16,-27-1-16,40 0 0,-13-13 0,-1 13 16,14 1-16,-13-14 15,26 13 1,1-13-16,-1 0 0,0 0 0,0 0 15,14-13-15,-1 13 0,1 0 16,-14 0-16,53-14 16,-53 14-16,14 0 0,-1 0 0,1-13 0,-14 13 15,0-13-15,14 13 0</inkml:trace>
  <inkml:trace contextRef="#ctx0" brushRef="#br0" timeOffset="12551.93">10345 3797 0,'-26'13'16,"13"-13"-16,-1 13 0,1 0 16,-13-13-16,12 14 0,-12-1 0,13 0 15,-14 0-15,1 1 16,13-1-16,-1 0 0,14 0 15,-13-13-15,13 14 0,13-1 16,1 0-16,-1-13 16,0 0-16,13 13 0,-12-13 15,12 0-15,-13 0 0,1 0 16,12 0-16,14-13 16,-27 13-16,0 0 0,0 0 0,1 0 15,-14-13-15,13 13 0,-13-13 16</inkml:trace>
  <inkml:trace contextRef="#ctx0" brushRef="#br0" timeOffset="12729.91">10332 3797 0,'-13'13'32,"13"0"-32,0 0 0,0 1 15,0-1-15,0 0 0,0 0 16,0 14-16,0-1 0,0-12 0,0 12 15,0-13-15,0 0 0,0 14 0,0-14 16,0 14-16,13-14 0,-13 0 16,13 0-16,0 1 0</inkml:trace>
  <inkml:trace contextRef="#ctx0" brushRef="#br0" timeOffset="13340.12">11470 3744 0,'26'13'15,"-13"-13"-15,-13 27 16,0-14-16,0 0 15,0 0-15,0 0 0,-13 1 16,13 25-16,-13-25 0,13-1 0,-13-13 16,13 13-16,0 0 0,-14-13 15,14 14-15,0-1 16,14-13-16,12 0 16,-13-13-1,14 13-15,-14 0 0,27-14 16,-14 14-16,-13-13 0,27 13 15,-27 0-15,1 0 0,-1 0 16</inkml:trace>
  <inkml:trace contextRef="#ctx0" brushRef="#br0" timeOffset="15236.8">9816 4617 0,'-13'26'15,"13"-12"-15,-13 52 16,13-53-16,0 0 0,0 0 15,0 1-15,0 12 16,0-13-16,13 1 0,-13-1 16,13 13-1</inkml:trace>
  <inkml:trace contextRef="#ctx0" brushRef="#br0" timeOffset="16090.26">10081 4657 0,'39'-14'15,"-25"14"-15,-1 0 0,0 0 0,0 0 16,0 0-16,14 14 16,-14-1-16,-13 0 15,0 0-15,0 1 16,-13-1-16,13 0 0,-40 53 15,14-26 1,26-27-16,-13 14 16,26-14 15,0-13-31,0 0 0,27-13 16,-14 13-16,-12 0 15,12 0-15,-13-14 16,1 14-16,12 0 0,-13 0 0,0 0 0,1 0 15,-1 0-15,0 0 0,0 0 16</inkml:trace>
  <inkml:trace contextRef="#ctx0" brushRef="#br0" timeOffset="17398.83">11523 3770 0,'13'0'0,"-26"-26"47,-14 26-32,14-13-15,-27 13 16,1-14-16,25 14 0,1 0 16,-13 0-16,12 0 0</inkml:trace>
  <inkml:trace contextRef="#ctx0" brushRef="#br0" timeOffset="18541.93">11324 4604 0,'13'-27'0,"1"27"16,-1-13-16,13 13 16,-12 13-16,-1-13 15,-13 14-15,0-1 16,0 0-16,0 0 0,-13 27 16,-1-27-16,-12 14 0,13-1 0,-14-13 15,14 14-15,13-14 0,-27 27 31,14-40-31,26 13 16,1-13-16,25 0 16,-12-13-16,-1 13 0,1 0 15,12-14-15,-12 14 0,-1 0 16,-12 0-16,-1 0 0,13 0 16,-12 0-16,-14 14 15</inkml:trace>
  <inkml:trace contextRef="#ctx0" brushRef="#br0" timeOffset="19299.62">10134 5503 0,'-14'0'16,"-39"66"-1,53-39-15,-13-1 0,0 14 16,0 26 0,13-39-16,13-14 0,-13 13 0,13-12 15,-13-1-15,13 0 0,1 0 0,-1 1 16,0-14-16,0 0 0,1 13 15,-1-13-15,13-13 16,-13-1 0,-13 1-16,-13 0 15,0 13 1,0 0-16,0-13 0,-1 13 0,-12 13 16,13-13-16,-1 0 0,-25 13 15,12-13-15,14 13 0,0-13 16,0 14-16</inkml:trace>
  <inkml:trace contextRef="#ctx0" brushRef="#br0" timeOffset="22036.19">11430 5609 0,'66'-13'0,"-53"13"0,1 13 15,-1 0-15,-13 1 0,13-1 16,-13 0-16,-13 0 0,13 14 0,-13-14 16,-1 13-16,14-12 0,-13 12 15,0-13-15,0 14 16,-1-14-16,14 0 0,-13 1 0,13-1 15,13 0 1,14-26 0,-1 13-16,-12 0 0,12-13 15,1 13-15,-1 0 0,0-14 16,-12 14-16,12 0 0,1 0 0,-14 0 16,0 0-16,0 0 0,1 0 0</inkml:trace>
  <inkml:trace contextRef="#ctx0" brushRef="#br0" timeOffset="22778.47">10081 6429 0,'79'14'0,"-66"-14"0,-13 13 16,-13 13-16,13 1 15,-13-14 1,26 0-16,-13 14 16,13-27-16,-13 13 15,13 0-15,1-13 0,-1 13 0,0 1 16,-13-1-16,13-13 0,-13 13 15,14 0-15,-14 1 0,0-1 16,-14 0-16,14 0 0,-13 0 16,0 1-16,0-1 0,-1 0 0,1 0 15,-13 1-15,13-1 0,-1 0 0,-12-13 16,13 13-16,-1-13 0,1 0 16,0 0-16</inkml:trace>
  <inkml:trace contextRef="#ctx0" brushRef="#br0" timeOffset="24821.98">11417 6456 0,'0'-13'0,"26"13"0,-13 13 16,1 0-1,-14 0-15,0 1 16,13-1-1,0 13 1,0-13-16,1 1 0,-1-1 16,0 0-16,0 0 0,1 1 0,-1-1 15,0 0-15,-13 0 16,0 1-16,0 25 16,-13-39-16,13 13 0,-13 1 15,-1-1-15,1 0 0,0 0 16,0 1-16,-1-14 15,1 13-15,0-13 0</inkml:trace>
  <inkml:trace contextRef="#ctx0" brushRef="#br0" timeOffset="25316.92">10041 7369 0,'0'66'0,"0"-40"16,0-13-16,-13 80 16,13-53-16,-14-1 0,1-12 15,13 13-15,-13-1 0,0 1 0,0 0 16,13-14-16,-27 27 15,27-26-15</inkml:trace>
  <inkml:trace contextRef="#ctx0" brushRef="#br0" timeOffset="26085.07">10993 3916 0,'0'450'16,"0"-318"-16,27 304 16,-14-277-16,40 331 15,-40-332-15,0 14 0,14-13 16,-14 0-16,14-14 0,-1 133 15,1-145-15,-14-14 0,26 172 16</inkml:trace>
  <inkml:trace contextRef="#ctx0" brushRef="#br0" timeOffset="27079.99">3043 10411 0,'13'0'16,"0"0"-16</inkml:trace>
  <inkml:trace contextRef="#ctx0" brushRef="#br0" timeOffset="27356.57">4604 10570 0</inkml:trace>
  <inkml:trace contextRef="#ctx0" brushRef="#br0" timeOffset="27774.07">6363 10689 0,'27'13'0</inkml:trace>
</inkml:ink>
</file>

<file path=ppt/ink/ink18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09:49.831"/>
    </inkml:context>
    <inkml:brush xml:id="br0">
      <inkml:brushProperty name="width" value="0.05292" units="cm"/>
      <inkml:brushProperty name="height" value="0.05292" units="cm"/>
      <inkml:brushProperty name="color" value="#0070C0"/>
    </inkml:brush>
  </inkml:definitions>
  <inkml:trace contextRef="#ctx0" brushRef="#br0">16351 9234 0,'13'13'94,"1"-13"-78,-1 0-16,0 0 15,27 0-15,-27 0 0,0 0 0,27 0 16,-27 0-16,0 0 16,27 0-1,-27 0-15,1 0 16,-1 0 0,0 0-16,0-13 31</inkml:trace>
  <inkml:trace contextRef="#ctx0" brushRef="#br0" timeOffset="410.81">16523 9128 0,'27'13'31,"-14"1"-31,0-14 0,14 13 16,-14 0-16,0-13 0,0 0 15,1 13-15,12 14 16,-13-14-16,0 0 16,-13 0-16,-13 14 15,0-14 1,13 0-16,-13 1 0,0-1 15,-27 13-15,27-13 16,-1 1-16,14-1 0,-13-13 0</inkml:trace>
  <inkml:trace contextRef="#ctx0" brushRef="#br0" timeOffset="26216.24">17410 9181 0,'0'-13'0,"0"39"47,0 27-32,0-40-15,0 14 16,0-1-16,0 54 15,0-67-15,0 13 16,-14-12-16,14 12 0,0-13 0,0 14 16,0-14-16,0 13 15,0-12 17</inkml:trace>
  <inkml:trace contextRef="#ctx0" brushRef="#br0" timeOffset="26716.07">17396 9115 0,'14'-40'0,"-1"27"0,0 13 16,0 0-16,14 0 16,-1 13-1,-13 0-15,1-13 0,-14 14 0,0-1 16,0 0-16,0 0 0,0 14 15,-14-1-15,14-12 16,-13-1-16,0 0 0,13 0 0,-13 0 0,-14 27 16,14-40-1,0 27 1,0-27-16,13 13 0,-14-13 16,14 26-1,14-13 1,-1 1-16,0-1 0,0 0 15,0-13 1,14 27-16,-14-27 0,0 0 16,1 13-16,-1-13 15,27 0 1,-14 0-16</inkml:trace>
  <inkml:trace contextRef="#ctx0" brushRef="#br0" timeOffset="27061.71">17714 9472 0,'13'-53'16,"-26"13"15,0 40-15,-1 0-1,1 27 1,13-1 0,0-12-16,0 12 15,27-13 1,-14 1-1,13-14 17,-12 0-32,12-14 0,-13 14 15</inkml:trace>
  <inkml:trace contextRef="#ctx0" brushRef="#br0" timeOffset="27331.18">17859 9419 0,'0'-13'15,"0"26"-15,14-39 0,-14 52 47,13-13-31,-13 1-16,13-1 15,-13 0-15,0 0 16,27 1 0,-1-14-16,-13-14 15,14 1 1,-14-13-1,0 12-15,0 1 16,-13-13 0,14 12-1,-1 14 1</inkml:trace>
  <inkml:trace contextRef="#ctx0" brushRef="#br0" timeOffset="28755.01">16708 8546 0,'0'-13'16,"-13"39"-16,-13 27 16,13-40-16,-27 67 15,13-54-15,14 1 16,0-14-16,0 13 0,-1-12 0,-12 25 16,26-25-16,-13-1 15,13 0-15</inkml:trace>
  <inkml:trace contextRef="#ctx0" brushRef="#br0" timeOffset="28935.75">16523 8731 0,'0'-13'0,"40"26"15,-27 0 1,27 14-1,-27-27-15,0 13 0,1 0 16,-1-13-16,0 14 0,0-14 16,14 13-1</inkml:trace>
  <inkml:trace contextRef="#ctx0" brushRef="#br0" timeOffset="29259">16814 8625 0,'14'14'16,"-1"-14"-16,0 0 16,0 0-1,0 0-15,1 0 0,-14-14 16,13 14-16,13-13 15,-39 40 17,0-1-17,13-13 1,-13 1-16,13-1 16,-14 40-16,14-40 0,-13 0 0,13 0 15,0 1 1,0-1-16,13 0 15</inkml:trace>
  <inkml:trace contextRef="#ctx0" brushRef="#br0" timeOffset="29583.33">17066 8665 0,'26'-13'0,"-13"13"16,-13 13 0,-13 14-1,13-14-15,0 0 0,0 27 16,0-27-1,0 0-15,0 0 0,13 14 16,14-14 0,-1-13-1,1-13 1</inkml:trace>
  <inkml:trace contextRef="#ctx0" brushRef="#br0" timeOffset="29770.8">16999 8797 0,'27'-13'16,"-14"13"-16,0-13 0,40 0 16,40-14-1,-67 27-15,1 0 0,-14-13 16,14 13-16,25 0 15,-38 0-15,12 0 0</inkml:trace>
  <inkml:trace contextRef="#ctx0" brushRef="#br0" timeOffset="31586.35">18521 9406 0,'26'0'16,"-12"-13"-1,12 13-15,93-14 16,-93 14 0,1-13-16,-1 13 0,1 0 15,39-13-15,-26 13 16,-27 0-16,13-13 15,-12 13 1,-1 0-16,0 0 16</inkml:trace>
  <inkml:trace contextRef="#ctx0" brushRef="#br0" timeOffset="31867.74">18918 9234 0,'13'0'0,"0"13"0,27 0 15,-27-13-15,40 27 16,-40-14-16,0 0 16,1 1-16,-1-1 15,0 0-15,-13 0 0,0 0 16,-13 1-16,13 12 0,-13-13 0,-1 14 0,1-14 16,0 14-16,-13-1 15,12 0-15,1-12 16</inkml:trace>
  <inkml:trace contextRef="#ctx0" brushRef="#br0" timeOffset="32895.05">19672 9221 0,'13'26'15,"-13"-13"1,0 1-16,0-1 0,-13 53 31,13-53-31,0 0 0,0 1 16,0 12-1,0-13-15,0-39 32,13-14-17,-13 27-15,0 0 16,13-27-16,-13 27 15,0 0-15,0-1 0,0 1 16,0 0 0,13 13-16,1 13 31,12 0-15,-13-13-16,1 0 15,12 0 1,-13 0-1,1 0 1,-1 0-16,0 0 16,0 14-1,0-1 1,1-13 0,-1 13-1,0 0-15,0 1 0,1-1 31,-1-13-31</inkml:trace>
  <inkml:trace contextRef="#ctx0" brushRef="#br0" timeOffset="33296.16">20095 9234 0,'-13'13'31,"13"0"-15,13 1-16,-13-1 0,0 0 15,13-13 1,1 0-16,-1 0 15,0-13 1,0 0-16,0-1 31,1 14-15,-1 14 15,-13-1-15,13-13-16,-13 13 0,0 0 15,0 1 1,13-14-16,-13 13 16</inkml:trace>
  <inkml:trace contextRef="#ctx0" brushRef="#br0" timeOffset="33805.32">20360 9221 0,'-14'13'16,"14"0"-1,0 0 1,0 1-1,-13-1-15,26-13 16,1 0 15,-1-13-15,13-1 0,-12 14-1,-1 0-15,0 0 16,0 0-1,1 0 1,-1 14 15,0-14 1,0 0-1,0 0-16,1 0 17,-14-14-17</inkml:trace>
  <inkml:trace contextRef="#ctx0" brushRef="#br0" timeOffset="34216.23">20677 8983 0,'-13'13'15,"0"-13"1,0 66 0,13-53-16,-14 0 15,14 1-15,0-1 0,0 0 16,0 0-16,-13 1 15,13-1-15,13-13 32,1 0-17,-1 0 1,0 0-16,0 0 16,0 13-16,1-13 15,-1 13 1,0 1-16,-13-1 15,0 0-15,-13-13 0,13 13 16,-13 0-16,-1-13 0,14 14 16,-13-14-16,0 0 15,13 13 1,-13-13-16</inkml:trace>
  <inkml:trace contextRef="#ctx0" brushRef="#br0" timeOffset="34626.87">20955 9128 0,'0'-13'0,"-40"39"16,27-12 0,0-1 15,13 0-31,0 0 16,0 1-1,26-14-15,-26-14 16,14 14-1,-1 0 1,0 0-16,-13 14 16,13-14-16,-13 13 15,0 0-15,0 0 32</inkml:trace>
  <inkml:trace contextRef="#ctx0" brushRef="#br0" timeOffset="34823.76">21114 8969 0,'-27'93'16,"14"-53"-16,0-40 0,13 13 0,0 0 16,0 0-16,-13 1 0,13-1 15,0 0 1</inkml:trace>
  <inkml:trace contextRef="#ctx0" brushRef="#br0" timeOffset="35505.19">19050 9803 0,'278'66'16,"-212"-53"-16,0 0 0,0 1 0,0-14 15,-13 13-15,-13-13 0,13 13 16,-13-13-16,-1 13 0,-12-13 0,-14 0 16,66 27-1,-65-27 1</inkml:trace>
  <inkml:trace contextRef="#ctx0" brushRef="#br0" timeOffset="35882.3">20452 9790 0,'14'26'0,"-14"-13"16,0 27-16,0-27 16,0 40-1,13-26-15,-13-14 0,0 0 0,0 13 16,0-12-16,0-1 0,13-13 0,-13 13 16,0 0-16,13 1 15</inkml:trace>
  <inkml:trace contextRef="#ctx0" brushRef="#br0" timeOffset="36141.82">20439 9776 0,'27'-26'0,"12"39"16,-26-13-16,27 13 16,-40 1-16,13-1 0,1 0 15,-14 27 1,0-27 0,-14-13-16,14 13 0,-13 0 0,13 1 15,-13-14-15,13 13 0,-13-13 16,13 13-16,-14-13 15</inkml:trace>
  <inkml:trace contextRef="#ctx0" brushRef="#br0" timeOffset="36540.85">20730 9856 0,'-13'13'32,"13"0"-17,0 0-15,0 1 0,0-1 0,0 0 16,13 0 0,0 1-1,1-14 1,12 0-16,-13-14 15,-13 1-15,13 0 16,1 13-16,-14-13 0,13-1 16,0 14 15,0 27-15,-13-14-16,0 0 15,14 1 1,-14-1-16,0 0 15,13 0 1,0-13 0</inkml:trace>
  <inkml:trace contextRef="#ctx0" brushRef="#br0" timeOffset="37006.99">21034 9869 0,'-26'13'16,"26"0"0,-13 1-1,13 12-15,13-39 63,0 13-48,-13-13-15,13 13 16,1 0 15,-14 13-31,13-13 0,27 0 32,-27 0-32,0 0 0,-13-13 15,13 13-15,14-14 16,-14 1-1,-13 40 17,-13-14-17,26 0 1,0-13 0,14 0-1,-14 0-15,0 0 0,13-13 0,-12 13 16,25-27-1</inkml:trace>
  <inkml:trace contextRef="#ctx0" brushRef="#br0" timeOffset="37526.81">16603 11192 0,'92'0'0,"-65"0"0,-1 0 0,1 0 16,-1 0-16,1 0 0,-1 0 0,0 0 15,-12-13-15,25 13 16,-25 0-16,12 0 15</inkml:trace>
  <inkml:trace contextRef="#ctx0" brushRef="#br0" timeOffset="37753.8">16880 11073 0,'119'26'16,"-105"-13"-1,-14 1-15,13-1 0,0-13 0,-13 13 0,13 0 16,-13 1-16,0-1 0,-13 0 0,13 0 16,0 1-16,-26 25 15,26-26-15,-14 1 16,1-1-16,0-13 0,13 13 0</inkml:trace>
  <inkml:trace contextRef="#ctx0" brushRef="#br0" timeOffset="47328.15">18415 1614 0,'-13'-13'46,"26"13"1,0 0-47,0 0 16,14-13 0,-1 13-16,1 0 0,-1 0 0,14-14 0,0 1 15,-1 13 1,1-13-16,66 0 0,-80-1 15,1 14-15,-1 0 0,-13-13 0,80 0 32,-80 13-17,1 0-15,-1-13 16</inkml:trace>
  <inkml:trace contextRef="#ctx0" brushRef="#br0" timeOffset="47596.59">18891 1376 0,'53'0'0,"-26"13"16,-1-13-16,1 13 0,-14-13 0,13 14 15,14 12 1,0 14-16,-40-27 16,0 40-1,-14-27-15,-12 1 0,-1-1 0,1 14 0,-67 52 16,67-65 0,-1-14-16</inkml:trace>
  <inkml:trace contextRef="#ctx0" brushRef="#br0" timeOffset="50780.57">17198 1759 0,'13'27'0,"-13"-14"0,0 0 15,13 27-15,1 13 16,-14-40-16,0 0 0,13 40 15,-13-39-15,13-1 16,-13 0-16,0 0 16,0 1-1,13-41 17,-13 14-32,0-14 0,0-26 15,0 27-15,0 0 16,0-14-16,0 13 0,14-39 15,-14 40-15,0 13 16,13-1-16,-13 1 0,13 0 0,0 0 16,0 13-16,1 0 15,-1 0-15,0 0 0,0 13 0,27 27 16,-27-27 0,0 0-16,14 27 15,-27-14-15,13-13 0,-13 1 16,13-1-16,-13 0 0,0 0 15,0 14-15,0-14 0,0 0 0,0 0 16</inkml:trace>
  <inkml:trace contextRef="#ctx0" brushRef="#br0" timeOffset="50972.91">17251 2064 0,'13'-40'16,"0"27"-16,1 0 0,12-1 16,0 1-1,14-13-15,-13 26 0,-14 0 16,0-14-16,0 14 16,27 0-16</inkml:trace>
  <inkml:trace contextRef="#ctx0" brushRef="#br0" timeOffset="51815.87">17674 1984 0,'0'-26'62,"-13"-1"-46,0-12 0,-1 26-16,1-27 15,0 13 1,13 14-16,-13 0 15,13 0 1,0-1 15,-13 14-15,13-13 31,26 26 140,-13 1-171,0-1-16,40 53 31,-39-53-31,-1 1 0,0-1 16,14 0-1,-14 0 1,0-13-16,0-13 16,-13-27 15,0 27-31,0-13 0,0-14 0,0 27 16,0-14-16,-13 14 0,13 0 0,0 0 15,0-27 1,0 13-16,-13 27 0,26-13 15,0 26 32</inkml:trace>
  <inkml:trace contextRef="#ctx0" brushRef="#br0" timeOffset="52135.47">17965 1574 0,'27'0'32,"-14"0"-32,0 14 15,-13-1-15,13 0 16,-13 0-16,0 0 0,0 14 15,0-14 1,0 0-16,0 1 0,0-1 16,14 13-1,-14-13-15,13-13 0,0 14 16,0-14-16,1 0 16,-1 0-16,0-14 15,0 1 1</inkml:trace>
  <inkml:trace contextRef="#ctx0" brushRef="#br0" timeOffset="52325.21">17965 1759 0,'13'-13'31,"14"0"-31,-1 0 15,-12 13-15,-1-13 0,13-1 16,1 1 0,-14 13-16,0 0 15</inkml:trace>
  <inkml:trace contextRef="#ctx0" brushRef="#br0" timeOffset="53447.99">17542 2712 0,'13'-13'15,"0"0"-15,1 13 0,12-14 16,40-12-16,-39 13 15,-1-1-15,1 14 0,-14-13 0,0 0 16,13 0 0,-12 13-16,-14-14 0,-14 14 31,-12 27-15,13-1-1,13-12-15,0-1 0,-13 13 16,13-12-16,0 12 0,-14 27 15,14-40-15,-13 40 16,0-40-16,13 1 0,0-1 16,0 0-16,-13-13 0,13 13 15,-14 0-15,41-26 63,13 13-48,-27-13-15,13 13 0,-13-13 0,14 13 16,26-13 0,-40 13-16,0-14 0,27 14 31</inkml:trace>
  <inkml:trace contextRef="#ctx0" brushRef="#br0" timeOffset="53796.2">18071 2844 0,'-13'-26'0,"13"-1"16,0 14-16,0 0 0,0-40 31,0 40-31,0 0 16,13 13-1,0 0 1,1 0-16,-1 0 16,13 0-1,-13 0 1,1-14-16,-1 1 16,0 13-16,-13-13 15,13 0-15,-13-1 16,14 1-1,-14 0 1,13 0-16</inkml:trace>
  <inkml:trace contextRef="#ctx0" brushRef="#br0" timeOffset="54138.92">18256 2553 0,'13'0'0,"1"0"15,-1 13-15,0-13 16,0 27-1,-13-14-15,14 0 16,-14 1 0,0-54 31,0 13-47,0 14 15,0 0-15,0 0 0,13 0 0,0-1 16,27-12-1,-1 26 1,-12 0 0,-27 13-1,0 27 1,-13-40-16,13 13 0,-14 0 16,1 14-16,13-14 15,-13-13-15,13 13 16</inkml:trace>
  <inkml:trace contextRef="#ctx0" brushRef="#br0" timeOffset="54306.77">18812 2461 0,'40'-27'0,"-27"27"0,0 0 0,0 0 16,-13-13-16,13 13 15</inkml:trace>
  <inkml:trace contextRef="#ctx0" brushRef="#br0" timeOffset="54526.41">18944 2355 0,'40'0'16,"-27"0"-16,0 13 0,1-13 0,-1 13 16,0 27 15,-26-14-31,0-12 0,13-1 0,-14 0 15,1 0-15,0 1 0,0-1 16,-1-13-16</inkml:trace>
  <inkml:trace contextRef="#ctx0" brushRef="#br0" timeOffset="55350.99">19368 1310 0,'26'-27'15,"14"27"1,-27 13-16,13-13 0,-12 14 0,-1 12 0,0-13 15,-13 14-15,13 13 16,0-14-16,-13 0 0,0 1 0,0-1 16,0 41-1,0-54-15,0 0 0,14 0 16,-14 0-16,13 1 0,13-1 16,-12-13-1,12 0-15,-26-13 16,13 13-16,-13-14 0,14 14 0,-1-13 15,0 13 1,0 13 0,0 1-16,1 12 0,-1 14 15,13 66 1,1-27 0,-1 0-16,-12-39 0,-1-13 0,-13-1 15,13 0-15,-13 1 0,0 13 16,0-27-16,0 13 15,-13 1-15,13-14 0,-13 0 0,-1 14 16,-12-14 0,13-13-16,-1 0 0,1 0 15,0-27 1,13 14-16,0-13 16,0 12-16</inkml:trace>
  <inkml:trace contextRef="#ctx0" brushRef="#br0" timeOffset="55723.92">20188 1468 0,'0'-13'0,"13"66"31,-13-40-16,13 80 1,-13-67-16,0-12 0,0-1 0,0 0 16,13 0-16,-13 40 15,14-53-15,-1 0 16,0 0 0</inkml:trace>
  <inkml:trace contextRef="#ctx0" brushRef="#br0" timeOffset="56016.13">20122 1429 0,'52'-66'16,"-38"66"-16,52 0 15,-13 26 1,-40-26 0,0 13-16,-13 1 0,-13 25 15,-13 1 1,-1-14-16,14-12 16,-14 12-1,27-13-15,-13-13 16,26 14-1,-13-1-15</inkml:trace>
  <inkml:trace contextRef="#ctx0" brushRef="#br0" timeOffset="56615.02">20545 1667 0,'13'-27'0,"-13"14"0,-13 0 16,13 0 0,-13 0-16,-1-1 15,1 14 1,-13 14-1,13-1-15,-1 13 16,14-13 0,14 1-16,-1 12 15,0-26-15,0 0 16,0 0-16,1 0 16,25-26-1,-25 26-15,12-27 16,-26 14-16,13 13 15,1-13-15,-1 13 16,0 0 0,13 13-1,-26 0-15,0 0 0,14 1 16,-14-1 0,0 0-16,13 0 15,-13-39 16,0 13-15,13-1 0,14-25-1,-1 12 1,0 1 0,-26 13-16,27-1 15</inkml:trace>
  <inkml:trace contextRef="#ctx0" brushRef="#br0" timeOffset="57371.06">20889 1270 0,'-13'0'0,"13"40"15,0-27 1,13 0-16,-13 67 15,13-54-15,-13 93 16,13-79-16,-13-14 0,0 14 16,0 39-1,-13-52-15,13-1 0,-13 27 16,13-40-16,-13 14 16,-1-14-1,14 0-15,-13-13 0,0-13 16,13 0-1,0 0-15,13-40 16,0 26-16,-13 1 0,14 12 0,-14-12 16,13 13-16,0 0 0,-13-1 15,13-25-15,1 25 16,-14 1 0,13 0-1,0 26 16,0 0-15,0-13 0,1 0-16,-1 0 15,0 0 1,-13-13-16,13 13 0,-13-13 16,14 0-1,-14 0-15,-14-14 31,14 14-31,0 0 16,14 13 0,-1 0-1,0 13 1,0 0 0,1 0-1,-1 1-15,0-14 16,0 13-1,0-26 17,1 13-17,-1-14-15,0 1 16,0 0-16,1 0 0,-1 13 0,0-14 16,0 1-1</inkml:trace>
  <inkml:trace contextRef="#ctx0" brushRef="#br0" timeOffset="57896.03">21299 1495 0,'0'13'15,"0"14"1,13-14 0,-13 0-1,0 0 1,13-26-1,1 13 1,12-13 0,-13 0-1,1 13 1,-1-14 0,0 28-16,0-14 31,0 0-16,1 13 17,-1-13-17,13-13 1,-12 13-16,-14-14 16,13 14-16,0 0 0,0 0 0,14-13 15,-14 13-15,0 0 16,0 0-1</inkml:trace>
  <inkml:trace contextRef="#ctx0" brushRef="#br0" timeOffset="59872.85">21418 913 0,'40'-13'15,"-27"-1"-15,40 1 16,-40 13-16,66-26 31,-65 26-31,12 0 16,-26 13-16,13-13 0,27 53 31,-13-14-31,-14-12 0,53 92 16,-53-79-16,27 13 0,-14-14 15,1 14-15,26 27 16,-27-27-16,1-14 0,25 54 16,-12-27-1,-13-13-15,26 13 0,-40-40 0,13 14 16,-13 0-16,40 39 15,-39-52-15,-1-1 0,0 14 16,-13-14 0,0-12-16,-13 25 15,0-26-15,-14 14 0,1-14 0,-1 14 0,-12-14 16,12 13-16,-13-13 0,1 1 16,-1 12-16,0-26 0,1 13 0,-54 1 15,80-1 1</inkml:trace>
  <inkml:trace contextRef="#ctx0" brushRef="#br0" timeOffset="60719.08">17132 1283 0,'-146'53'0,"120"-40"15,-1 1-15,-26 39 16,40-27-16,-13 0 0,26 1 0,-13 13 0,13-1 15,0 80 1,0-79-16,13 79 16,0-66-16,0 0 0,27 66 15,-27-53-15,14 0 0,-14-13 16,13 27-16,-13-14 0,67 145 16,-67-131-16,14-14 0,-14 13 15,0-13-15,40 133 16,-40-133-16,0-13 0,1 13 15,-14-26-15,13-1 0,0 1 0,-13-13 16,13-14-16,-13 13 0,14-13 16,-14 1-16,13-14 0,13 13 15,1-13 1,-1-13-16,-13 13 0,27-27 0,-14 14 16,14 0-16</inkml:trace>
  <inkml:trace contextRef="#ctx0" brushRef="#br0" timeOffset="61153.47">18931 3122 0,'701'-264'16,"-357"171"0,-238 66-16,13 1 0,-13-14 0,-27 27 15,1-13-15,-1-1 0,0 14 16,1-14-16,105-25 15,-132 38-15,-14 1 0,28 0 16</inkml:trace>
  <inkml:trace contextRef="#ctx0" brushRef="#br0" timeOffset="67252.99">18045 11033 0,'-40'0'16,"-119"79"15,133-52-31,-80 105 31,93-105-31,13 26 16,13-40-16,0 13 16,0-12-16,1-14 0,38 26 15,-25-26-15,13-13 16,-14 13-16,53-13 16,-65-1-16,12 1 0,27-27 31</inkml:trace>
  <inkml:trace contextRef="#ctx0" brushRef="#br0" timeOffset="67634.97">18217 10980 0,'0'-13'0,"-14"53"31,1-27-31,-13 66 16,26-66-16,0 14 15,-14-14-15,14 0 0,0 1 16,0-1-16,-13 0 0,13 0 0,0 1 16,0-1-16,0 0 15,27-13 16,-1 0-15,-13 0 0,1 0-16,-1 0 0,0 0 0,0 0 15,14 0-15,-14 0 0,0 13 0,0-13 0,14 0 16,-14 0 0,0 13-16,1-13 0,25 14 31,-12-28-16</inkml:trace>
  <inkml:trace contextRef="#ctx0" brushRef="#br0" timeOffset="68175.87">18706 11126 0,'-13'-27'16,"0"27"-16,-14 13 31,14 1-31,0-1 16,-1-13-16,-25 40 15,39-27 1,-13 0-16,13 0 16,13 14-16,0-27 15,0 0-15,0-13 16,1-1 0,12-12-1,-13-1-15,1 14 16,-14 0-1,13 13-15,-13-13 0,13 39 47,-13-13-31,0 14 0,0-14-1,13 0 1,0 1-1,1-14-15,-1 0 16,0 0 0</inkml:trace>
  <inkml:trace contextRef="#ctx0" brushRef="#br0" timeOffset="68544.1">18838 11152 0,'0'-13'0,"0"39"31,-13-12-15,13-1-16,0 0 15,0 0 1,13-13 15,1-13-15,-1 13 15,0 0-31,13 0 16,-12 0-1,-1 0 1,0 13-16,0-13 0,14 0 15,-14 0 1,14 0 0</inkml:trace>
  <inkml:trace contextRef="#ctx0" brushRef="#br0" timeOffset="69027.92">19143 11126 0,'-27'0'15,"27"13"1,0 0-16,0 0 0,0 27 31,0-27-31,-13 1 0,13-1 0,0 0 16,-27 27-16,14-14 15,0-13 1,0-13-16,13 14 31,13-41 1,0 14-17,0 13-15,27-27 16,-27 14-16,14 0 15,-14 13-15,0-13 16,1 13-16,-1 0 16,0 0-16,0 0 31,0 13-15,-13 0-16,14-13 31,-1 0-16</inkml:trace>
  <inkml:trace contextRef="#ctx0" brushRef="#br0" timeOffset="69151.94">19328 11112 0,'-40'-13'15</inkml:trace>
  <inkml:trace contextRef="#ctx0" brushRef="#br0" timeOffset="69514.89">19513 11165 0,'-13'27'0,"13"-14"16,0 0-16,-13-13 16,13 27-1,0-14 1,0 0-1,26-26 17,-13 0-17,0 13 1,1 0-16,-1 0 16,13 13-1,-12-26 1,-1 13-16,0 0 0,0-13 15</inkml:trace>
  <inkml:trace contextRef="#ctx0" brushRef="#br0" timeOffset="69822.19">19751 11152 0,'13'40'31,"-13"-27"-31,0 0 0,-13 1 0,13-1 16,0 0-16,-26 27 16,26-27-16,-14 0 0,1 14 15,0-14-15,0 0 16,0-13-16,39-26 31,0-1-15,-12 14-1,12 0-15,-13-1 16,27-25-16,-27 39 16,14-13-16,-27-1 0,13 14 0,13-13 15,1 0-15,-14 0 16</inkml:trace>
  <inkml:trace contextRef="#ctx0" brushRef="#br0" timeOffset="73657.74">16589 12753 0,'27'13'0,"-14"-13"16,0 0-16,27 0 16,0 13-16,-14-13 15,-13 0-15,14 0 0,-1 0 0,-12 0 16,52-13-1,-53 0-15,13 13 0,-12-13 16,-1 13-16</inkml:trace>
  <inkml:trace contextRef="#ctx0" brushRef="#br0" timeOffset="73891.92">16933 12581 0,'66'26'0,"-52"-12"0,-1-1 15,-13 0-15,13 0 0,0 1 16,-13 12-16,14-13 0,-14 14 0,0-14 16,-14 13-16,14 1 0,-13-1 0,0 1 15,-14-1-15,14-13 0,0 14 16,-13 13-1,12-27-15,1-13 0</inkml:trace>
  <inkml:trace contextRef="#ctx0" brushRef="#br0" timeOffset="74573.94">17515 12422 0,'-26'13'0,"13"-13"16,-14 40-16,14-27 15,-13 40-15,12-26 0,14-1 16,0 1-16,-13-1 0,13-13 0,0 14 16,0-14-16,0 13 0,0-12 15,13 12-15,-13-13 0,14 1 16,-14-1-16,13 0 0,26 0 15,-25-13-15,-1 0 16,13-13-16,-12 13 0,12-13 0,-13 0 16,14-1-16,-14 1 0,0 0 15,14 0-15,-14-1 0,0 1 16</inkml:trace>
  <inkml:trace contextRef="#ctx0" brushRef="#br0" timeOffset="74876.25">17793 12594 0,'-26'13'15,"13"-13"1,-1 27 0,14-14-16,0 0 0,0 1 15,0-1-15,0 0 0,14 0 16,12 0 0,-13-13-16,0 0 0,1 0 15,-1 0-15,0 0 0,0-13 0,1 0 16,-1-27-1,-26 27-15,13 0 16,0 0-16,-14 13 0,1-14 16,0 1-16,-27 0 15,27 13-15,-13 0 16,12 13 0,1-13-16,0 27 15</inkml:trace>
  <inkml:trace contextRef="#ctx0" brushRef="#br0" timeOffset="75348.89">17978 12528 0,'0'13'0,"0"0"0,0 1 0,0 12 16,0-13-1,0 14 1,14-27 0,-1-13 30,0 13-30,0 0 0,1 0-1,-1 0 17,0 0-1,0 0-16,1-14 1,-1 14-16,0 0 16,0-13-16,0 13 0,14 0 15,-1-13 1,-12 13-16,12 0 16</inkml:trace>
  <inkml:trace contextRef="#ctx0" brushRef="#br0" timeOffset="75974.25">18243 12250 0,'13'93'15,"-13"-27"1,0-26-16,13-1 0,-13 1 0,0 0 16,0-1-16,0 1 0,0 0 0,0-14 0,0 14 15,0-14-15,0 14 16,0 13-1,0-40-15,0 0 0,0 1 16,-13-54 0,26-53-1,1 54-15,-14-1 16,26 0-16,-13 1 0,1 12 16,-1 1-16,13 12 0,-12 1 15,-1 0-15,-13 0 0,13 13 0,0-13 0,0 26 31,-13 0-15,0 13-16,-13-12 0,13-1 16,-13-13-16,13 26 15,-13-26-15,13 14 0</inkml:trace>
  <inkml:trace contextRef="#ctx0" brushRef="#br0" timeOffset="76495.19">18587 12581 0,'26'-40'16,"-12"27"-16,-14 0 15,13 13-15,-13-27 16,-13 41 31,-1-1-47,1 0 31,26 0-15,1-26-1,-1 13 1,0 0-16,-13 13 15,13-13 1,1 0-16,-1 0 16,0 13-1,0-13 1,0 0-16,1 0 16,-1 0-16,-13-13 0,13 13 15,27 0 1</inkml:trace>
  <inkml:trace contextRef="#ctx0" brushRef="#br0" timeOffset="77995">19182 12435 0,'-26'-13'16,"13"13"-16,-1 0 16,1 0-16,0 0 0,0 13 15,-14-13 1,27 14-16,0-1 16,0 0-1,27 0 1,-14 1-16,0-14 15,-13 13-15,13-13 16,-13 13-16,-13 13 16,0-26-1,0 14-15,-14-1 16,14-13-16,-27 13 16,27-13-16,13-13 31</inkml:trace>
  <inkml:trace contextRef="#ctx0" brushRef="#br0" timeOffset="78858.97">19487 12435 0,'-27'0'32,"1"14"-17,-14 12 1,27-26-16,-14 27 16,14-14-1,26 0 16,1-13-15,12-13-16,-13 13 16,0 0-16,1-13 0,-1 13 15,0 13 1,0-13 0,1 13-16,-1-13 15,0 13 1,0-13-1,0-13-15,1 13 0,-1-13 0,0 0 0,0 13 16,14-27-16,-14 14 16,0-14-16,14 1 0,12-53 15,-25 52-15,-1 1 0,0 12 16,-13-12-16,13 13 0,-13 0 16,14-1-16,-14 1 0,0 40 46,-14-14-46,14 0 0,0 13 0,0 14 16,0-27 0,0 1-16,27 25 15,-1-12 1,-12-27-16,-1 0 0,0 0 16,0-14-16,14 14 15,-14-13-15,13 0 16,-12 13-16,-1 0 15,0 13 1,0 0 0,-13 1-16,13-14 15,1 13 1,12-13 0,1-27-1</inkml:trace>
  <inkml:trace contextRef="#ctx0" brushRef="#br0" timeOffset="78978.35">20201 12131 0,'-13'-13'15</inkml:trace>
  <inkml:trace contextRef="#ctx0" brushRef="#br0" timeOffset="79164.16">19725 12211 0,'-40'0'0,"80"0"16,-1-14-1,-12 14-15,-1 0 0,1-13 16,12 13-16,-25 0 0,12 0 16</inkml:trace>
  <inkml:trace contextRef="#ctx0" brushRef="#br0" timeOffset="80027.03">20280 12303 0,'-26'27'0,"13"-14"16,13 0-16,-14 13 15,14-12-15,0-1 0,0 0 16,0 0-16,0 1 15,0-1-15,14 0 16,12-13 0,-13-13-16,1 13 15,-1-13-15,0 13 0,-13-14 0,13 1 16,-13-13 0,0 12-16,0 1 0,0 0 0,0 0 15,-13 0 1,0-1-16,0 14 15,-1 0 1,28 14 15,12-1-31,-13-13 16,0 13-16,1-13 16,-1 0-16,0 13 0,0-13 0,1 0 0,-1 13 15,0-13-15,0 14 16,1-14-16,-14 13 15,13-13-15,0 13 16,0 0 0,0-13-1,1 0 1,-1 0 0,13 0-1,1 0 1,-14 0-1,0 0-15,14-13 16</inkml:trace>
  <inkml:trace contextRef="#ctx0" brushRef="#br0" timeOffset="81918.88">21246 12158 0,'-13'0'0,"0"0"0,-1 0 16,14 13-16,-13-13 0,0 13 0,13 0 16,-13 1-16,13-1 0,-14 13 15,14-13-15,0 1 0,-13 12 0,13-13 16,0 1-16,0-1 0,13 0 15,-13 0-15,14 0 0,-14 1 0,13-1 16,0 0-16,0-13 0,1 13 0,-1-13 16,0 0-16,0 0 15,0 0-15,1 0 0,-1 0 16,0 0-16,0-13 0,1 0 16,-1 0-16,0-1 0,-13 1 0,13 0 15,-13-13-15,14 12 0,-14-12 16,13-1-16,-13 1 0,13 13 0,-13-14 15,0 14-15,0-27 0,0 14 16,0 13-16,0-1 0,0 1 16,0 0-16,0 0 0,0 0 15,-13 39 17,13 14-17,-13-1-15,13-25 16,0-1-16,-14 13 15,14-12-15,0-1 0,0 0 0,0 0 0,0 0 16,0 1-16,0-1 16,0 0-1,14-13 1,-14 13-16,13-13 0,0 14 16,13-1-1,-12-13-15,-1 13 16,0-13-16,0 0 0,1 0 15,-1 0-15,13 0 0,-12 0 16,-1 0-16,0 0 0,0-13 0,14 13 16</inkml:trace>
  <inkml:trace contextRef="#ctx0" brushRef="#br0" timeOffset="82556.88">21828 12184 0,'-66'13'16,"66"1"-16,-26-1 16,-1 13-1,27-13-15,-13 1 0,0-1 16,13 0-1,0 0-15,13-13 16,0 0 0,0 0-1,1-13-15,-1 0 16,0 13-16,-13-13 0,13 13 0,0-14 16,1 1-1,-14 26 48,0 1-48,0-1-15,13-13 47,0 0-31,0 0-16,1 0 0,-1-13 31,0 26-15,0-13-16,1 0 15,-1 0 1,0 0 15,0 0-15,0 0-1,1 0 1,12-13 0,-13 13-16,1 0 15</inkml:trace>
  <inkml:trace contextRef="#ctx0" brushRef="#br0" timeOffset="83459.21">22132 12237 0,'-13'0'16,"0"0"-16,0 13 15,13 0 1,0 14-1,0-14-15,0 0 16,0 1-16,-14-1 0,14 0 16,0 0-16,-13 0 0,0 1 15,13-1-15,-13 0 0,0-13 0,13 13 16,-14-13-16,1 14 0,0-14 16,0 13-1,26-40 16,13 14-15,-12 0-16,-1 13 0,0-13 16,0 13-16,-13-14 0,40-12 15,-27 13-15,0 0 16,1-1-16,-14 1 16,13 13-1,-13-13 1,13 26 46,0 0-46,1-13 0,-1 0-16,13 14 15,-13-1-15,14 0 31,-27 0-15,-13 0 0,-1 1-1,1-14 1,0 0 0</inkml:trace>
  <inkml:trace contextRef="#ctx0" brushRef="#br0" timeOffset="85176">22609 12250 0,'13'-13'16,"-26"39"15,13 1-16,0-14-15,0 0 0,0 1 32,13-1-32,0-13 15,0 0 1,1 0-16,-1 0 16,0-13-16,0 13 15,0 0 1,1 13-16,-1 0 15,0-13-15,-13 13 0,13-13 16,1 13-16,12-13 31,-13 0-31,1 0 16,-1-13-16,0 0 16,0 13-1,-13-13-15,13 0 16,-13-1-1,14 14 1,-1-13 0</inkml:trace>
  <inkml:trace contextRef="#ctx0" brushRef="#br0" timeOffset="85335.41">23032 12237 0,'13'0'0,"-13"26"15,0-12 1,0-1-16,0 0 0,0 0 16,0 1-16,-13-14 15,13 13-15,-13 0 16</inkml:trace>
  <inkml:trace contextRef="#ctx0" brushRef="#br0" timeOffset="85459.92">23032 12131 0,'-13'0'0,"26"0"0</inkml:trace>
  <inkml:trace contextRef="#ctx0" brushRef="#br0" timeOffset="85738.98">23283 11972 0,'0'53'0,"-13"-39"0,13 12 15,-13 40-15,13-53 16,0 14-16,0-1 0,0-12 16,-13 25-16,13-26 0,0 1 15,0-1-15,0 0 0,0 0 16,0 1-16,13-14 16</inkml:trace>
  <inkml:trace contextRef="#ctx0" brushRef="#br0" timeOffset="85940.56">23429 11986 0,'0'26'15,"-13"27"1,13-27-16,0-12 0,0-1 15,-14 13-15,14-12 0,-13 25 16,13-25-16,-13-1 0,13 0 16,0 0-16,0 0 0,0 1 15</inkml:trace>
  <inkml:trace contextRef="#ctx0" brushRef="#br0" timeOffset="87363.59">23680 12211 0,'-13'39'15,"13"-12"1,0-14-16,0 0 16,-13 14-1,13-14-15,0 0 0,0 0 32,13-13-32,0 0 15,0-13 1,14-13-1,-14 26-15,-13-14 0,13 14 0,1-13 0,-1 13 16,-13-13-16,26 13 16,-13 13-1,-13 0 1,14-13 0,-14 14-1,13-1-15,0-13 16,0 0-1,1 0-15,12 0 16,-13-13 0,14 13-1,-14 13-15,0-13 0,0 0 16,1 13 0,-1-13-16,0 13 0,0-13 15,1 0-15,25 0 16,-12-26-1,-1-1 1,-26 1 0,0 13-1,-13-1-15,0 1 16,13 0-16,-13 13 0,-27 0 16,27 13-1,-1 0 1,14 1-16,-13-14 0,26 13 15,-13 0-15,14-13 16,-1 13-16,27-26 16,-27 13-16,13-13 0,-13 0 15,14 13-15,-14-27 0,14 14 16,-1 0-16,27-53 16,-40 52-16,0 1 0,1 0 15,-14 0-15,13 13 0,0-14 0,-13 1 16,13 13-1,1 13-15,-14 1 16,0-1-16,0 0 0,0 0 16,0 1-16,0-1 0,13 40 31,-13-40-31,0 0 0,0 0 0,0 1 16,0-1-16,-13-13 15</inkml:trace>
  <inkml:trace contextRef="#ctx0" brushRef="#br0" timeOffset="87515.13">24236 12237 0,'26'-26'0,"14"12"16,-14 14-16,1-13 15,13 13-15,-1-13 0,1 13 0,0-13 0,-14 13 16,14-14-16,-14 1 0,1 13 15</inkml:trace>
  <inkml:trace contextRef="#ctx0" brushRef="#br0" timeOffset="88112.18">19275 13242 0,'0'53'16,"0"-39"-16,0-1 0,0 0 0,0 0 0,0 0 16,-13 1-16,13-1 0,0 0 15</inkml:trace>
  <inkml:trace contextRef="#ctx0" brushRef="#br0" timeOffset="88288.2">19248 13137 0,'-13'0'15,"0"0"1</inkml:trace>
  <inkml:trace contextRef="#ctx0" brushRef="#br0" timeOffset="88783.89">19447 13216 0,'0'13'0,"0"0"0,0 14 15,0-14-15,-13 0 16,13 1-16,0-1 15,13 0 1,0-26 15,-13 0-15,13 13-16,1 0 16,-1 0-1,0 13 16,0-13 1,0 0-17,1 0 1,-1 0 0,0 0-1,14-13 1,-14 13-16,13 0 15,-12-14 1,-1 14-16</inkml:trace>
  <inkml:trace contextRef="#ctx0" brushRef="#br0" timeOffset="89224.03">19989 13137 0,'-26'52'0,"13"-38"0,-14 78 15,27 1 1,-13-80-16,13 14 0,0-1 15,0 1-15,0-14 0,0 0 16,0 0-16,0 0 0,0 1 0,0-1 16,0-40-1,26-25 1,-12 12 0,-1 13-16,0-12 0,0 12 0,0 1 15,14-27 1,-14 40-16,0-14 15,-39 54 17,13-1-17,-1-26-15,1 13 16,13 1-16,0-1 16</inkml:trace>
  <inkml:trace contextRef="#ctx0" brushRef="#br0" timeOffset="90387.24">20333 13269 0,'-13'-13'0,"0"26"16,0 0-1,-1-13-15,14 13 0,-13-13 16,13 14-16,-13-1 0,13 0 15,0 0 1,0 0-16,13 1 16,0-14-1,1-14-15,-1 1 16,0 13-16,0-13 16,0 13-1,1 0 1,-1 0-1,0 13 1,14-13 0,-14-13-1,0 13-15,0 0 0,-13-13 16,14 13-16,-1 0 16,0 0-16,-13-13 15,13 26-15,0-13 16,1 13-1,-1-13-15,13 13 16,1-26 0,-14 13-1,0-13-15,1 13 0,-1-13 16,0-1-16,0 1 0,0 0 0,1-14 0,-1 14 16,-13-13-16,13 12 0,-13-12 15,27-40 1,-27 53-16,0-1 0,13 1 0,-13 0 15,0 39 17,0 1-17,0-14-15,0 0 16,0 1-16,0 12 0,0-13 0,0 0 16,0 1-16,13-1 0,-13 0 15,0 0-15,13 1 0,-13-1 0,13-13 16,-13 13-1</inkml:trace>
  <inkml:trace contextRef="#ctx0" brushRef="#br0" timeOffset="90607.23">20690 13203 0,'14'-14'0,"25"1"16,-25 13-16,-1-13 0,0 13 16,0 0-16,0-13 0,1 13 15,-1 0-15,0-13 0,0 13 0,1 0 16,-14-14-16,13 14 0,0 0 16,0 0-16,1-13 15</inkml:trace>
  <inkml:trace contextRef="#ctx0" brushRef="#br0" timeOffset="94266.95">22093 12277 0,'0'-27'0,"-14"27"15,14-13-15,-13 0 16,0 13-1,0 0 1,0 0-16,13 13 0,-14-13 16,1 0-16,0 13 15,13 0 1,13 14 0,0-14-16,1 27 15,-1-27-15,-13 0 16,13 14-16,-13-14 0,0 0 0,0 0 15,0 1-15,0-1 0,0 13 16,0-12-16,-13-1 0,13 0 0,-13 13 16,-14 1-1,14-27-15,13 13 0,-13 0 0,-1-13 0,1 14 16,13-41 15,27 14-15,-14 0-1,0-1-15,0 1 0,40-40 16,-40 40 0,1 0-16,-1 0 0,13-27 15,-12 27-15,-14-1 0,13 1 16,0 0-16,-13 0 0,0 0 16,13-1-16,-13 1 15,-13 0 1,0 39-1,0-12 1,13-1 0,0 0-1,0 0-15,13-13 16,0 0 0,0 0-1,1-13-15,-1 13 0,0 0 16,13 0-16,-12 0 15,-1 13-15,0 14 16,0-14 0,-13 27-1,0-27 1,-13 0-16,0 0 16,13 1-16,-13-1 15,-1 0 1,1-13-1</inkml:trace>
  <inkml:trace contextRef="#ctx0" brushRef="#br0" timeOffset="96810.52">21616 13203 0,'14'-14'0,"-28"1"16,14 0 15,-13 13-31,-13 13 16,-1 14-1,14-14-15,0 0 16,0 0-16,13 1 16,0-1-16,-14 0 0,14 0 15,0 1-15,0-1 0,14-13 16,12 0 15,-26-13-31,13 13 0,-13-14 0,14 14 16,-1-13-16,-13 0 0,13 0 15,0 13 1,0 13 0,-13 0-1,14 0-15,-14 1 16,13-14-16,0 13 16,14-13-1,-14 0-15,0 0 0,0-13 0,1-1 16,-1 14-16,-13-13 0,13 0 15,0-14-15,0 14 0,1-13 16,-1 12-16,0-12 0,-13 13 0,13 0 16,-13-14-16,14 14 0,-14 0 15,13-1-15,-13 1 16,-13 40 15,13-14-31,0 13 0,0-12 0,0-1 16,0 0-16,0 27 15,0-27-15,0 0 0,13 0 16,0 1-16,-13-1 0,13-13 0,1 13 0,-1-13 16,0 13-1,0-26-15,0 13 0,1 0 0,-1-13 16,0 0-16,0-1 0,1-12 16,-1 13-16,13-14 0,-13 1 15,1-40-15,-1 39 0,0 14 16,-13-13-16,0 12 0,13 1 15,-13 0-15,0 0 0,0-1 16,14 1-16,-28 53 31,14-27-31,0 0 16,0 53 0,0-52-16,0 12 0,0-13 15,14 1-15,-14-1 0,0 0 16,0 0-16,13 0 0,-13 1 0,0-1 15,0 0-15,13 0 16,-13 1-16</inkml:trace>
  <inkml:trace contextRef="#ctx0" brushRef="#br0" timeOffset="97004.7">21828 13216 0,'27'-13'31,"-14"-1"-31,0 14 0,0 0 0,14-13 16,-14 13-16,13 0 0,-12-13 15,12 13-15,-13 0 0,14-13 0,-14 13 16,13 0-16,-12-13 0</inkml:trace>
  <inkml:trace contextRef="#ctx0" brushRef="#br0" timeOffset="97435.13">22291 13070 0,'13'0'31,"-13"27"-15,0-14-16,0 0 15,14 14 1,-14-1-16,0-13 16,13-26 31,0 13-32,0-13 1,1 0-16,-14 0 15,13-1 1,0 14 0,0 0-16,0-13 15,1 13-15,-1 0 16,0 0 0,0 13-1,-13 1 1,0-1-16,14 0 15,-14 0 1</inkml:trace>
  <inkml:trace contextRef="#ctx0" brushRef="#br0" timeOffset="98064">22741 12846 0,'0'13'32,"0"0"-32,0 0 0,0 0 0,0 14 15,0-14-15,0 40 16,13-40-16,-13 14 0,0-14 15,0 27 1,0-27-16,0 0 0,0 0 0,0 1 16,0-1-16,0 0 15</inkml:trace>
  <inkml:trace contextRef="#ctx0" brushRef="#br0" timeOffset="98328">22635 13070 0,'53'-26'0,"-40"26"0,0-13 0,1 13 16,-1 0-16,0 0 15,0-13-15,1 13 0,-1 0 0,0 0 16</inkml:trace>
  <inkml:trace contextRef="#ctx0" brushRef="#br0" timeOffset="98516.05">22953 12978 0,'13'0'0,"-13"26"16,0-12 0,0-1-16,0 0 15,0 13 1,0-12-16,0-1 15</inkml:trace>
  <inkml:trace contextRef="#ctx0" brushRef="#br0" timeOffset="98790.05">22569 12951 0,'-13'14'16</inkml:trace>
  <inkml:trace contextRef="#ctx0" brushRef="#br0" timeOffset="99500.42">23283 12965 0,'-13'0'0,"0"13"0,0-13 0,13 13 15,-14 0-15,14 1 16,0-1-16,-13 0 16,26 0-1,-13 0-15,0 1 0,14-14 16,-1 0 0,0-14-1,-13 1-15,13-13 16,-26 13-1,13-1-15,0 1 0,-13 0 16,13 0-16,-13 13 16,13-14-16,-14 14 15,1 0 17,13 14-17,13-1 1,1 0-1,-14 0-15,13-13 16,0 14-16,0-1 16,1-13-1,-14 13-15,13-13 16,0 0 0,0 0 15</inkml:trace>
  <inkml:trace contextRef="#ctx0" brushRef="#br0" timeOffset="99674.46">22900 12859 0,'-14'0'0</inkml:trace>
  <inkml:trace contextRef="#ctx0" brushRef="#br0" timeOffset="100423.77">22225 13573 0,'40'-26'0,"-14"12"0,120-25 16,-80 26-16,0-1 0,0-12 15,0 13-15,14-14 0,-14 14 16,0 0-16,13-1 0,-26-12 16,13 13-16,-26 13 0,-13-13 0,-1-1 0,0 14 15,-12 0-15,-1 0 16,-40 0 0,1 14-16,-93 25 15,66-26 1,0 14-16,0-14 0,-66 27 15,53-27-15,13 0 0,13 14 16,1-14-16,12-13 0,1 13 0,12-13 16,1 13-16,0-13 0,39 0 31,1 0-31,-1 0 0,107-39 16,-80 26-16,13-1 15,0 1-15,66-13 0,-92 12 16,13 1-16,53-13 15,-80 26-15,1 0 0,-14-14 16,0 14-16,0-13 0,0 13 16,1-13-16</inkml:trace>
  <inkml:trace contextRef="#ctx0" brushRef="#br0" timeOffset="103924.03">7541 12488 0,'26'0'16,"-39"-13"15,0 0-15,-1 13-1,-12 13 1,13-13-16,-1 13 0,1-13 16,0 14-16,0-1 0,0 0 15,13 0-15,-14 0 0,1 1 16,13 12-16,-13-13 0,13 1 0,0-1 16,0 0-16,0 0 15,13 1-15,14-14 16,-14 0-1,0 0-15,0-14 0,0 14 0,1-13 16,-1 0-16,13-14 16,-26 14-16,14 13 0,-14-13 15,0 0-15,13 13 16,-13 26 15,0 1-15,13-14-16,-13 0 0,0 0 0,13 1 15,-13-1-15,14-13 0,-14 13 0,13-13 16,-13 13-16,13-13 0,0 0 16,0 0-16,1-13 0,-1 0 15,0 0-15,-13-1 0,13 1 16,1 0-16,-1-67 16,0 54-16,-13-14 15,0 14-15,0-1 0,0 1 0,0-1 16,0 1-16,0 13 0,0 0 15,0-1-15,0 1 0,0 0 0,0 0 16,0 52 0,0-25-1,0-1-15,0 13 0,0 1 0,13-1 16,-13 1-16,27 39 16,-14-40-16,0-13 15,0 1-15,1-1 0,-14 0 0,13 0 0,0 1 16,0-1-16,1-13 15,-14 13-15,13-13 0,0 0 0,0 0 16,1 0 0,-1-13-16</inkml:trace>
  <inkml:trace contextRef="#ctx0" brushRef="#br0" timeOffset="104258.77">8043 12224 0,'0'26'15,"0"40"1,0-39-16,14-14 0,-14 13 16,0 1-16,13-14 15,-13 14-15,13-1 0,-13-13 0,13 14 16,-13-14-16,13 0 0,-13 0 0,14 1 16,-14-1-16,0 0 0,13-13 15,-13 13-15,0 1 0,13-14 16</inkml:trace>
  <inkml:trace contextRef="#ctx0" brushRef="#br0" timeOffset="104493.04">7646 12541 0,'53'-13'0,"14"0"16,-28 0-16,1 13 0,-14-14 16,14 14-16,-13-13 0,-1 13 0,0 0 15,1-13-15,-1 13 0</inkml:trace>
  <inkml:trace contextRef="#ctx0" brushRef="#br0" timeOffset="104876.08">8321 12409 0,'0'26'15,"13"-26"-15,-13 14 0,14 25 16,-14-25-16,0 12 0,0-13 16,0 27-16,0-27 15,0 0-15,0 1 0,0-1 0,0 0 16,-14-13-16,14-13 31,0-14-15,0 14-16,0 0 15,14 0-15,-14-1 16,26-38 0,-13 52-16,-13-14 0,14 1 15,-14 0-15,13 13 0,0-13 0,0-1 16</inkml:trace>
  <inkml:trace contextRef="#ctx0" brushRef="#br0" timeOffset="105007.96">8493 12409 0,'13'0'32,"1"13"-32,-41-26 0,67 39 15,-40 1 1,0-14-16,0 0 16,0 1-16,13-1 15,-13 0-15,0 0 16</inkml:trace>
  <inkml:trace contextRef="#ctx0" brushRef="#br0" timeOffset="105558.83">8890 12144 0,'-13'0'0,"13"27"32,13-14-32,-13 14 0,0-1 0,0 0 15,0 14-15,13 0 0,-13-1 0,0-12 16,0-1-16,0 27 0,13-39 15,-13 12-15,0-13 0,0 0 16,0 14-16,0-14 0,0 0 16,0 1-16</inkml:trace>
  <inkml:trace contextRef="#ctx0" brushRef="#br0" timeOffset="105767.72">8731 12515 0,'-13'0'0,"53"0"16,-14 0-16,-13 0 0,14-13 0,-1 13 16,1 0-16,-1 0 0,1 0 0,-1 0 15,1-14-15,-14 14 16,13 0-16,1-13 0,-1 13 0,27-13 15</inkml:trace>
  <inkml:trace contextRef="#ctx0" brushRef="#br0" timeOffset="105940.87">9353 12356 0,'-13'132'16,"13"-118"-16,-13 25 0,13-26 0,0 14 15,-14-1-15</inkml:trace>
  <inkml:trace contextRef="#ctx0" brushRef="#br0" timeOffset="106103.86">9379 12184 0,'0'0'0</inkml:trace>
  <inkml:trace contextRef="#ctx0" brushRef="#br0" timeOffset="107037.08">9869 12316 0,'-13'14'15,"-14"-1"1,14 0-16,0-13 0,13 13 0,-27 27 15,27-27-15,0 0 16,0 1-16,0-1 0,0 0 0,0 0 16,0 1-16,14-14 0,-14 13 15,13-13-15,0 0 0,13 0 16,1-27 0,-14 27-16,-13-13 15,13 0-15,1-40 16,-28 40-16,14-1 15,0 1-15,-13-13 16,0 26-16,0 0 0,-1-13 16,1 13-16,0 0 0,-13 0 15,12 0-15,-12 13 16,26 0 0,13-13-1,0 13 1,1-13-16,12 0 0,-13 0 0,14 0 15,-14 0-15,13 0 0,-12 0 0,25 13 16,-25-13-16,-1 0 16,0 14-16,0-14 0,0 0 0,1 13 15,-1-13-15,0 13 0,0 0 16,1-13-16,-1 14 0,0-14 16,-13 13-16,27 0 15,-14-13-15,-13 13 0,13-13 16,0 0-16,-13 14 15,13-14-15</inkml:trace>
  <inkml:trace contextRef="#ctx0" brushRef="#br0" timeOffset="107322.64">8215 12978 0,'80'-13'0,"-41"-1"0,28 1 0,12-13 15,-13 12-15,13 1 0,1 0 0,-1 0 16,14 0-16,-1-14 0,1 14 15,-14 0-15,14 13 0,-14-14 0,-13 1 16,-13 13-16,0-13 0,-26 13 0,-1 0 16,1 0-16,-14-13 0,-13 26 15,13-13-15</inkml:trace>
  <inkml:trace contextRef="#ctx0" brushRef="#br0" timeOffset="107551.98">8096 13203 0,'106'-14'16,"-53"1"-16,13 0 0,14 0 0,-1 0 15,159-27 1,0 0-1,-158 27-15,-28 13 0,15-13 0,-14 0 0,39-27 16,-52 27 0,-1-1-16,41-39 0</inkml:trace>
  <inkml:trace contextRef="#ctx0" brushRef="#br0" timeOffset="108632.97">10173 12568 0,'-13'0'0,"26"-27"47,0 14-32,1 0-15,-14 0 0,13 13 0,-13-14 16,13 14-16,0-13 0,1 13 0,12-13 16,-13 13-1,14 0-15,-14 0 0,0 0 0,0 0 0,1 0 16,39 13 0,-40-13-16,0 13 0,0 1 15,27 12-15,-27-26 16,0 13-16,1 0 0,12-13 15</inkml:trace>
  <inkml:trace contextRef="#ctx0" brushRef="#br0" timeOffset="110003.62">17939 12925 0,'185'-66'16,"-132"53"-16,0-1 0,13 1 15,119-27-15,-145 27 16,52-13-16,-52 26 0,0-14 16,-14 1-16,-13 13 0,27-13 15,-27 13-15</inkml:trace>
  <inkml:trace contextRef="#ctx0" brushRef="#br0" timeOffset="110180.51">18296 12938 0,'198'-40'16,"-158"27"-16,-13 0 0,12 0 0,1 0 0</inkml:trace>
  <inkml:trace contextRef="#ctx0" brushRef="#br0" timeOffset="111666.93">14208 12634 0,'0'26'31,"0"-12"-15,0-1-16,0 0 0,0 0 0,0 0 15,0 14-15,0-14 0,0 14 16,0-14-16,0 0 0,0 0 0,13 1 15,-13-1-15,0 0 16,-13 0-16</inkml:trace>
  <inkml:trace contextRef="#ctx0" brushRef="#br0" timeOffset="111880.04">13996 12819 0,'53'-13'15,"-13"0"1,-13 13 0,-14 0-16,0 0 0,0 0 0,53-27 15,-26 27 1</inkml:trace>
  <inkml:trace contextRef="#ctx0" brushRef="#br0" timeOffset="112366.29">14645 12607 0,'0'-13'0,"-27"26"32,-12 14-17,39-14-15,-14-13 0,1 13 16,0-13-16,13 14 0,0-1 16,13 0-1,0 0 1,1-13-16,-1 13 15,0 1-15,0-1 0,-13 0 16,13-13-16,-13 13 0,0 1 0,-13 12 16,0-13-1,13 1-15,-13-1 0,0 0 16,-1 0-16,1-13 0,0 13 0,0 1 16,-1-14-1</inkml:trace>
  <inkml:trace contextRef="#ctx0" brushRef="#br0" timeOffset="112575.53">14922 12502 0,'-13'52'15,"13"-38"-15,-13 25 16,0-12-16,13-14 0,0 0 16,-13 14-16,13-14 0,-14 0 0,14 14 15,-13-1 1,0-13-16</inkml:trace>
  <inkml:trace contextRef="#ctx0" brushRef="#br0" timeOffset="112717.02">14658 12687 0,'13'-13'16,"27"13"0</inkml:trace>
  <inkml:trace contextRef="#ctx0" brushRef="#br0" timeOffset="112842.86">15081 12713 0,'40'13'0,"-27"-13"31,0 0-15</inkml:trace>
  <inkml:trace contextRef="#ctx0" brushRef="#br0" timeOffset="113387.66">14354 13335 0,'13'40'16,"0"-1"0,0-12-16,-13-14 0,0 14 0,14-14 0,-14 40 15,0-40 1,13 0-16,-13 14 15</inkml:trace>
  <inkml:trace contextRef="#ctx0" brushRef="#br0" timeOffset="113551.05">14367 13560 0,'26'-13'0,"-12"-1"0,12 1 16,-13 0-16,40-13 16,-40 26-16</inkml:trace>
  <inkml:trace contextRef="#ctx0" brushRef="#br0" timeOffset="113691.09">14658 13375 0,'0'-14'0,"13"14"0,-39 14 15,39-14-15,0 0 16,-13 13-1,13 0-15,-13 0 16,0 1-16,0-1 0,0 13 16,14-12-1</inkml:trace>
  <inkml:trace contextRef="#ctx0" brushRef="#br0" timeOffset="113974.12">14856 13361 0,'-13'40'15,"26"-13"1,27-1 0,-27-26-16,14 13 15,12-26-15,1 13 16,-27-13-1,1 0-15,-14-1 16,0 1-16,-14 0 16,1 13-16,13-13 0,-13 13 15,0 0-15,-1-14 0,1 14 16</inkml:trace>
  <inkml:trace contextRef="#ctx0" brushRef="#br0" timeOffset="114160.13">15293 13216 0,'13'0'16,"-13"13"-16,0 0 0,0 1 16,0-1-16,0 13 15,-13 14-15,0-27 16,13 0-16,-14 1 0,14-1 0,-13 0 15,13 0-15,-13 1 0,0-1 16</inkml:trace>
  <inkml:trace contextRef="#ctx0" brushRef="#br0" timeOffset="114283.09">15174 13282 0,'0'0'0,"0"-13"0,13 13 31</inkml:trace>
  <inkml:trace contextRef="#ctx0" brushRef="#br0" timeOffset="114411.02">15359 13322 0</inkml:trace>
  <inkml:trace contextRef="#ctx0" brushRef="#br0" timeOffset="115067.92">15306 12330 0,'13'39'16,"1"-26"-16,-14 14 0,26 26 0,-26-13 16,13-14-16,1 40 15,-14-39-15,13-1 0,-13-13 16,0 1-16,13-1 0,-13 0 15,0 0-15,13-13 0,-13 13 16,13-13 0,1 14-16,-1 25 15,0-25 1,-13 25-16,13 1 0,1 92 16,-14-92-1,0 0-15,0 13 0,0-14 0,0 1 0,-14 0 16,14-1-16,-13 1 0,0 0 15,0-14-15,-1 1 0,1-1 0,0-13 16,13 1-16,-13-1 0,0-13 0,-1 0 16,1 0-1,13-13-15,0-1 0</inkml:trace>
  <inkml:trace contextRef="#ctx0" brushRef="#br0" timeOffset="115488.03">15597 13084 0,'13'13'0,"1"-13"0,25 13 16,-25-13-16,12 13 0,27-13 16,-13 0-16,13 14 0,-1-14 0,28 13 15,-1-13-15,1 0 0,-1 0 16,14 0-16,-1 0 0,1 13 15,-1-13-15,14 0 0,0-13 0,-13 13 16,-1 13-16,1-13 0,-14 0 16,-26 0-16,0 0 0,0 0 0,-13 0 15,-14 0-15,1 0 0,-14 0 0,0 0 16,0 0-16,0 0 16</inkml:trace>
  <inkml:trace contextRef="#ctx0" brushRef="#br0" timeOffset="115726.86">17224 12885 0,'80'80'0,"-54"-54"0,-13 1 16,40 78 0,-53-65-16,0 53 15,-13-40-15,-13-1 0,-1 1 0,-12 14 0,-1-28 16,0 14-16,0-13 0,1-1 16,-1 1-16,-13 0 0</inkml:trace>
  <inkml:trace contextRef="#ctx0" brushRef="#br0" timeOffset="148748.04">2024 1429 0,'40'0'78,"79"0"-62,40 0-16,13 0 15,13 0-15,-13 0 16,13 0-16,-40 0 15,-25 0 1,-81 0-16,-26 0 0</inkml:trace>
  <inkml:trace contextRef="#ctx0" brushRef="#br0" timeOffset="153229.97">5755 1191 0,'66'0'172,"106"26"-157,119 14 1,-132-1 0,-1-25-16,-39-14 15,27 0-15,-53 0 0,12 0 16,-12 0-16,13 0 15,-40 0-15,40 0 16,-14 0-16,27 0 16,-39 0-1,26 0-15,-40 0 0,26 0 16,-12 0-16,12 0 16,14 0-1,53 0 1,-119 0-16,13 0 0,-27 0 15,0 0-15,27-27 16,-39 27 0,12 0-1,1-26-15,-14 26 16,26-13-16,-25-1 16,12 14-1,-13-13 1,-13 0-1,14 13-15,-14-27 0,0 14 16,0-13-16,26 12 16,-26-12-1,0 0 1,0-14-16,0 0 0,0 0 16,0 14-1,-13-27-15,0 0 0,-1 27 16,14 13-16,-13-27 15,0-26-15,0 52 16,13-12 0,-14 0-16,14-1 15,-13 27 1,13-13 0,0 0-1,-13-14 1,13 14-1,-13 13 1,0-27-16,-1 14 16,-12-13-1,13-14 1,-1 27-16,1 0 16,-13-14-16,12 1 93,1 26-77,0-13-16,-13 13 16,12 0 15,-12-14-31,13 1 0,-27 13 15,-13-26 1,13 26-16,14 0 0,-40 0 31,53 0-31,-27-14 16,-13 14-16,13 0 0,-26-13 31,13 13-31,14 0 16,12-13-16,-13 13 0,1 0 15,-1 0 1,27-13-16,0 13 16,-14 0-1,1 0-15,12 0 16,1 0-16,0 0 16,-14 0-16,1 0 15,13 0-15,-14 0 16,14 0-16,0 0 15,-14 0-15,14 0 16,-27-14-16,14 14 16,13 0-16,0 0 15,-14 0-15,14 0 16,-14-13 0,14 0-16,-13 13 31,12 0-31,1 0 15,-13 0-15,-14 0 0,27 0 16,-27-13-16,-13 13 16,14-13-1,12 13-15,-39 0 16,40 0 0,-1 0-16,14 0 15,0-14-15,-14 14 16,14 0-16,-27-13 15,1 13-15,-1 0 16,-26 0-16,13 0 16,13 0-16,-13 0 15,14 0 1,-41 0-16,40 0 16,1 0-16,26 0 15,-27 0-15,13 0 16,-12 0-16,-1 0 15,0 0 1,14 0-16,-14 0 16,-13 0-16,14 0 0,25 0 15,-25 0-15,-1 13 16,14-13 0,-14 0-16,13 0 0,14 0 31,-13 14-16,-1 12 1,-12 0 0,-1 1-16,-13-14 15,26 14-15,-25-1 16,25-13-16,1 1 16,12-1-16,-25 0 15,-1 0-15,27 14 16,-14-14-16,14-13 15,0 13 1,0 0-16,-1 1 16,1-14-16,0 13 15,0 13-15,13-13 16,-13 14 0,-1-1-16,1 1 15,13-1-15,0-12 0,-13 25 16,13-26-16,0 27 15,0 0-15,0 0 16,0-27 0,0 26-16,0-25 15,0 25-15,0-25 16,0 12-16,0-13 16,0 0-16,0 27 0,0-27 31,13-13-31,-13 14 15,0-1-15,0 0 32,13-13-17,14 27-15,-14-1 0,0-13 16,14 14-16,12-14 16,-25 0-16,25 14 15,27-1-15,-26-13 16,0 1-1,-14-1-15,14 0 16,-27-13-16,14 0 0,12 0 16,1 0-1,0 26 1,-1-26-16,14 0 0,0 14 16,-13-14-1,-27 0-15,14 0 0,-14 13 250</inkml:trace>
  <inkml:trace contextRef="#ctx0" brushRef="#br0" timeOffset="173619.05">11311 1138 0,'26'0'16,"-12"0"-1,-1 0-15,0 0 0,0 0 16,27 0-16,-27 0 16,0 0-16,1 0 0,25 0 15,-25 0-15,-1 0 0,-13 13 16,26-13 0,-12 0-1,-1 0-15,0-13 0</inkml:trace>
  <inkml:trace contextRef="#ctx0" brushRef="#br0" timeOffset="173898.44">11483 1005 0,'53'27'16,"-13"-14"-16,26 27 15,-53-27-15,13 0 0,-12 0 16,-1 14-16,-13-14 0,0 93 31,-13-80-31,-1 14 0,-12-13 16,13-14-1,-1 13-15,-52 40 16</inkml:trace>
  <inkml:trace contextRef="#ctx0" brushRef="#br0" timeOffset="176482.62">12396 992 0,'0'27'16,"0"-14"-1,0 27-15,0-27 16,0 26 0,-14-12-16,14-1 0,0-12 15,-13 65 1,13-66 0,0 0-16,0 1 15</inkml:trace>
  <inkml:trace contextRef="#ctx0" brushRef="#br0" timeOffset="176939.23">12369 992 0,'40'-26'0,"0"26"31,-27 0-31,0 0 0,0 13 16,-13 0-1,-13 40-15,0-26 16,0-14-16,-14 40 16,14-40-16,0-13 0,-1 13 15,14 0-15,-13-13 0,13 14 0,-13-14 16,0 13 0,26 0-1,13 0 1,-12-13-1,-1 0-15,13 14 0,-12-14 16,-1 0-16,0 0 0,27 0 16,-27 0-1</inkml:trace>
  <inkml:trace contextRef="#ctx0" brushRef="#br0" timeOffset="177277.07">12713 1072 0,'-13'0'0,"0"0"16,13 26 0,0 0-1,0-12-15,13-1 16,0-13-16,-13 13 0,13-13 15,1 0-15,-1 0 16,0 0 0,0-13-16,1 0 15,-14-1 1,13 1 0</inkml:trace>
  <inkml:trace contextRef="#ctx0" brushRef="#br0" timeOffset="177563.18">12938 1019 0,'27'39'15,"-54"-78"-15,67 92 0,-40-40 0,0 0 16,0 0-16,0 0 16,0 1-16,0 25 31,-27-65 16,41-1-32,-1 14-15,0 0 0,0 0 16,1 13-16,-1 0 16,26-13-1,-25-1-15</inkml:trace>
  <inkml:trace contextRef="#ctx0" brushRef="#br0" timeOffset="178026.76">13256 979 0,'-14'0'0,"1"13"16,0-13-16,13 13 15,-27 1-15,27-1 16,-13 0 0,13 0-1,13-13-15,1 14 16,-1-14-1,0 0 1,0-14-16,1 28 31,-1-14-31,-13 13 16,13-13 0,0 0-16,14 0 15,-14-13-15,13-1 16,1-12-1,-14-1-15,0 14 16,-13 0-16,14 0 0,-1-14 16,0 27-1,0 13 1,-13 14 0,14-14-1,-14 0-15,0 1 0,39 25 31,-26-39-31,1 14 0,-1-14 0,13 0 16,-12 0-16</inkml:trace>
  <inkml:trace contextRef="#ctx0" brushRef="#br0" timeOffset="178395.77">14459 794 0,'-13'26'16,"13"1"-1,0-14 1,0 27-16,0-27 0,13 0 0,-13 13 16,14 1-1,-1-14-15,-13 0 0,13-13 16,-13 14-16,13-14 15</inkml:trace>
  <inkml:trace contextRef="#ctx0" brushRef="#br0" timeOffset="178612.86">14393 939 0,'0'-13'16,"14"13"-16,-1 0 16,0-13-16,13 13 15,14-13 1,-27-1-16,14 14 0,-14-13 16</inkml:trace>
  <inkml:trace contextRef="#ctx0" brushRef="#br0" timeOffset="178799.77">14658 833 0,'13'14'32,"-13"-1"-17,13 13-15,-13 1 16,14-1-1,-14-13 1,13-13-16</inkml:trace>
  <inkml:trace contextRef="#ctx0" brushRef="#br0" timeOffset="179595">14407 807 0,'13'26'15,"0"-12"1,-13-1-16,13 0 0,-13 0 0,13 14 15,1-1 1,-14-13-16,0 1 0,13-1 0,0 27 16,-13-27-16,13 13 31,-13-12-15</inkml:trace>
  <inkml:trace contextRef="#ctx0" brushRef="#br0" timeOffset="179939.84">14698 820 0,'0'-13'0,"-27"26"31,27 0-31,0 1 0,-13-14 0,13 26 31,13-13-31,-13 1 0,27 12 16,-14-26-16,0 13 0,0-13 16,1 0-1,38 13-15,-38-26 16,-1 13-16,-13-13 0,0-13 31,0 12-31,-27-12 16,14 13-16,0 13 15,0-14-15,-14 14 16,14 0 0,0 0-16</inkml:trace>
  <inkml:trace contextRef="#ctx0" brushRef="#br0" timeOffset="180130.04">15094 648 0,'0'27'15,"0"-14"-15,-13 40 32,0 13-32,-13-40 0,-1 27 15,27-39 1,0-1-16,-13 0 0</inkml:trace>
  <inkml:trace contextRef="#ctx0" brushRef="#br0" timeOffset="180255.82">15028 847 0,'14'0'16,"-1"0"-16</inkml:trace>
  <inkml:trace contextRef="#ctx0" brushRef="#br0" timeOffset="180354.19">15240 860 0,'0'0'16,"13"0"-16</inkml:trace>
  <inkml:trace contextRef="#ctx0" brushRef="#br0" timeOffset="180897.29">11734 2117 0,'-13'0'0,"92"0"16,-65 0-16,12-14 0,1 14 0,12 0 15,14-13 1,-40 13-16,14 0 0,-1 0 0,1-13 15,-14 13 1</inkml:trace>
  <inkml:trace contextRef="#ctx0" brushRef="#br0" timeOffset="181100.94">12065 1945 0,'79'13'0,"-39"0"15,-27 0-15,1 1 16,-1-14-16,0 13 16,0 0-16,-13 0 0,0 1 15,0-1-15,0 0 0,-13-13 0,13 13 16,0 0-16,-13 1 16,13-1-16</inkml:trace>
  <inkml:trace contextRef="#ctx0" brushRef="#br0" timeOffset="181482.21">12766 1759 0,'-53'0'16,"106"0"-16,-119 14 0,53-14 15,0 13-15,-1 0 0,1 0 0,-13 27 16,12-27-16,1 1 0,0-1 16,13 0-16,0 0 0,0 0 15,13 14 1,40-27-16,-40-13 16,14 13-16,52-40 31,-66 27-31,1 13 0,12 0 15,-13 0 1,1 26 0,-14-13-16,13 14 31,0-27-31,-13 13 0,0 0 16,13-13-16</inkml:trace>
  <inkml:trace contextRef="#ctx0" brushRef="#br0" timeOffset="181620.12">12925 1680 0,'-27'-13'0</inkml:trace>
  <inkml:trace contextRef="#ctx0" brushRef="#br0" timeOffset="181794.81">12991 1627 0,'13'13'0,"14"1"16,-14-1-16,0 0 0,0 14 15,1-1 1,-1 0-16,0-12 0,14 25 15,-14-12-15,13 13 16,-26-27-16,13 0 16,1 0-16</inkml:trace>
  <inkml:trace contextRef="#ctx0" brushRef="#br0" timeOffset="182341.26">13084 1852 0,'26'-13'15,"-13"0"-15,1 13 0,-1-14 0,0 14 16,0-13-16,0 13 0,14-13 0,-14 13 15,0-13-15,1 13 0,12-14 16,-13 1 0,1 13-1,-1 13 1,-13 1 0,13-14-1,0 13 1,14-13-16,-14-13 15,0 13-15,0 0 0,1 0 0,-1 13 16,13-13-16,-12 13 0,-1-13 16,0 13-16,13 1 0,1 39 15,-14-27-15,-13-13 16,0 14-16,0-14 0,0 0 16,0 14-16,0-14 0,-13 0 0,13 0 15,0 1-15,0-1 0,-13 0 16,26-39 15,0 12-31,-13-12 16,13 13-16,1-1 0,-14-12 15,13 13-15,0-14 0,-13 14 0,13-13 16,-13 12-16,0-12 0</inkml:trace>
  <inkml:trace contextRef="#ctx0" brushRef="#br0" timeOffset="183402.22">14459 952 0,'0'-13'0,"0"40"31,0-14-31,0 0 16,14 0-16,-14 1 16,0-1-1,0 0-15,13-39 31,-13-1-15,-13 14-16,13-14 16,0 14-16,0-13 0,-14-1 0,1-12 15,13 25 1,0 1-16,-13 13 0,13-13 16,-13 39-1,13 1-15,0-14 16,0 0-16,0 1 0,0-1 15,13 0-15,-13 0 0,0 0 16,13 1 0,14-28 15,-27 1-31,0 0 0,-14-13 16,14 12 15,0 54-16,0 0 1,0-27 0,14 0-1,-14 0 1,13-26 15,-13 0-15,0 0-16,13-1 31</inkml:trace>
  <inkml:trace contextRef="#ctx0" brushRef="#br0" timeOffset="184521.87">14843 1640 0,'-26'27'31,"12"-14"-15,1-13-16,0 13 0,0 1 0,0-14 16,-1 13-16,-12 0 15,26 0-15,-13-13 16,26 13 0,13 1-1,1-14-15,12 13 16,-25-13-16,-1 0 0,0 13 15,0-13-15,1 13 16,-1 1-16,-13-1 16,-13 13-1,-1-12 1,-12 12-16,-1-13 0,14 0 0,0 1 16,0-14-16,0 13 0,-14 0 0,14 0 15,0-13 1,-1 0-16</inkml:trace>
  <inkml:trace contextRef="#ctx0" brushRef="#br0" timeOffset="184738.83">15200 1588 0,'-26'39'16,"26"-12"0,-13 12-16,-14 27 15,14-39 1,0-14-16,13 0 0,-14 1 0,14 12 0,-13 1 31,0-27-31,13 26 0</inkml:trace>
  <inkml:trace contextRef="#ctx0" brushRef="#br0" timeOffset="184883.97">14883 1799 0,'-13'0'16,"26"-13"-1</inkml:trace>
  <inkml:trace contextRef="#ctx0" brushRef="#br0" timeOffset="185027.78">15306 1786 0</inkml:trace>
  <inkml:trace contextRef="#ctx0" brushRef="#br0" timeOffset="186516.9">15055 1654 0,'0'-14'0</inkml:trace>
  <inkml:trace contextRef="#ctx0" brushRef="#br0" timeOffset="187442.85">15438 344 0,'106'-26'0,"-79"26"0,-14 0 0,13 0 15,1-14-15,26 28 16,-40-14-16,0 13 0,0-13 0,1 13 16,-1 13-16,0-12 0,14 78 15,-14-52 1,0 0-16,-13-1 0,13 14 0,1 0 0,25 119 15,-12-106 1,39 133 0,-53-146-16,14 13 0,-1-13 15,-13 0-15,14 0 0,-1-1 0,-13 1 16,1-13-16,-1-13 0,26 78 16,-39-91-16,0 12 0,-13 0 15,13 1-15,-13-14 0,-40 53 16,27-52-16,-54 25 15,54-39 1,-1-13-16,-12 13 0,-1-13 0,0-14 16,14 14-16,-14-13 0,14-1 0,-1-13 15,14 14-15,-13-27 0</inkml:trace>
  <inkml:trace contextRef="#ctx0" brushRef="#br0" timeOffset="187760.15">15941 569 0,'40'-13'15,"0"-1"1,-1 1 0,-26 0-16,14 0 0,-1 13 15,1-14-15,-14 14 0,0-13 0,0 13 16,27-13-16,-40 0 15</inkml:trace>
  <inkml:trace contextRef="#ctx0" brushRef="#br0" timeOffset="187979.77">16179 344 0,'27'13'15,"-14"-13"-15,0 13 0,0 1 0,14 25 16,-14-25 0,-13 12-16,0-13 0,0 14 15,0 26-15,-13-27 16,13-13-16,0 1 0,0-1 0,0 13 16</inkml:trace>
  <inkml:trace contextRef="#ctx0" brushRef="#br0" timeOffset="188886.54">16854 119 0,'-26'13'0,"12"-13"0,14 14 0,0-1 0,0 40 15,0-40-15,0 13 16,0 14-16,14-13 0,-14 12 15,0 27-15,13-39 16,-13-1-16,0 1 0,0-1 0,-13 1 16,13-1-16,-14 27 15,1-40-15,13 0 0,-26 1 16,12-14 0,1 0-16,13-14 15,0 1-15,13-13 16,-13 13-16,14-1 15,-14 1-15,13 0 0,0-14 16,14 14-16,-14-13 0,13-1 0,-13 1 16,40-40-1,-39 52-15,-14 1 0,13 0 0,0 0 16,-13 0-16,13-1 16,-26 1-1,0 26 1,0 1-1,-1-14-15,14 13 16,0 0-16,-13 0 16,26 14-16,-13-14 15,14 0 1,-1-13-16,0 13 0,13-13 16,1-13-1,-14 0-15,0 0 16,-13-1-1,14 14-15,-14-13 0,13 0 16,-13 26 47,13 0-48,0-13-15,1 0 0,-1 0 16,0 0-16,0 0 0,0 0 15,1 0-15,-1 0 0,0 0 16,0 0-16,1 0 16,-1 14-16,0-14 15,-26 26 17,-14-13-17,14 1-15,0-14 16</inkml:trace>
  <inkml:trace contextRef="#ctx0" brushRef="#br0" timeOffset="189026.78">17436 291 0,'13'0'0</inkml:trace>
  <inkml:trace contextRef="#ctx0" brushRef="#br0" timeOffset="189279.53">16854 741 0,'40'-27'16,"-27"27"-1,13-13-15,14 0 0,0 13 16,-1-13-16,1-1 0,79-25 16,-79 26-16,-14-1 15,1 14-15,-1-13 0,1 13 0,-14-13 16,0 13-16,0 0 0,1 0 31</inkml:trace>
  <inkml:trace contextRef="#ctx0" brushRef="#br0" timeOffset="189478.72">16999 794 0,'0'0'0,"27"-13"16,-1 13-1,-12-14-15,65 1 16,-53 0-16,14 0 0,-13-1 16,-1 14-16,67-26 15,-80 13-15,13 13 16,-12-14-16,-1 14 16</inkml:trace>
  <inkml:trace contextRef="#ctx0" brushRef="#br0" timeOffset="212567.77">8176 1720 0,'0'13'15,"0"13"1,13-12-16,-13 39 16,0-40-16,0 13 15,0-12-15,0 12 0,0-13 16,0 0-16,0 1 0,0-1 0,0 0 15,13 0-15,-13 1 16,0-1-16,0 0 16</inkml:trace>
  <inkml:trace contextRef="#ctx0" brushRef="#br0" timeOffset="213164.89">8295 1720 0,'0'-13'0,"-14"39"16,14-13 0,0 0-16,0 1 0,0-1 0,0 0 15,14 14-15,-14-14 0,13 27 16,0-27-16,-13 0 16,13 0-16,1 0 0,-1 1 0,0-14 15,0 0-15,1 13 0,-1-13 16,0-13-16,0 13 0,0 0 15,1-14-15,-1 1 0,0 0 0,-13 0 16,13 0-16,-13-1 16,0 1-16,0-13 0,-13 12 0,13 1 0,-40-27 15,27 14 1,0 26-16,0-13 0,0 0 16,-1-1-16,1 14 0,0 0 0,0-13 15,-1 13-15,1 13 0,0-13 16,0 0-16,-1 14 15,14-1-15,-13-13 0,13 13 0,0 0 0,-13-13 16,13 13-16</inkml:trace>
  <inkml:trace contextRef="#ctx0" brushRef="#br0" timeOffset="213495.72">8546 1627 0,'-13'13'16,"13"1"-16,0-1 15,13 0-15,-13 0 0,0 1 0,13-1 16,0 0-16,-13 0 0,14-13 0,-1 13 16,0-13-16,0 14 0,1-14 15,-1 0-15,0 0 16,0-14-16,1 14 15,-1-26 1,-26 13-16,13 0 0,0-1 0,-14 1 16,14 0-16,-13 0 0,13-1 0,-13 1 15,13 0-15,-13 13 0,13-13 16,-14 13-16,14-13 0,-13 26 16,0-13-16,0 13 0,-14 13 15,14-12-15,0 12 0,0 1 16</inkml:trace>
  <inkml:trace contextRef="#ctx0" brushRef="#br0" timeOffset="213728.75">8215 2209 0,'27'-13'16,"52"-27"-1,-52 27 1,12 0-16,67-27 16,-66 27-16,26-13 15,-53 26-15,14-14 16,-14 14-16,0 0 0</inkml:trace>
  <inkml:trace contextRef="#ctx0" brushRef="#br0" timeOffset="213951.97">8308 2249 0,'40'-13'16,"-27"13"-16,27-14 15,-14 1-15,-13 13 16,14-13-16,-1 13 0,-13-13 0,14 13 15,-14 0-15,0-13 0,0 13 16,1 0-16,-1-14 0,0 14 0,0 0 16,1 0-1,-1 0 1</inkml:trace>
  <inkml:trace contextRef="#ctx0" brushRef="#br0" timeOffset="-214369.18">10544 1151 0,'-14'-13'31,"1"26"-31,0-13 0,0 13 16,0-13-16,-27 27 16,27-27-16,13 13 0,-14 0 15,1-13-15,13 13 0,-13 1 16,26-14 0,14 13-1,-14-13-15,0 0 0,27 13 16,-27-13-16,0 0 0,-13 13 15,13-13-15,1 0 0,-1 13 16,-13 1 0,0-1-16,-13 0 0,-14 27 15,14-27 1,0 0-16,0 1 0,-14 12 16,14-26-1,0 13-15</inkml:trace>
  <inkml:trace contextRef="#ctx0" brushRef="#br0" timeOffset="-214041.71">10649 1138 0,'0'-14'15,"0"41"1,0-1-1,0-12-15,0-1 0,0 0 16,14 0-16,-1 1 0,0-1 16,0 0-16,27-13 15,-27 0-15,1 0 16,-1 0-16,0 0 0,0-13 0,0 0 16,-13-1-1,-13-12 1,13 13-16,-13-1 0,0 14 0,0-13 0,-1 0 15,1 13-15,0-13 16,0 13-16,-27-14 16,27 14-16,-1 14 15,1-1-15,0 0 0,13 0 16,-13-13-16,13 14 0</inkml:trace>
  <inkml:trace contextRef="#ctx0" brushRef="#br0" timeOffset="-213259.69">10729 2222 0,'26'-26'0,"-12"13"16,12 0-16,-13-1 31,-26 41-15,0-27-16,0 13 15,-1 0-15,-25 14 16,25-14 0,14 0-16,14 0 31,25-13-15,-25 0-16,-1 0 15,0 14-15,0-14 0,0 0 16,1 13-1,-28 0 1,1 14 0,0-14-16,-13 0 15,26 0-15,-14-13 16,14 13-16,-13-13 0</inkml:trace>
  <inkml:trace contextRef="#ctx0" brushRef="#br0" timeOffset="-212952.82">10927 2156 0,'0'14'16,"14"-1"-1,-14 13-15,13-26 0,13 27 16,-13-27-16,1 13 15,-1-13-15,0 0 16,0 0-16,40-13 16,-40-1-16,1 1 15,-1 0-15,-13 0 0,-13 0 16,-14-14 0,1 14-16,13 13 0,-14-13 15,1 13-15,12 0 0,1 0 16,0 0-16,0 13 0,-27 13 15,27-12-15,0-1 16,-1 13 0</inkml:trace>
  <inkml:trace contextRef="#ctx0" brushRef="#br0" timeOffset="-212530.56">10901 2527 0,'40'-27'15,"39"-26"1,-13 0 0,-40 40-16,14-26 15,-27 25-15,1 1 0,-14 0 16,13-14-16</inkml:trace>
  <inkml:trace contextRef="#ctx0" brushRef="#br0" timeOffset="-212199.81">10385 1574 0,'40'-26'16,"-27"13"-16,79-27 15,-65 27-15,13-1 16,-1 1-16,1 0 0,0 0 0,-14 0 15,14-1-15,-14 14 0,1-13 16,12 0-16,-12 13 0,-14-13 16,0 13-16</inkml:trace>
  <inkml:trace contextRef="#ctx0" brushRef="#br0" timeOffset="-209542.61">10345 873 0,'-92'0'0,"78"13"0,1 1 0,-40 25 16,40-26 0,-13 27-1,26-27-15,0 1 0,0 12 0,13 1 16,0-1-16,0 14 0,14-1 0,-1 1 15,14 0-15,39 119 16,-26 13 0,-53-53-1,-13-80-15,-14 41 16,27-54 0,-13 1-16,0-14 0,0 0 15,0 0-15,-1-13 0,1 13 0,0-13 16,0 0-1,-1-13-15,41 26 32,-14 1-32,14 12 0,-1 1 0,-13-1 15,14 14-15,12-1 0,28 120 16,-41-106-16,0 0 16,-12 13-16,12-13 0,-13 0 0,14 0 15,26 66 1,-40-79-16,13-14 0,-12 1 0,-1-14 15,13 0-15,-12 0 0,-1 1 16,13-1-16,27 0 16,-40 0-16,1-13 0,12 0 15,-13 0-15,14-13 0,-1 13 0,-13 0 16</inkml:trace>
  <inkml:trace contextRef="#ctx0" brushRef="#br0" timeOffset="-207672.91">14645 1164 0,'26'0'16,"14"0"0,-27-13-16,14 13 0,-1 0 0,0 0 15,27-13-15,-13-1 0,92-12 16,-92 13-1,0 0-15,13-14 0,-14 14 0,1 0 0,26-14 16,-26 1-16,-14 12 16,-12 1-16,12 0 0,-13 13 0,14-13 15,12-27 1,-25 27-16,-1 0 0,-13-1 16,13-12-16,-13 13 0,13 0 0,-13-27 15,0 13 1,-13 14-16,0-66 15,0 39-15,-27-39 32,27 52-32,-14 14 0,14 0 15,-13-14-15,-14 14 0,13 0 0,1 0 16,-14-1-16,14 1 0,-14 0 0,0 0 16,1 0-16,12-1 0,-79 1 15,80 0-15,-1 13 16,1 0-16,0 0 0,-1 0 15,1 0-15,-67 13 16,53 0-16,14-13 0,-1 14 0,1-1 16,0-13-16,-1 13 0,14 0 15,-53 14-15,39-14 16,14 0-16,-13 0 0,12 1 16,1-1-16,0-13 0,0 13 15,-1 0-15,-12 0 0,-14 27 16,40-27-16,-13 1 0,0-1 15,0 0-15,-1 14 16,1-14-16,13 0 0,-13 0 16,13 0-16,-13 27 15,-1-27-15,14 14 16,0-14-16,0 0 0,0 1 16,-13-14-16,13 13 0,0 0 0,0 0 15,0 0-15,0 1 16,0-1-16,0 0 0,0 0 15,13 14 1,-13-14-16,0 0 0,14-13 0,-14 27 16,13-14-1,-13 0-15,13-13 0,-13 13 16,13-13-16,-13 14 16,14-1-1,-14 0 1,13-13 15,-13 13-15,13-13 31,-13 14-32,13-14-15,1 13 16,-1-13-16,0 0 15,-13 13-15,40-13 16,-27 0-16,0 13 0,0-13 16,1 0-16,-1 0 0,0 0 15,0 13-15,0-13 0,1 0 16,25 14 0,-25-14-16,-1 0 15,0 0-15,-13 13 0,13-13 16,1 0-16,-1 0 0,0 0 31,0 0-15,0-13-1,-13-1 1</inkml:trace>
  <inkml:trace contextRef="#ctx0" brushRef="#br0" timeOffset="-205937.09">15491 1495 0,'14'-27'16,"-28"14"-16,14 0 16,-13 0-16,0-14 15,0 14-15,-1 0 16,-25 0-16,12-1 0,1 1 15,-1 0-15,1 13 0,-1-13 0,1 13 16,0-14-16,-1 14 0,1 0 16,-1 0-16,1 14 0,-14-14 0,14 13 15,-14-13-15,13 13 0,-12 0 0,12 1 16,-12-1-16,12 0 0,1 0 16,-1 1-16,1 12 0,13-13 15,-14 14-15,1-14 0,12 13 0,1 1 16,-13-1-16,12 14 15,1-14-15,0 1 0,0 13 0,13-14 0,-13 0 16,13 1-16,0-1 0,0 1 0,0-1 16,-14 1-16,14-1 0,14 1 15,-14-1-15,0 1 0,0-1 0,13 1 16,-13-1-16,13 0 0,-13 1 16,13-14-16,0 14 0,-13-1 15,14-13-15,12 27 0,-13-27 0,14 14 16,-1-14-16,1 0 0,-14 0 15,13 1-15,14-1 0,-13 0 16,-1-13-16,14 0 0,13 13 0,-14-13 0,1 0 16,0 0-16,13 0 15,0-13-15,-14 13 0,1 0 0,0-13 16,-14 13-16,1-13 0,25-1 16,-25 14-16,-14-13 0,14 0 15,-1 13-15,-13-13 0,14-1 16,-14 1-16,0 0 0,0 0 0,14-1 0,-14 1 15,0 0-15,1 0 16,-1 0-16,-13-1 0,13-12 16,-13 13-16,13-1 0,-13 1 0,13 0 15,-13 0-15,14 0 0,-14-14 16,13 14-16,-13 0 0,0-1 16,0 1-16,0 0 0,13 0 0,-13-1 15,0 1-15,0 0 0,0 0 16,0 0-16,0-1 0,0 1 0,0 0 15,-13 0-15,13-1 0,0 1 0,0 0 16,0 0-16,-13-1 0,13 1 16,0 0-16,0 0 0,-14 0 15,14-1-15,0 1 0,-13 13 0,13-13 16,-13 0-16,13-1 0,0 1 16,-13 13-16,13-13 0,-13 0 0,13 0 15,-14-1-15,1 1 16,0 0-16,0 0 0,-1-1 0,1 1 15,0 0-15,-13 0 16,12-1-16,1 14 0,13-13 16,-13 13-16,0-13 0,-1 0 15,1 0-15,0 13 16,13-14-16,-13 14 16,-1 0-16,14-13 0,-13 13 0,0-13 15,0 13 1,0 0-16,-1 0 0,1 0 31,0 0-15,0 0-16,-1 0 15,1 0 1,0 0 62,0 0-47,-1 0-31</inkml:trace>
  <inkml:trace contextRef="#ctx0" brushRef="#br0" timeOffset="-204812.68">9260 2434 0,'53'-26'15,"-39"12"-15,12 1 0,0 0 0,14 0 16,-13 0-16,12-1 0,-12-12 0,12 13 15,-12-1-15,13 1 0,-14 0 16,1 0-16,-14-1 0,0 1 0,0 13 16,14-13-16,-27 0 0</inkml:trace>
  <inkml:trace contextRef="#ctx0" brushRef="#br0" timeOffset="-204593.57">9591 2130 0,'40'0'15,"-14"0"1,-12 0-16,38 13 16,-38 0-16,25 14 15,-25-14-15,-14 0 0,13-13 16,-13 13-16,0 1 0,0-1 0,0 0 15,-13 0-15,13 1 0,0-1 16,-14 0-16</inkml:trace>
  <inkml:trace contextRef="#ctx0" brushRef="#br0" timeOffset="-203771.45">7448 2633 0,'26'-27'15,"-12"27"1,-14-13-16,13 0 16,-40 26 15,1 13-16,13-12-15,0-1 16,-1-13-16,1 13 0,13 0 16,-13-13-16,13 14 0,-13-14 15,13 13-15,13 0 16,0 0-16,27 0 16,-27-13-1,0 14-15,0-14 16,1 26-1,-14 1-15,-14-1 32,1-13-32,13 1 0,-13-14 15,0 13-15,0 0 0,-1-13 16,14 13 0</inkml:trace>
  <inkml:trace contextRef="#ctx0" brushRef="#br0" timeOffset="-203472.69">7488 2672 0,'0'40'32,"13"-40"-17,-13 13-15,13-13 0,0 13 0,1-13 16,-1 0-16,0 0 0,0 0 15,1 0-15,-1 0 0,-13-13 16,13 13-16,0 0 0,0-13 0,-13 0 16,14 13-16,-14-13 15,0-1-15,-14 14 16,14-13-16,-13 13 16,0 0-16,0 0 0,0 0 15,-1 0-15,1 0 16,0 0-16</inkml:trace>
  <inkml:trace contextRef="#ctx0" brushRef="#br0" timeOffset="-203313.8">7726 2474 0,'13'-13'16,"-13"26"-16,0 0 0,0 27 15,0-27 1,0 0-16,0 0 0,0 14 0,0-14 16,0 0-16,0 14 0,0-14 0</inkml:trace>
  <inkml:trace contextRef="#ctx0" brushRef="#br0" timeOffset="-203205">7699 2580 0,'-13'-14'0</inkml:trace>
  <inkml:trace contextRef="#ctx0" brushRef="#br0" timeOffset="-203057.61">8030 2514 0,'13'0'0</inkml:trace>
  <inkml:trace contextRef="#ctx0" brushRef="#br0" timeOffset="-201340.05">8520 2765 0,'26'-27'0,"-26"14"0,-13 26 47,13 14-31,-13-27-16,-1 13 0,14 0 15,0 1 1,14-1 0,12 0-1,-13-13-15,-13 13 0,13-13 16,-13 14-16,0-1 16,-13 13-16,13-13 15,-13 1-15,13-1 0,-13 0 0,0 0 16,-1-13-16,14 14 15,-13-14-15</inkml:trace>
  <inkml:trace contextRef="#ctx0" brushRef="#br0" timeOffset="-201049.86">8612 2752 0,'27'13'0,"-27"0"15,13 0-15,0 1 0,0-1 16,1 0-16,-1-13 0,0 13 16,0-13-16,0 0 0,14 14 15,-14-14-15,0 0 0,1 0 16,-1 0-16,0-14 0,0 14 16,-13-13-1,0 0 1,-13 13-16,0-13 15,0 13-15,-1 0 0,1 0 16,0-14-16,0 14 0,-1 0 16,-12 0-1,13 0-15</inkml:trace>
  <inkml:trace contextRef="#ctx0" brushRef="#br0" timeOffset="-200879.89">8943 2566 0,'13'0'0,"-26"0"0,39 14 16,-12 12-1,-14-13-15,0 1 0,0-1 16,0 0-16,0 0 0,0 14 0,0-14 16,0 13-16,0-12 0,0-1 0,-14 0 15,14 0-15,0 1 0</inkml:trace>
  <inkml:trace contextRef="#ctx0" brushRef="#br0" timeOffset="-200753.95">8877 2712 0,'-13'0'0,"13"-13"0</inkml:trace>
  <inkml:trace contextRef="#ctx0" brushRef="#br0" timeOffset="-200624.35">9088 2738 0,'-39'0'16,"78"0"-16</inkml:trace>
  <inkml:trace contextRef="#ctx0" brushRef="#br0" timeOffset="-165562.77">1085 2130 0,'13'26'16,"-13"-12"0,0 12-16,0-13 0,0 0 0,13 1 15,-13 12-15,0-13 0,0 1 16,13-1-16,-13 0 0,0 0 15,0 1 1,14-14-16,-1-14 31</inkml:trace>
  <inkml:trace contextRef="#ctx0" brushRef="#br0" timeOffset="-164980.95">1495 1931 0,'-79'133'109,"-14"-27"1</inkml:trace>
  <inkml:trace contextRef="#ctx0" brushRef="#br0" timeOffset="-164556.1">1323 2011 0,'-79'13'0,"52"0"16,14-13-16,-14 14 16,14-14-1,13 13-15,-13-13 16,26 13-1,0 0-15,1-13 0,12 13 16,-13-13-16,1 14 16,-1-14-16,0 13 0,0-13 15,0 13-15,1 0 16,-14 1 0,-14 12-1,1-13 1,0-13-16,0 13 0,0-13 15,-1 14-15,1-14 16</inkml:trace>
  <inkml:trace contextRef="#ctx0" brushRef="#br0" timeOffset="-164015.59">1310 2037 0,'-14'0'0,"54"-13"31,-13 13-15,-27-13-16,13 13 15,27-13-15,-27-1 0,0 14 16,0-13-16,14 13 0,-14-13 0,0 0 16,0 13-16,1-14 15</inkml:trace>
  <inkml:trace contextRef="#ctx0" brushRef="#br0" timeOffset="-163116.93">1892 2117 0,'39'-27'0,"-25"27"15,39 0-15,-40 0 0,0 13 16,0 1-16,-13-1 16,0 0-16,-13 14 0,13-14 15,0 0-15,-13-13 0,13 13 16,-13 0-16,13 1 0,-14-1 15,1 0 1,40-13 15,-14 0-31,0 0 0,27-13 16,-27 13-16,0-13 16,0 13-16,1 0 0,12-14 15,-13 1-15,1 13 16,-14-13-16</inkml:trace>
  <inkml:trace contextRef="#ctx0" brushRef="#br0" timeOffset="-162688.93">2090 1892 0,'13'26'47,"1"1"-31,-14-14-16,0 0 15,13 0 1,0-26 15,-13 0-15,13 13-16,1-13 16,-1 13-16,0-14 15,0 14 1,0 14-1,1-14-15,-1 0 16,13 0 15</inkml:trace>
  <inkml:trace contextRef="#ctx0" brushRef="#br0" timeOffset="-162321.1">2447 1680 0,'14'-13'0,"-14"53"16,0-27-16,0 0 16,13 0-1,-13 0 1,0 1-16,-13-14 15,-1 13 1,-12 0 0,13 0-16,13 1 0,-14-14 15,14 13-15,-13 0 0,13 0 16,-13 1-16,13-1 16,0 0-16,13 0 31,14-26-16,-14 13-15,0-13 0,0 0 16,1 13-16,-1 0 16,0 0-16</inkml:trace>
  <inkml:trace contextRef="#ctx0" brushRef="#br0" timeOffset="-161456.09">2355 2222 0,'-13'0'15,"52"0"1,-12-13-16,-14 13 0,0-13 16,40 0-16,-26-14 0,-1 14 15,14 0-15,-14 0 0,1-14 16,-1 14-16,14-27 0,-27 27 16,27-40-16,-27 40 15,-13-14-15,0 14 0,13-13 16,-13 13-16,0-14 0,0 14 0,-13-27 15,0 14-15,-1 12 16,1-12-16,0 0 0,0 12 0,-14 1 16,14 0-16,-13-14 0,-14 14 0,13 13 15,1-13-15,0 0 0,-1 13 16,1 0-16,-1-13 0,-13 13 16,14 13-16,-14-13 0,1 13 0,-1 0 0,0 0 15,14 1-15,-14-1 16,14 13-16,-27 40 0,13-13 15,27-13-15,0-13 0,-1 12 16,14-12-16,-13-1 0,13 54 16,0-54-16,0 0 15,0 1-15,13-1 0,-13 1 16,14-1-16,-1 1 0,-13-1 0,26 1 16,-12-14-16,12 13 0,0-12 15,-12-14-15,12 13 0,1 0 16,-1-13-16,0 0 0,-12 13 0,12-13 0,1 0 15,26-13-15,-14 13 16,-12-13-16,12 0 0</inkml:trace>
  <inkml:trace contextRef="#ctx0" brushRef="#br0" timeOffset="-160602.09">3373 1892 0,'-13'-66'0,"13"52"0,13 1 16,1 0-16,-1 0 0,0-1 15,0 14-15,1-13 0,-1 0 16,0 13-16,0 0 0,0 0 0,1 0 15,-1 0-15,0 13 0,-13 0 16,13 1-16,-13 12 0,14 1 16,-14-1-16,0-13 0,0 1 15,0-1-15,0 13 0,0-13 0,0 1 16,0-1-16,13-13 16,-13 13-16,0 0 0,0 1 0,0-1 0,13 0 15,-13 0-15,13 1 16,-13-1-16,14 0 15,-14 0-15</inkml:trace>
  <inkml:trace contextRef="#ctx0" brushRef="#br0" timeOffset="-160433.05">3664 2196 0,'0'0'63,"14"-13"-63,-14 0 0</inkml:trace>
  <inkml:trace contextRef="#ctx0" brushRef="#br0" timeOffset="-160123.83">3691 1707 0,'40'-40'0,"-27"40"16,0 0-16,0 0 0,40 26 16,-40-12-1,27 65 1,-40-53-16,13 1 16,-13-1-16,14 1 0,-14 26 0,0-27 15,0-13-15,13 14 0,-13-14 16,0 0-16</inkml:trace>
  <inkml:trace contextRef="#ctx0" brushRef="#br0" timeOffset="-159973.79">4114 2156 0</inkml:trace>
  <inkml:trace contextRef="#ctx0" brushRef="#br0" timeOffset="-150520.09">18746 12700 0,'-14'0'0,"1"13"16,0-13-1,0 0 16,13 13-31,39-26 32,-25 13-32,12 0 15,27-13-15,53 0 0,-40 0 16,0-1-16,0 1 0,14 0 16,-1 0-16,1 13 0,91-27 15,-91 14-15,12 13 0,-12-13 16,-1 13-16,1 0 0,12-14 0,-12 14 15,-14-13-15,13 13 0,27 0 16,-53 0-16,0-13 0,-27 13 16,1 0-16,-1 0 0,-13 0 15,14 0-15,-14 0 16,-53 0 0,27 0-16</inkml:trace>
  <inkml:trace contextRef="#ctx0" brushRef="#br0" timeOffset="-150069">18666 12938 0,'238'-53'15,"-158"40"-15,65-13 16,-65 12-16,12 1 0,199-27 15,-198 27-15,26 0 16,0 0-16,-26-1 0,26 1 0,-27 0 16,1 0-16,0 13 0,-14-13 15,80-1-15,-93 14 16,-13-13-16,0 13 0,0 0 0,-14-13 16,-12 13-16,-1 0 0,-13 0 15,27 0-15,-27 0 0,1 0 16,-1 0-16,-13 13 15</inkml:trace>
  <inkml:trace contextRef="#ctx0" brushRef="#br0" timeOffset="-149349.96">22900 12528 0,'-40'0'16,"93"0"0,-27 0-16,14-13 15,0 13-15,13 0 0,-14-13 0,14 13 16,0-14-16,13 1 15,-13 13-15,53-13 0,-53 0 16,53-1-16,-66 14 0,12-13 16,-25 13-16,13 0 0,-27-13 15,13 13-15,1 0 0,-1-13 16,-13 13-16,1 0 0,-41-14 47,14 28-47,0-14 0,-1 0 15,-12 13-15</inkml:trace>
  <inkml:trace contextRef="#ctx0" brushRef="#br0" timeOffset="-149129.12">23006 12568 0,'304'13'16,"-251"-13"-16,158-13 16,-144 13-16,-1 0 15,39 0-15,-52 0 0,27 0 16,-1019 0-16,1917 0 0,-951 13 0,-14-13 0,0 0 16,14 13-16,-27 0 15,-13 1-15</inkml:trace>
  <inkml:trace contextRef="#ctx0" brushRef="#br0" timeOffset="-148451.98">20452 13533 0,'40'0'0,"-27"0"16,14 0-16,26-13 0,-14 13 15,14-13-15,79 0 0,-52 0 16,-1-1-16,1 1 0,-1 0 0,14 0 16,-14-1-16,14 1 0,-1 0 15,93-14-15,-105 14 0,-1 0 16,1-13-16,-14 12 0,39 1 16,-25 0-16,-54 13 15,1-13-15,-14 13 16,-53 0 15,14 13-31,-14 0 0,-66 0 16</inkml:trace>
  <inkml:trace contextRef="#ctx0" brushRef="#br0" timeOffset="-148066.89">20704 13573 0,'39'0'16,"-78"0"-16,92 0 0,-27 0 0,0 0 15,27-13-15,0 13 0,13-13 0,1-1 16,12 1-16,-13 0 16,13 13-16,1-13 0,-1 0 0,1-1 15,12 14-15,-26-13 0,14 13 0,-14-13 16,-13 13-16,53-13 15,-67 13-15,-12 0 0,-1 0 0,1 0 16,-14 0-16,13 0 0,-12 0 0,-1 0 16,0 0-16,0 0 15,1 0-15,-1 0 0,0 0 16,0 0 0,0 0-1,-13 13 16,14-26-15,-1-27 0</inkml:trace>
  <inkml:trace contextRef="#ctx0" brushRef="#br0" timeOffset="-146533.02">22410 12105 0,'0'225'0,"0"-186"0,0 1 15,0 13-15,0-13 16,0-14-16,0 0 0,0 27 16,0-26-16,0-1 0,0 1 0,0-14 15,0 0-15,0 0 0,0 1 16,13-14-16,-13 13 0,14-13 16</inkml:trace>
  <inkml:trace contextRef="#ctx0" brushRef="#br0" timeOffset="-145637.97">22344 12039 0,'53'-27'0,"-27"27"16,41-13-16,-28 0 0,1-1 0,0 1 16,13 0-16,-1 0 0,15-1 15,-14 1-15,13 0 0,0 0 0,0-14 16,0 14-16,0 0 0,0 0 15,-13-1-15,13 1 0,1 0 0,-1 13 16,0-13-16,-13 0 0,0-1 0,39 1 16,-39 13-16,0-13 15,40 0-15,-54-1 0,14 1 16,40 0-16,-40 0 0,-13 13 16,13-14-16,-1 14 0,-12-13 15,0 13-15,0-13 0,-14 13 0,0 0 16,1-13-16,-1 13 0,1 0 0,-1-13 15,-13 13-15,1 0 0,-1 0 16,0 0-16,0 0 0,1-14 16,-1 14-16,0 0 15,0 0 1,1 14 0,-1-14-16,-13 13 15,13-13-15,-13 13 0,13 0 16,-13 0-16,13 14 15,-13-14-15,0 14 0,14 12 16,-14-12-16,0-1 16,0 1-16,13-1 0,-13 1 0,13 52 15,-13-39-15,0-1 0,13 1 16,1 0-16,-14-1 0,13 1 16,13 39-16,1-39 0,-14 0 15,0-1-15,27 41 0,-14-40 16,14 26-16,-27-27 15,40 28-15,-40-41 0,1 0 16,12 1-16,-13-14 0,14 27 16,-14-27-16,0 0 15,0 1-15,-13-1 0,14 0 0,-1 0 16,-13 0-16,13-13 0,-13 14 16,13-14-16,-13 13 15,-13 0 32,0-13 0,0 13-31,-1-13-16,1 0 0</inkml:trace>
  <inkml:trace contextRef="#ctx0" brushRef="#br0" timeOffset="-142493.2">1826 12118 0,'-14'0'16,"1"13"-16,0-13 0,0 13 15,-1-13-15,1 27 16,0-14-16,0 0 0,0 14 15,-1 12-15,14 1 16,0-27 0,0 1-16,0-1 0,14 0 15,-1 0-15,0 0 16,0-13-16,14 0 0,-14 0 16,13 0-16,-12 0 0,-1-13 15,0 13-15,14-26 16,-14 13-16</inkml:trace>
  <inkml:trace contextRef="#ctx0" brushRef="#br0" timeOffset="-142221.06">1984 12131 0,'-13'-13'16,"13"39"-1,0-12-15,0-1 16,0 0-16,0 0 16,13-13-16,-13 14 0,0-1 0,14 0 15,-14 0-15,13 0 16,0 1-16,0-14 16,-66-133-16,106 279 0,-39-146 0,-1 13 0,0-13 15,-106-172-15,199 344 0,-93-172 0,1 0 16,-1-13-16,0 13 15,0 0-15,1 0 0</inkml:trace>
  <inkml:trace contextRef="#ctx0" brushRef="#br0" timeOffset="-142044.78">2011 12290 0,'13'-13'0,"27"-27"15,-27 40 1,0-13-16</inkml:trace>
  <inkml:trace contextRef="#ctx0" brushRef="#br0" timeOffset="-141902.03">1931 12211 0,'-13'0'16,"26"-14"-16,1 1 16</inkml:trace>
  <inkml:trace contextRef="#ctx0" brushRef="#br0" timeOffset="-141576.03">2236 12012 0,'-27'13'0,"14"14"15,13-14 1,0 0-16,0 0 0,13-13 15,14 40 1,26-27 0,-40-13-16,13 0 15,-12 0-15,12 0 16,-26-13-16,-13-13 16,0 12-1,-1 14-15,1-13 16,0 13-16,0-13 0,-1 13 15,1 0-15,0 0 16,0 0-16,13 13 0</inkml:trace>
  <inkml:trace contextRef="#ctx0" brushRef="#br0" timeOffset="-139654.03">2553 12528 0,'13'13'78,"-13"0"-62,14 1-16,-1-14 15,-13 13 1,13-13-16,0 0 15,1 0-15,-1 0 16,0 0-16,0 0 16,1 0-16,-1 0 31,0 0-31,0-13 16,0-1-1,-13 1 1,-13-13-1,13 13 1,0-1-16,0 1 31,0 0-15</inkml:trace>
  <inkml:trace contextRef="#ctx0" brushRef="#br0" timeOffset="-139334.22">2910 12435 0,'14'0'16,"-14"27"0,0-14-1,13 0-15,0 14 16,-13-14-1</inkml:trace>
  <inkml:trace contextRef="#ctx0" brushRef="#br0" timeOffset="-139180.05">2831 12316 0,'-13'0'0,"26"0"0</inkml:trace>
  <inkml:trace contextRef="#ctx0" brushRef="#br0" timeOffset="-138923.22">2977 12211 0,'13'26'16,"0"40"-1,-13-53 1,13 1-16,-13-1 0,13 13 0,1-13 0,-14 1 16,13-1-16,-13 0 15,13 0-15,0 1 0</inkml:trace>
  <inkml:trace contextRef="#ctx0" brushRef="#br0" timeOffset="-138734.18">3135 12224 0,'0'26'16,"0"-13"-16,0 1 0,0-1 0,0 0 16,0 0-16,0 1 15,14-1-15,-14 0 0,0 0 0,13-13 16,-13 13-16,13-13 0,-13 14 15</inkml:trace>
  <inkml:trace contextRef="#ctx0" brushRef="#br0" timeOffset="-136494.89">2196 12462 0,'291'-212'0,"-238"173"15,26-14-15,-12 26 0,25-26 0,-12 0 16,12 0-16,-13 14 0,107-67 16,-107 66-16,-13 1 0,0 12 15,0 1-15,-13-14 0,14 13 16,-15 1-16,-12 13 0,0 0 0,-14-1 0,1 1 16,-1 13-16,-13-13 0,1 13 15,-1-13-15,13 13 16,-12 0-16,-1 0 0,0 0 0,0 0 15,1 13-15,-1-13 0,26 40 16,-12-14-16,-1 0 0,1 1 16,-1 13-16,1-1 0,-1 1 0,1 0 15,-1-1-15,1 1 16,-1 0-16,0-1 0,1-12 0,-14 13 0,14-1 16,12 27-16,-25-39 15,12 13-15,-13-14 0,14 0 0,-14 1 16,0-1-16,0 1 0,1-14 0,-1 0 15,-13 0-15,13 1 16,0 12-16,-13-13 0,14 1 16,-14-1-16,0 0 0,0 0 15,-14 1-15,1-1 0,0 0 16,0 0-16,-14 0 0,-13 14 0,1-14 16,-14 14-16,-13-1 0,0-13 0,-1 14 15,-12-1-15,-27 14 0,0-14 16,-13 14-16,13 0 0,-13-1 0,0 1 15,14-13-15,-15 12 0,15 1 0,12-14 16,-13 1-16,27-1 0,13 1 16,-14-1-16,14-13 0,-13 14 15,13-14-15,-1 14 0,1-14 0,-40 13 16,67-26-16,-14 14 16,0-1-16,0-13 15,27 0-15,-1 0 0,14 0 0,-14 0 16,14 0-16,-13 0 0,13-13 15,-1 13-15,-12-14 0,13 1 0,-14 0 16,14 0-16,0-14 0,-1 14 16,1 0-16,-13-40 15,13 26-15,-1 14 0,1-27 16,0 27-16,0-13 0,-1-14 0,14 27 16,-13-14-16,13 14 0,0 0 15,-13 13-15,13-13 0,0-1 16,0 1-16,-13 13 0,13-13 15,0 0-15,13 0 16,-13-1-16,13 1 0,0 0 0,54-40 16,-28 26-16,-12 1 15,-1 0-15,14-1 0,26-13 16,-26 14-16,26-14 16,-26 27-16,-14 0 0,0 0 0,1-1 15,-14 14-15,14-13 16,12 0-16</inkml:trace>
  <inkml:trace contextRef="#ctx0" brushRef="#br0" timeOffset="-129652.99">10861 2778 0,'-13'0'0,"0"13"16,26-13 15,0 14-31,0-14 0,1 0 0,-1 0 0,0 0 16,14 0-16,12 0 0,1-14 16,13 1-16,0 13 0,13-26 0,0 12 15,-13-12-15,13 13 0,66-27 16,-65 14-16,-1-1 0,0 14 15,0-14-15,0 1 0,0 0 16,-13 12-16,53-25 0,-53 12 16,13 1-16,-26 12 15,-14 1-15,-13 13 0,1-13 0,-1 13 16,0-13-16</inkml:trace>
  <inkml:trace contextRef="#ctx0" brushRef="#br0" timeOffset="-129421.11">11099 2897 0,'318'-132'16,"-252"105"-16,79-25 15,-78 25-15,-1 1 0,79-14 16,-92 27-16,0-1 0,0 1 16,-13 0-16,-14 13 0,14-13 15,-14 13-15,-12 0 0</inkml:trace>
</inkml:ink>
</file>

<file path=ppt/ink/ink18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15:03.362"/>
    </inkml:context>
    <inkml:brush xml:id="br0">
      <inkml:brushProperty name="width" value="0.05292" units="cm"/>
      <inkml:brushProperty name="height" value="0.05292" units="cm"/>
      <inkml:brushProperty name="color" value="#0070C0"/>
    </inkml:brush>
  </inkml:definitions>
  <inkml:trace contextRef="#ctx0" brushRef="#br0">9088 10411 0,'-26'14'16,"66"-28"15,52 1-15,-52 0-16,0 0 0,-14-1 15,14 14-15,-14-13 0,-13 13 16,14 0-16,-14-13 0,0 13 15,14 0-15,-14 0 0,0 0 16,1 13-16,-1 0 0,0 1 16,-13 12-16,0-13 15,0 1-15,13 12 0,-13 27 16,27 53-16,-14-67 16,0 1-16,0 0 15,1 13-15,-1 0 0,0 0 0,14 0 0,-14-1 16,13 1-16,1 0 0,-1-13 15,1 13-15,12 0 0,-12-14 16,-1 1-16,14 13 0,26 66 16,-53-92-16,0 12 0,1-12 15,-1 12-15,-13-12 0,0-1 16,0 1-16,0-1 0,-13 1 0,-14-1 16,1 14-16,-14-14 0,0 1 0,-13-1 15,-13 1-15,0-1 0,-26 1 16,-14 12-16,0-12 0,0-1 0,-13 1 15,0-14-15,0 0 0,-13 14 16,13-14-16</inkml:trace>
  <inkml:trace contextRef="#ctx0" brushRef="#br0" timeOffset="1005.27">4247 10345 0,'-27'-13'15,"1"13"-15,12 0 0,-12 0 0,0 0 16,-14 13-16,-13 0 0,13 1 0,-13-1 0,-13 13 16,13-12-16,0 12 0,0 1 15,-13-14-15,27 13 0,-14 1 16,13-14-16,0 0 0,14 14 0,-14-14 0,27 0 15,-14-13-15,14 13 0,0 0 0,0 1 16,0-1-16,13 0 16,-14 0-16,14 1 0,-13-1 0,13 13 15,0-12-15,0 52 0,0-13 16,13-14-16,-13 1 0,14 26 16,-1-13-16,0 0 0,-13 13 0,13 0 15,14 53-15,-14-53 0,-13 1 16,13-1-16,0 0 15,-13 0-15,0-26 0,0 13 0,14 0 16,-28-14-16,28 14 0,-14-13 0,0 0 16,0-1-16,0 1 0,13-14 15,-13 1-15,13-14 0,0 14 0,0-14 16,1 0-16,12 13 0,1-12 0,12-1 16,1-13-16,13 0 0,0 0 15,0 0-15,79-13 0,-53-1 16,1 1-16,-1-13 0,1 13 15,105-40-15,-79 26 0,-1 1 16,1-14-16,13 0 0</inkml:trace>
  <inkml:trace contextRef="#ctx0" brushRef="#br0" timeOffset="4145.89">9366 728 0,'93'-40'15,"-53"27"-15,-1-1 0,14-12 0,13 13 16,0-14-16,1 14 0,-1-13 16,0 12-16,13-12 0,-13 13 0,1-14 15,12 14-15,-13-13 0,13 12 0,-12-12 16,-14 13-16,13-1 0,-27 1 16,1 0-16,0 13 0,-27 0 15,27-13-15,-27 13 0,0-13 16,0 13-16,1 0 0,-41 0 31,-79 26-15</inkml:trace>
  <inkml:trace contextRef="#ctx0" brushRef="#br0" timeOffset="4751.5">9419 794 0,'106'66'0,"-80"-40"0,1-12 16,105 91-16,-79-78 15,0 13-15,0-1 0,0-12 16,-13 12-16,12-12 0,1 13 0,-13-14 15,0 0-15,-1-12 0,-12 12 0,13-13 16,-14 14-16,-13-14 0,14 0 16,-14 1-16,0-14 0,0 13 15,1 0-15,-1 0 0,0-13 16,-13 13-16,13-13 0,1 14 16,-1-14-1</inkml:trace>
  <inkml:trace contextRef="#ctx0" brushRef="#br0" timeOffset="6110.05">11284 212 0,'0'-14'15,"14"41"-15,-1-14 16,-13 0-16,0 1 0,13 12 16,0-13-16,-13 1 0,0-1 15,14 0-15,-14 0 0,0 0 16,13 14-16,-13-14 16,0 0-16,13 1 15,-13-1 1,13-13-1</inkml:trace>
  <inkml:trace contextRef="#ctx0" brushRef="#br0" timeOffset="6359.96">11523 159 0,'0'-13'15,"0"-1"1,13 41 0,-13-14-16,13 0 0,-13 0 0,0 1 15,0-1-15,13 0 0,-13 0 16,14 1-16,-14-1 0,0 0 16,0 0-16,13 1 0,-13-1 15,13 13 1,-13-13-16</inkml:trace>
  <inkml:trace contextRef="#ctx0" brushRef="#br0" timeOffset="6659.14">11377 370 0,'27'-13'0,"-14"0"0,13 0 15,-13 13-15,1-13 16,52-1 0,-53 14-16,0-13 15</inkml:trace>
  <inkml:trace contextRef="#ctx0" brushRef="#br0" timeOffset="7061.76">11800 225 0,'0'13'31,"0"0"-31,0 1 0,0-1 16,14 13-1,-14-12-15,13-1 0,0 0 16,14 0 0,-27 0-16,13-13 0,0 0 0,0 0 15,14-13 1,-14 13-16,0-13 16,-13 0-1,0 0-15,13 13 0,-26-14 16,13 1-16,0 0 0,-13 0 15,0-1-15,-1 1 16,1 13-16,0 0 16,13-13-16,-13 13 0,-27 13 15,27-13-15,0 0 16,-27 27 0,27-27-16</inkml:trace>
  <inkml:trace contextRef="#ctx0" brushRef="#br0" timeOffset="7856.23">11523 1323 0,'26'53'16,"-13"-27"-16,-13-12 16,0 12-16,14 53 15,-1-65-15,-13 12 0,0 1 16,0-1-16,0-13 0,0 0 0,13 27 16,-13-27-16,0 1 15,0-1-15</inkml:trace>
  <inkml:trace contextRef="#ctx0" brushRef="#br0" timeOffset="8100.28">11734 1296 0,'0'-13'16,"14"0"-16,-14 39 15,13-26-15,-13 27 16,13-14-16,0 0 0,0 54 16,1-54-16,-1 13 15,-13-13-15,13 14 0,-13-14 16,13 0-16,-13 1 0,14-1 0,-14 27 16,13-27-16,-13 0 15,0 0 1</inkml:trace>
  <inkml:trace contextRef="#ctx0" brushRef="#br0" timeOffset="8345.09">11602 1588 0,'13'-14'15,"0"1"-15,14 0 0,-14 13 0,0-13 0,27-1 16,-27 14-16,1 0 0,-1-13 16,0 13-16,13 0 0,-12-13 15,-1 13-15,0 0 0,0 0 16,1 0-16</inkml:trace>
  <inkml:trace contextRef="#ctx0" brushRef="#br0" timeOffset="9178">12211 1495 0,'0'13'31,"0"14"-15,13-27-16,-13 13 16,0 0-16,0 0 0,0 1 0,13-14 0,-13 13 15,0 0-15,0 0 16,13-13-16,-13 13 15,0 1-15,13-28 63</inkml:trace>
  <inkml:trace contextRef="#ctx0" brushRef="#br0" timeOffset="10089.78">12634 1442 0,'-13'0'16,"13"13"0,-14 14-1,28-14 1,-14 0-16,0 0 16,0 1-16,26-1 15,-13 0 1,1-13-1,-1-13-15,0 13 16,0-27 0,-13 1-1,-13 13-15,13-1 0,0 1 0,-13 13 16,13-13-16,-13-13 16,-1 26-16,14-14 15,-13 1 1,40 26 15,-1 1-15,-13-14-16,0 13 0,1 0 15,-1 0-15,13 0 16,-12 1-16,-1-14 16,-13 13-16,13 0 0,0-13 15,-13 13 1,14-39 15,-14 13-31,0-1 16,13 14-16,-13-13 0,0 0 15,0 0-15,13 0 16,-13-1 0,13 14-16,0-13 15,-13 0-15,14 0 16</inkml:trace>
  <inkml:trace contextRef="#ctx0" brushRef="#br0" timeOffset="10308.07">13057 1191 0,'13'13'16,"1"27"-1,-1-27 1,-13 0-16,13 0 0,-13 14 0,0-14 15,13 0-15,-13 0 0,0 1 0,0-1 16,0 0-16,0 0 0,0 1 16,14-14-16,-14 13 0,0 0 15,13-26 1,0 0 0</inkml:trace>
  <inkml:trace contextRef="#ctx0" brushRef="#br0" timeOffset="10503.91">13216 1257 0,'13'-66'0,"-13"52"0,13 14 16,1 14 0,-14 12-1,13 1 1,-13-14-16,0 0 0,0 0 0,13 14 16,-13-14-16,0 0 0,0 0 15,0 1-15,0-1 0,0 0 0,13 0 16,-13 1-16,0-1 15,0 0 1</inkml:trace>
  <inkml:trace contextRef="#ctx0" brushRef="#br0" timeOffset="10673.45">13123 1376 0,'-13'0'16,"26"-13"0,1-1-16,-1 14 0,26-13 15,-25 13 1,-1 0-16</inkml:trace>
  <inkml:trace contextRef="#ctx0" brushRef="#br0" timeOffset="11009.12">13454 1230 0,'0'0'16,"-26"14"-16,26-1 16,-14-13-16,1 13 15,13 0-15,-13-13 0,13 13 16,0 1-16,13-1 15,0-13 1,1 0 0,-1 0-1,0 0 1,0 0-16,1 13 16,-1-13-1,-13 13-15,26-13 16,-13 0-1,-13-13-15,14 0 16</inkml:trace>
  <inkml:trace contextRef="#ctx0" brushRef="#br0" timeOffset="11531.91">12541 397 0,'40'-13'0,"-27"13"16,0-14-16,14 14 0,-14 0 15,14 0-15,-1 0 0,-13 0 0,0 0 0,14 0 16,-14-13-16,0 13 0,1 0 0,-1 0 15,0 0-15,0 0 16,1 0-16,-14-13 0,13 13 16,0-13-16</inkml:trace>
  <inkml:trace contextRef="#ctx0" brushRef="#br0" timeOffset="11793.67">12660 265 0,'27'0'0,"-14"0"0,0 0 0,14 13 16,-14-13-16,0 13 0,14-13 0,-1 13 15,-13 1-15,1-14 0,12 13 16,-13 0-16,0 0 0,1-13 0,-1 13 15,-13 1-15,13-1 0,-13 0 16,0 0-16,0 1 0,0-1 16,-13 0-16,13 13 0,-13-12 15,13-1-15,-14 0 0,14 0 0,-13 1 16</inkml:trace>
  <inkml:trace contextRef="#ctx0" brushRef="#br0" timeOffset="12537.97">13970 198 0,'0'40'16,"0"-27"-1,0 14 1,13-1-16,-13-12 0,0-1 16,0 0-16,13 0 0,-13 0 0,0 1 15,14-1 1,-1-26-1,-13-1 1,0 1-16,13 0 16,-13 0-16,13 0 0,1-1 15,-1 1-15,0 0 16,0 13-16,1 0 0,-1 13 16,13 14-1,-13-14 1,-13 0-16,14-13 0,-14 13 0,13-13 15,-13 13-15,13 14 16,0-27 0,1 13-16,-1-13 15</inkml:trace>
  <inkml:trace contextRef="#ctx0" brushRef="#br0" timeOffset="13345.05">14327 278 0,'0'-13'0,"0"39"31,13 1-16,-13-14 1,14-13 0,-14 13-16,13-13 0,0 0 15,0 0-15,1-13 16,-1 0 0,0 13-16,-13-14 0,13 1 15,-13 0-15,13 0 16,1 26 15,-1 0-15,-13 0-16,26 1 15,-12-14 1,-1 13-16,0-13 16,14-13-1,-14-1 1,-13-12-16,13-1 15,-13 14-15,0 0 0,0 0 0,0-14 16,0 14-16,0 0 0,0 0 16,0-1-16,0 1 15,0 0 1,0 53 0,0-27-1,0 13-15,0-13 0,0 1 0,13 12 16,-13-13-16,0 1 0,13-1 15,-13 0-15,14-13 0,-1 27 16,0-27-16,0 13 0,1-13 16,-1-13-16,0 13 15,-13-14-15,13 14 0,-13-13 0,14 0 16,-1-14-16,-13 14 0,0-13 0,13 12 16,-13-12-16,0 13 0,0 0 15,0-1-15,0 1 0,13 0 16,-13 0-16,0-1 15,13 41 1,1 13 0,-14-14-16,0-13 0,13 0 15,-13 1-15,13-1 0,-13 0 0,13 0 16,-13 1-16,27 12 16,-27-13-16,13-13 0,0 0 15,0 0-15,14 0 0,-14 0 0,0-13 16</inkml:trace>
  <inkml:trace contextRef="#ctx0" brushRef="#br0" timeOffset="13820.06">15174 0 0,'0'53'15,"0"-13"-15,13-14 0,-13-13 16,0 14-16,13-14 0,-13 13 15,0-12-15,14-1 0,-14 0 0,0 0 16,13-13-16,-13 14 0,0-1 16,13-13-1,13-27 1,-12 27-16,-1-13 16,0 0-1,0 13 1,1 13-16,-1-13 0,0 13 15,0-13-15,-13 14 0,14-1 0,-1 0 16,0-13-16,-13 13 0,13-13 16,-13 14-16,13-14 0,1 13 15,-1-13-15,0 0 16,0-13-16,1-1 16</inkml:trace>
  <inkml:trace contextRef="#ctx0" brushRef="#br0" timeOffset="14170.07">15584 132 0,'13'14'31,"0"-1"-31,-13 0 15,14 0-15,-1-13 0,0 13 16,-13 1-16,13-1 0,1 13 16,-1-12-16,-13-1 0,0 0 15,0 0-15,0 14 16,0-14 0,-13 0-1,13 0 1,-14-39 15,28 13-15,-1 0-1,-13-1-15</inkml:trace>
  <inkml:trace contextRef="#ctx0" brushRef="#br0" timeOffset="14680.02">15491 159 0,'0'39'15,"14"-25"1,-1-1 0,13 13-1,1-26-15,-14 0 0,-13 14 16,13-14-16,0 0 0</inkml:trace>
  <inkml:trace contextRef="#ctx0" brushRef="#br0" timeOffset="15748.97">15729 0 0,'27'26'0,"-14"-12"0,-13 12 15,13-13-15,1 14 0,-14-1 16,13 14-16,0-14 0,0 1 0,1-1 0,-14-12 15,13 12-15,-13 1 0,13-1 0,-13-13 16,13 40 0,-13-40-16,0 1 0,13-14 0,-13 13 15,0 0-15,0 0 16,-13-39 15,0-27-15,0 26-16,13 1 15,0-40-15,0 26 16,13 27-16,13-27 16,-12 27-16,-1 13 15,0 0-15,0 0 0,1 0 16,-1 0-16,0 26 16,-26 1-1,-27 13 1,27-27-16,0 0 0,-1-13 15,-12 13-15,-14 14 16</inkml:trace>
  <inkml:trace contextRef="#ctx0" brushRef="#br0" timeOffset="17746.08">14605 1270 0,'-13'-13'16,"-14"26"-16,1 13 16,26-12-16,-13-1 15,-1 0-15,14 0 0,-13 1 0,13-1 16,0 0-16,-13 27 16,13-27-16,13 13 15,0-26-15,1 0 31,-1 0-31,0-13 0,0 0 16,-13 0-16,14 0 0,-14-1 16,0 1-16,13 0 0,-13 0 15,0-1 1,13 28 15,0 25-31,-13-25 16,0-1-16,13-13 0,-13 13 15,14 0-15,-14 0 0,13-13 0,0 14 16,0-1-16,1-13 16,-1 0-1,0-13-15,0-1 0,-13 1 0,14 0 16,-14 0-16,0-14 0,0 14 0,0-40 16,0 27-1,0-14-15,0 14 0,0-1 0,0 14 0,0-14 16,0 14-16,0 0 0,-14 13 15,14-13-15,0-1 0,0 41 32,0 39-17,0-53-15,14 14 16,-14-14-16,13 13 0,-13-12 0,13-1 16,0 13-16,-13-12 0,13-1 0,1 0 15,-1 0-15,0-13 0,0 14 16,1-14-16,-1 13 0,0-13 15,13-13 1,-26-1-16,14 14 0,12-39 16,-13 25-16,-13-12 15,14-1-15,-14 14 0,0 0 0,0-13 16,0 12-16,0-12 0,0 13 16,0-1-16,0 1 0,0 0 0,0 0 15,-14-1 1,14 28-1,0 25 1,0-25-16,0-1 0,0 0 16,0 14-16,14-14 0,-14 0 15,13 0-15,-13 0 0,13 1 16,14 12-16,-14-26 16,-13 13-16,13-13 0,0 0 0,14 0 15,-14-13 1,0 13-1,-13-13-15,13 13 0,-13-13 16,14 13 0,-1 0-1,0 26 1,0-13-16,1 1 16,-1-14-1,0 0-15,0 0 0,0 0 16,1-14-1,-1 14-15,-13-13 0</inkml:trace>
  <inkml:trace contextRef="#ctx0" brushRef="#br0" timeOffset="17904.62">14989 1283 0,'26'-26'15,"-13"26"-15</inkml:trace>
  <inkml:trace contextRef="#ctx0" brushRef="#br0" timeOffset="18184.27">15253 1244 0,'0'13'0,"0"-26"0,13 39 16,1-13-1,-14 0-15,13-13 16,-13 14-16,0-1 0,13-13 16,-13 13-1,13-13-15,1-13 16,-14 0-1,13-14 1,0 14-16,0-13 16,1 12-1,12 1 1,-26 0-16,13 13 0,0-13 0</inkml:trace>
  <inkml:trace contextRef="#ctx0" brushRef="#br0" timeOffset="18644.05">15558 1111 0,'0'27'0,"0"-14"0,0 0 0,13 27 16,-13-27-1,0 14-15,0-14 0,0 0 0,13 0 16,-13 0-16,0 1 15,0-1-15,13-26 32,0-14-17,1 14-15,-14 0 0,13 13 16,-13-13-16,13 13 16,0-14-16,1 14 0,12-13 15,0 26 1,-12-13-16,-1 0 0,0 14 15,0-14-15,27 13 16,-27-13-16,1 0 0,-1 0 16,0 0-16</inkml:trace>
  <inkml:trace contextRef="#ctx0" brushRef="#br0" timeOffset="19232.07">16047 1124 0,'-26'0'16,"12"14"-16,1-14 15,13 13-15,-13 0 16,0 0-16,13 1 0,0-1 31,0 0-15,13-13 0,0 0-16,0 0 0,1 0 15,-1 0 1,0 0-16,0 13 15,14-13 1,-1-13 0,-13 13-1,-13-13-15,14 0 0,12-27 16,-26 27-16,13-1 16,-13-12-16,13 13 0,-13-14 0,14 1 15,-14 13-15,0-14 0,13 14 0,-13 0 16,0-1-16,13 1 0,-13 0 15,0 0-15,0 26 32,0 0-32,13 27 15,-13 0-15,14-14 0,-1 1 16,-13-14-16,13 13 0,0-13 0,-13 14 0,14-14 16,-14 0-16,13 1 15,0-14-15,-13 13 0,13-13 0,0 0 16,1 0-1</inkml:trace>
  <inkml:trace contextRef="#ctx0" brushRef="#br0" timeOffset="19413.14">16113 1032 0,'40'-13'15,"26"-14"1,-53 14-16,14 0 16,-14 13-16,0 0 0,0-14 0,1 14 15</inkml:trace>
  <inkml:trace contextRef="#ctx0" brushRef="#br0" timeOffset="25188.84">7726 5173 0,'13'-14'0,"0"14"0,14 0 16,-14 0-1,13 14-15,54-14 16,-54 0-16,80 0 16,-53 0-16,0 0 0,26-14 0,1 14 15,303-53 1,-264 40-16,14-13 0,224-27 15,-238 26-15,119-12 16,-132 25-16,-14-12 16,1 13-16,0 0 0,-1-1 0,1 1 15,0 0-15,184-14 16,-224 27 0,0 0-16,-13 0 0,13 0 15,-27 0-15,27-13 16,-40 13-16,1 0 0,-1 0 15,0 0-15,0 0 16,-52 0 15,-14 0-15,26 0 0</inkml:trace>
  <inkml:trace contextRef="#ctx0" brushRef="#br0" timeOffset="25552.2">9340 5080 0,'-27'0'0,"67"0"15,-14 0-15,-12-13 0,25 13 16,1-13-16,198-14 15,-172 14-15,0 0 0,80-1 16,-80 1 0,53 0-16,-66 0 0,-13 13 0,0-14 15,12 14 1,-38 0-16,-1-13 0,40 13 31,-40 0-31,14-13 31,-14 13 1</inkml:trace>
  <inkml:trace contextRef="#ctx0" brushRef="#br0" timeOffset="27525.78">16656 5186 0,'-27'0'16,"67"0"15,13 0-15,0-13-16,145-1 15,-119 1-15,1 0 0,-1 0 16,14-1-16,-14 1 0,40-13 15,199-14 1,-199 14-16,-27 12 0,1 14 0,0-13 0,-1 0 16,-12 0-16,-1 13 0,133-14 15,-67 1 17,-105 13-32,-14 0 15,-13 0-15,1 13 0,-41 1 31,1-14-15,13 13-16,-14-13 0,1 0 0,-1 13 16,-26-13-16,14 13 0,-14-13 0</inkml:trace>
  <inkml:trace contextRef="#ctx0" brushRef="#br0" timeOffset="27831.61">16920 5358 0,'53'-13'15,"0"13"-15,13-14 0,13 1 16,14 0-16,13 0 0,13-14 16,13 14-16,-13 0 0,0-14 15,14 14-15,-14 0 0,-27 0 0,1-1 16,0 1-16,-14 13 0,0-13 15,-13 13-15,1 0 0,-15-13 0,41 13 16,-66 0-16,-1 0 0,0 0 16,-12 0-16,12 0 0,-13 0 15,1 0-15,-1 13 0,0-13 16</inkml:trace>
  <inkml:trace contextRef="#ctx0" brushRef="#br0" timeOffset="31301.21">6654 6178 0,'569'-93'47,"-344"54"-47,-132 25 15,-40 1-15,-27 13 0,53-13 16,-65 13-16,39 0 16,-53 13-1,-27 0 1,14 1-16,-14-14 0</inkml:trace>
  <inkml:trace contextRef="#ctx0" brushRef="#br0" timeOffset="31561">6668 6509 0,'26'0'16,"-13"-13"0,53-1-16,-26 1 0,0 0 0,13 0 15,92-14-15,-92 14 16,-13 0-16,-1 13 0,28-14 15,-54 14-15,13 0 16,-13 0-16,1 0 0,-14 14 16,13-14-16,0 13 0,0 0 15,14 14 1</inkml:trace>
  <inkml:trace contextRef="#ctx0" brushRef="#br0" timeOffset="32784.94">2580 7104 0,'-40'13'0,"-53"1"16,67 12-16,-53 0 15,52-12-15,-13 12 0,14-13 16,-1 1-16,1-1 16,-40 79-1,66-65-15,0 65 16,0-52-16,13 13 0,-13 0 16,13 0-16,14 0 0,-1 66 15,1-66-15,-14 13 0,27 66 16,79 331-1,-93-370 1,1 13-16,78 436 16,-91-423-16,-1 0 15,13 0-15,-12 14 0,12-14 0,-13 0 16,27 264 0,-27-264-16,0 0 0,1 1 15,-1-1-15,-13-14 0,13 1 16,0-26-16,1 92 0,-1-80 0,-13-12 15,13 65-15,-13-79 16,13 0-16,-13-26 0,0 13 0,0-13 0,14 39 16,-1-39-1,-13-1-15,13 1 0</inkml:trace>
  <inkml:trace contextRef="#ctx0" brushRef="#br0" timeOffset="34654.24">20399 6707 0,'40'0'16,"-27"0"-16,1 0 0,25 0 15,-12 0-15,-1 0 0,1 13 16,-1-13-16,-13 0 0,67 14 16,-67-1-16,13 0 0,-12-13 15,-1 27-15,26 25 16,-25-38-16,-14 12 0,26 80 31,-26-66-31,0-1 0,0 1 0,13 119 16,1-93-16,-14-13 15,0 13-15,13 0 0,-13-13 0,26 146 16,-26-133 0,14-13-16,12 145 15,-13-132-15,0 0 0,1 0 0,-14 1 16,13-1-16,-13 0 0,13 0 16,0 132-1,-13-131-15,14-1 0,-1 132 16,-13-132-16,13-13 0,-13 13 0,0 1 15,0-15-15,13 81 16,-13-80-16,0 0 0,0 13 0,0-13 16,0 0-16,0 13 0,0 106 15,0-106-15,0-13 16,0 0-16,0 13 0,0-13 16,0 132-16,0-132 15,0 0-15,0 0 0,14 92 16,-14-92-16,13 79 15,0-92-15,-13 0 16,13-1-16,-13 1 0,13-13 0,-13-1 16,14 1-16,-1 25 15,-13-25-15,0-1 0,26 27 16,-26-39-16,14-1 16,-14 13-16,13-13 0,0 1 0,0 12 15,-13-13-15,13 1 16,1-1-16,-1 0 0,0-13 15,-53-26 17,-79-27-17</inkml:trace>
  <inkml:trace contextRef="#ctx0" brushRef="#br0" timeOffset="37352.15">13375 9300 0,'13'13'0,"-13"1"0,13-1 16,0 40-16,-13-40 16,14 13-16,-14 1 0,0-1 0,0 1 15,13-1-15,-13 1 0,0-1 16,0-13-16,0 14 0,0-14 0,13 0 16,-13 1-16,0-1 0,0 0 0,0 0 15,0 0-15</inkml:trace>
  <inkml:trace contextRef="#ctx0" brushRef="#br0" timeOffset="37608.82">13586 9327 0,'0'-27'0,"0"54"31,0-14-31,14 0 16,-14 0-16,0 14 0,0-14 0,13 53 15,-13-53 1,0 1-16,13 12 0,-13 14 16,0-27-16,13 0 15,-13 0-15,-13 1 0,26-14 16,-26 13-16</inkml:trace>
  <inkml:trace contextRef="#ctx0" brushRef="#br0" timeOffset="37871.85">13441 9604 0,'26'-39'0,"-12"39"15,-1-14-15,13 1 16,-13 0-1,1 13-15,-1 0 0,0-13 16</inkml:trace>
  <inkml:trace contextRef="#ctx0" brushRef="#br0" timeOffset="38249.44">13732 9551 0,'0'14'0,"0"-1"15,0 13 1,0-12 0,13-1-16,-13 0 0,13 0 15,-13 1-15,14-14 0,-1 13 0,0-13 16,0 0-16,0 0 0,1 0 15,-1 0-15,13 0 0,-12 0 16,-14-13-16,13 13 0,0 0 0,-13-14 0,13 1 16,-13 0-1,-26-27 1,13 40-16,-1-13 0,1 0 0,0-1 16,0 14-16,-1-13 0,1 13 15,0 0-15,0-13 0,-14 13 16,14 0-1,13 13 1</inkml:trace>
  <inkml:trace contextRef="#ctx0" brushRef="#br0" timeOffset="38501.08">14155 9446 0,'13'13'16,"1"-26"-1,25-1 1,-25 14-16,-1 0 15,13-13 1,-12 13-16</inkml:trace>
  <inkml:trace contextRef="#ctx0" brushRef="#br0" timeOffset="38686.82">14195 9591 0,'26'-13'16,"-12"0"-1,-1-1-15,0 14 0,0-13 16,1 0-16,-1 13 0,0 0 0,0 0 16</inkml:trace>
  <inkml:trace contextRef="#ctx0" brushRef="#br0" timeOffset="39164.33">15161 9208 0,'-40'0'16,"27"0"-16,-27 13 16,0 13-16,27-26 15,0 13-15,0-13 0,13 14 16,0-1-16,0 0 15,13 0-15,0-13 0,0 14 0,40-1 16,27 13 0,-54-26-16,-13 13 15,1-13-15,-1 0 0,0 14 16,13-1 0,-39 13-16,0-26 15,0 14-15,0-1 0,-67 27 16,54-27-16,-1-13 15,14 13-15,-13-13 0,-1 0 0,14 13 16,0-13-16,-27 0 16,27 0-16</inkml:trace>
  <inkml:trace contextRef="#ctx0" brushRef="#br0" timeOffset="39984.83">15610 9287 0,'-26'13'0,"13"14"16,0-27-1,13 13-15,-14 0 16,14 0-16,0 0 0,0 1 15,14 12 1,-1-13 0,0-13-16,13-13 15,-26 0-15,14 13 16,-14-13-16,13 13 16,-13-14-1,13 14 1,14 14 15,-14-14-31,0 0 16,13-14-16,-12 14 15,-1-13-15,-13 0 0,13 13 16,-13-13-16,13 0 0,-13-1 0,0-39 16,0 40-1,0 0-15,-13-13 0,13 12 16,0-12-16,0 13 0,0-1 0,0 1 15,0 0-15,0 39 32,0 1-17,0-1-15,13-12 16,-13 25-16,14-26 0,-14 1 16,13-1-16,0 0 0,-13 0 0,13 1 15,1-1-15,-1 0 0,13-13 16,-13 0-16,1 0 15</inkml:trace>
  <inkml:trace contextRef="#ctx0" brushRef="#br0" timeOffset="40656.14">16060 9234 0,'-53'0'16,"40"0"-1,-13 13 1,12 0-16,1 1 16,13-1-1,0 0 1,13-13-16,1 0 16,12-13-1,-13 13 1,14 0-1,-14 0-15,0 0 16,0 0-16,-13 13 0,14-13 0,-14 13 16,13-13-1,-13 14 1,13-14-16,-13 13 16,13-26 15,-13-14-31,0 14 15,14 0 1,-14-1-16,13 1 16,-13 0-1,13 13 1,-13-13-16,13 26 62,14 0-46,-27 0-16,13 1 0,0 12 16,0 14-1,1-40-15,-14 26 16,-14-13 0,14 1-1,14-41 16,-14 14-15,26-13-16,1 12 31,-27 1-31,13 13 0</inkml:trace>
  <inkml:trace contextRef="#ctx0" brushRef="#br0" timeOffset="41468.82">16669 9022 0,'26'93'0,"-13"-27"15,1-26-15,-14-1 0,13 1 16,-13 13-16,0-13 0,13-1 0,-13-12 15,0-1-15,0-12 0,0 25 16,0-26-16,0 1 0,0-1 16,0 0-16,-13-13 0,13 13 15,-13-26 1,13-27 0,0 27-1,13 0-15,-13 0 0,13 0 0,-13-14 16,27-13-1,-14 14-15,0 13 0,-13-1 0,13 1 16,-13 0-16,14-13 16,-1 12-1,0 28 32,-13-1-31,13-13-16,-13 13 15,13-13 1,1-13 0,-14 0-16,13-1 15,-13 1 1,0 0-16,13 0 16,-13 26 30,13-13-30,-13 13 0,14-13-1,-1 0 17,0-13-32,0 0 15,14-1 1</inkml:trace>
  <inkml:trace contextRef="#ctx0" brushRef="#br0" timeOffset="41779.8">17370 9062 0,'13'26'31,"0"1"-15,-13-14-16,0 0 0,14 67 15,-1-54 1,-13-13-16,0 1 16,0-1-16,0 0 0,13-13 15</inkml:trace>
  <inkml:trace contextRef="#ctx0" brushRef="#br0" timeOffset="42069.12">17383 9102 0,'40'-27'0,"-1"27"16,-25 0 0,-1 13-16,27 1 15,-27-14-15,0 13 0,0 0 0,1 0 16,-14 1-16,13-14 0,-13 13 15,0 0-15,0 0 16,-13 1-16,-1-1 0,14 0 0,-13 0 16,13 0-16,-13-13 0,0 14 15,-1-14-15,14 13 16,-13-13-16</inkml:trace>
  <inkml:trace contextRef="#ctx0" brushRef="#br0" timeOffset="42345.91">17767 8996 0,'-27'0'16,"14"13"-16,0-13 15,13 13-15,0 1 16,0-1-16,13 0 15,-13 0-15,13 0 0,-13 1 0,14-14 0,-14 13 16,13 0-16,-13 0 0,13 1 16,-13-1-1,0 0-15,0 0 0,-26 14 16,12-14 0,14 0-16,-13-13 0,0 0 15,0 13 1</inkml:trace>
  <inkml:trace contextRef="#ctx0" brushRef="#br0" timeOffset="42716.01">18362 9009 0,'13'27'16,"-13"-14"-1,14 26 1,-1-25-16,-13 12 16,0-13-16,13 1 15,-13-1-15</inkml:trace>
  <inkml:trace contextRef="#ctx0" brushRef="#br0" timeOffset="42871.93">18296 8903 0,'-13'0'16</inkml:trace>
  <inkml:trace contextRef="#ctx0" brushRef="#br0" timeOffset="43116.02">18534 8969 0,'0'14'0,"0"-28"16,13 54 0,1-27-16,-14 1 0,26 25 15,-13-12 1,-13-14-16,13 13 16,-26-26-1,13 14-15,-13-1 16,0-13-16,0 13 15</inkml:trace>
  <inkml:trace contextRef="#ctx0" brushRef="#br0" timeOffset="43504.86">19301 8877 0,'14'13'16,"-14"27"-16,13-27 16,-13 0-16,0 14 0,0-14 15,0 0-15,0 0 0,0 1 0,0 12 16,0 0-16,0-12 15,0-1-15,0 0 16</inkml:trace>
  <inkml:trace contextRef="#ctx0" brushRef="#br0" timeOffset="43810.44">19447 8877 0,'-13'13'31,"13"0"-15,0 0-16,0 1 0,13-1 15,-13 0-15,13 0 16,0 1-16,1-14 0,-1 0 0,0 0 16,0 0-16,0 0 0,1 0 15,-1-14-15,0 1 31,-13 0-31,0 0 0,-13-1 0,0 1 16,13 0-16,-14 13 16,1-13-16,0 13 15,-13 0 1,12 13 0</inkml:trace>
  <inkml:trace contextRef="#ctx0" brushRef="#br0" timeOffset="43927.84">19592 8877 0</inkml:trace>
  <inkml:trace contextRef="#ctx0" brushRef="#br0" timeOffset="44367.77">19804 8811 0,'-26'39'15,"26"-25"-15,13-14 0,-13 13 0,0 0 0,13 0 16,-13 0-16,13 1 0,-13-1 0,0 0 16,0 0-16,0 1 0,0-1 15,0 0 1,-13 0-16,0-13 16,13-26 15,26 13-16,-26-1-15,14 1 0,-1 0 0,0 0 16,-13-1-16,13-12 16,-13 13-16,0 0 15,0-1-15,0 1 0,-13-13 16,13 12-16,-13 14 16,13-13-16,-13 13 15,-1-13-15,1 26 0,0-13 16,0 13-1</inkml:trace>
  <inkml:trace contextRef="#ctx0" brushRef="#br0" timeOffset="44644.91">19976 8758 0,'13'13'15,"-13"0"-15,13-13 0,-13 13 0,0 1 16,0-1-16,0 0 0,0 0 16,-13 1-16,13-1 0,0 0 0,0 0 15,0 0-15,0 1 0,0-1 0,0 0 16,13 0 0,-13 1-16,0-1 15,14-13-15,-1 0 16,0 0-16,14-13 15,-14-1 1,0 14-16,0-13 0,1 0 16</inkml:trace>
  <inkml:trace contextRef="#ctx0" brushRef="#br0" timeOffset="45046.95">20267 8771 0,'0'53'31,"0"-40"-15,0 0-16,0 1 0,0 12 0,-13-13 15,13 0-15,0 1 0,0 12 16,0-13-16,0 1 0,0-1 0,0 0 16,0 0-16,0 1 15,0-54 16,0 27-31,0-14 16,0-39-16,13 53 16,-13-14-16,0 14 0,13-13 15,1 12-15,-14 1 0,13 13 16,0-13 0,0 13-16,-13 13 0,13-13 15,-13 13-15,0 1 0,-13-1 16,13 0-16,-13 14 15,0-14 1,0-13-16,13 13 0,-14-13 16,1 13-1</inkml:trace>
  <inkml:trace contextRef="#ctx0" brushRef="#br0" timeOffset="45445.27">20452 8797 0,'14'40'16,"-14"-27"-16,0 1 0,0-1 0,0 26 16,0-25-1,0-1-15,-14 0 0,14 0 16,0 1-16,0-1 15,14-40 17,-14 14-32,13 0 0,-13 0 15,13-14-15,0-12 16,-13 25-16,0 1 0,13 0 0,-13 0 16,14-1-16,-14 1 15,13 13-15,13 13 16,-12 1-1,-14-1-15,13-13 0,-13 13 16,13-13-16,0 27 16,1-14-16,-14 0 15,13 0 1,-13 0 0</inkml:trace>
  <inkml:trace contextRef="#ctx0" brushRef="#br0" timeOffset="45607.71">20466 8916 0,'13'-13'0,"26"0"16,-12 13 0,-14-13-16,14 0 0,-14 13 0,13-14 15,1 1-15,-1 0 16,-13 13-16,1 0 0</inkml:trace>
  <inkml:trace contextRef="#ctx0" brushRef="#br0" timeOffset="48377.9">13573 10649 0,'13'27'15,"1"13"1,-14-14-16,0 1 0,13-14 16,-13 13-16,0 1 0,13-1 0,-13 40 15,0-52-15,0-1 16,0 26-16,13-25 15,-13-1-15,0 0 0,0 0 16</inkml:trace>
  <inkml:trace contextRef="#ctx0" brushRef="#br0" timeOffset="48616.81">13758 10610 0,'14'39'31,"-14"-12"-31,0-14 0,13 0 0,-13 14 16,13-1-16,-13-12 0,0 12 16,13-13-16,-13 0 0,13 40 15,-13-39-15,0-1 16,0 0-16,14 0 0,-28 1 0,14-1 15,0 13-15</inkml:trace>
  <inkml:trace contextRef="#ctx0" brushRef="#br0" timeOffset="48832.7">13652 10941 0,'0'-27'16,"14"14"-1,-1 13-15,13-27 16,-12 27-16,-1-13 0,0 13 16,14-13-16,-14 13 0,0 0 15,0 0-15</inkml:trace>
  <inkml:trace contextRef="#ctx0" brushRef="#br0" timeOffset="49376.01">14089 10795 0,'-26'13'0,"26"0"0,-14-13 0,1 14 16,0-1-16,0 0 0,-1 0 15,1 1-15,13-1 0,0 0 16,0 0 0,13-13-1,27-13-15,-13-13 31,-14 12-31,0 1 0,0 13 0,-13-13 16,14 0-16,-1 13 0,-13-14 16,13 14-16,0 14 15,0-1 1,-13 0 0,14 14-1,-1-27-15,-13 13 0,0 0 16,13 0-16,0 1 31,1-14-31</inkml:trace>
  <inkml:trace contextRef="#ctx0" brushRef="#br0" timeOffset="49616.76">14420 10649 0,'66'-26'0,"-53"26"0,0-13 0,1 13 16,-1 0-16,0-13 0,0 13 0,1 0 15,-1 0-15</inkml:trace>
  <inkml:trace contextRef="#ctx0" brushRef="#br0" timeOffset="49806.66">14512 10755 0,'27'0'16,"-1"0"0,-26-13-16,14 13 0,-1 0 15,0 0-15,0-13 0,0 13 0,1-13 16,-1-1-16,-13 1 16</inkml:trace>
  <inkml:trace contextRef="#ctx0" brushRef="#br0" timeOffset="56936.69">15319 10530 0,'-13'-13'16,"0"13"-1,0 13-15,-27 1 0,27-14 16,0 13-16,-27 13 0,27-12 15,-1-14-15,14 13 0,-13 0 16,0 0-16,13 0 16,13 1-1,0-1-15,1-13 0,-1 0 16,0 13-16,14 0 0,-14-13 0,0 14 0,13-14 16,-12 13-16,-1 0 0,0 0 15,-13 1-15,0-1 0,0 0 16,0 0-16,-13 0 0,0 1 15,-1-1-15,-12 0 0,13 0 16,-14 1-16,1-14 0,13 13 16,-14-13-16,14 0 0,0 0 0,-14 0 15,14 0-15,0 0 0,13-13 16,0-1 0</inkml:trace>
  <inkml:trace contextRef="#ctx0" brushRef="#br0" timeOffset="57682.15">15491 10636 0,'-26'-13'0,"13"39"15,-1-26-15,14 14 16,-13-1-16,0 0 16,0 27-16,13-27 15,0 14 1,13-14-16,0-13 16,14-27 15,-27 14-31,13 13 0,-13-13 0,0 0 15,0-1-15,13 1 0,-13 0 16,0 0 0,13 39 15,1 1-15,-1-14-16,0-13 15,0 0-15,1-13 16,-1 13-16,0-14 0,-13 1 15,13 0-15,-13 0 0,0-1 16,13 1-16,-13 0 0,0-13 16,0 12-16,0-12 0,0-1 15,0 14-15,0 0 0,-13 13 0,13-13 16,0 0-16,0 39 31,0-13-31,0 0 0,0 14 16,0-14-16,0 14 0,13 39 15,-13-40-15,14-13 16,-1 14-16,0-14 0,-13 0 16,13-13-16,1 14 0,-1-14 0,0 0 15,0 0-15,0-14 0,14 14 0,-14 0 16,0-13-16,14 0 0</inkml:trace>
  <inkml:trace contextRef="#ctx0" brushRef="#br0" timeOffset="58082.32">15954 10597 0,'-53'-27'0,"53"14"0,-26 26 15,13-13-15,0 0 16,-1 13-16,14 1 16,-13-1-16,13 0 15,0 0 1,13-13-1,1 13-15,12-26 16,0 26 0,-12-13-16,12 0 15,14 14 1,-40-1-16,13-13 16,-13 13-16,13-13 0,-13 13 15,14 1-15,-1-28 47,-13 1-31,13 0-16,-13 0 15,13 13-15,-13-14 16,27-12 0,-14 13-16,0 0 15</inkml:trace>
  <inkml:trace contextRef="#ctx0" brushRef="#br0" timeOffset="58376.78">16153 10544 0,'0'0'31,"13"13"-31,-13 0 16,13 0-16,0-13 16,1 0-1,-1 0-15,0 0 16,0-13-1,1 13-15,-1 0 16,0 0-16,0 0 16,1 13-16,-1 1 15,0 25-15,-13-26 16,0 1-16,0-1 0,0 13 16,0 14-16,-13-27 0,13 1 15,-13 12-15,13-13 0,-14 0 0,14 1 16,-13-14-16,13 13 0</inkml:trace>
  <inkml:trace contextRef="#ctx0" brushRef="#br0" timeOffset="58619.75">16986 10425 0,'-13'26'0,"13"-13"16,0 1-16,0 12 15,0-13-15,0 0 16,0 1-16,0-1 0,0 0 0,-13 0 15</inkml:trace>
  <inkml:trace contextRef="#ctx0" brushRef="#br0" timeOffset="58756.91">16907 10239 0,'-13'-13'0</inkml:trace>
  <inkml:trace contextRef="#ctx0" brushRef="#br0" timeOffset="59004.75">17185 10306 0,'13'13'16,"-13"0"-16,13 0 0,0 14 15,1 12 1,-14-12 0,0-14-16,-14-13 15,1 27 1,0-27-16,0 13 0,-1-13 15</inkml:trace>
  <inkml:trace contextRef="#ctx0" brushRef="#br0" timeOffset="59930.96">17701 10292 0,'13'14'0,"-13"25"15,0-26 1,13-13-16,-13 14 0,0-1 16,13 0-1,1-26 1,-14 0-1,13 13 1,0-14 0,0 14-1,0 0-15,1 14 16,-1-14-16,0 0 0,0 13 16,1-13-16,-1 0 0,0 0 15,0-13-15,1 13 0,-1 0 16,0-14-16,0 14 15,0-13-15,1 13 16,-14-13-16,13 26 31,-13 0-15,13-13-16,0 14 16,14-14-1,-14 0-15,-13-14 16,13 14-16,1 0 0,-14-13 0,13 13 15,-13-13-15,13 13 0,-13-13 16,0 0-16,0-1 16,0 1-16,-13 13 0,13-13 0,-13 13 15,-14 0 1,1 13 0,12 0-16,28 1 31,-1-14-16,13-14-15,-12 1 16,-1 13-16,0-13 0,0 0 16,0-1-16,14 1 0,-14 0 0,0 0 15,1-1-15,-1-12 0,0 13 16,-13 0-16,13 13 0,-13-14 16,13 14-16,1 14 15,-14-1 1,0 0-16,0 0 0,13 14 15,-13-14-15,13 0 0,0 0 16,-13 14-16,14-14 0,-14 0 0,13 1 16,-13-1-16,13-13 0,-13 13 0,13 0 15</inkml:trace>
  <inkml:trace contextRef="#ctx0" brushRef="#br0" timeOffset="60082.01">18269 10213 0,'14'-13'15,"25"-1"1,-25 14-16,-1-13 16,0 13-16,0 0 15,14-13-15,-14 13 0,0-13 0</inkml:trace>
  <inkml:trace contextRef="#ctx0" brushRef="#br0" timeOffset="60381.8">18891 10107 0,'13'53'0,"-13"-40"0,0 0 16,0 1-16,0-1 0,0 0 15,0 14-15,0-14 0,0 0 0,0 0 16,0 1-16,0-1 15,0 0-15,14-13 0,-14 13 16,13-13-16</inkml:trace>
  <inkml:trace contextRef="#ctx0" brushRef="#br0" timeOffset="60687.81">19090 10173 0,'-27'13'15,"27"1"-15,-13-14 16,13 26-16,13-13 16,-13 1-16,13-14 0,14 13 15,-1-13-15,-12 0 16,-1 0-16,0 0 16,14-13-16,-14 13 0,0 0 0,0-14 15,-13 1-15,13 13 0,-13-13 0,14 0 16,-14-1-16,-14 1 15,14 0-15,0 0 0,-13 13 0,13-13 16,-13 13-16,0-14 0,0 14 16,-1 0-16,1 0 15,0 14-15</inkml:trace>
  <inkml:trace contextRef="#ctx0" brushRef="#br0" timeOffset="60785.92">19315 10134 0,'13'0'0</inkml:trace>
  <inkml:trace contextRef="#ctx0" brushRef="#br0" timeOffset="61195.86">19539 10067 0,'0'40'15,"0"-27"-15,14 14 0,-14-14 16,13 13-16,-13-12 0,0-1 0,0 0 15,0 0-15,0 1 16,0-1-16,0 0 0,-13 0 16,13 1-16,-14-14 15,14-27 17,14 1-17,-14 12-15,0 1 16,0 0-16,13 0 15,-13-1-15,0 1 0,0 0 0,0 0 16,-13 0-16,13-1 16,-14 14-16,1-13 15,0 13-15,0-13 0</inkml:trace>
  <inkml:trace contextRef="#ctx0" brushRef="#br0" timeOffset="61561.45">19923 10054 0,'0'80'16,"-13"-67"-16,13 0 0,0 0 0,-13 14 16,13-14-16,0 0 15,0 0-15,0 1 0,0-1 16,0 0-1,13-13-15,-13 13 0,13-13 16,14 0 0,-14 0-1,0-13-15,27-13 16,-27 26-16,-13-14 16,13 1-16</inkml:trace>
  <inkml:trace contextRef="#ctx0" brushRef="#br0" timeOffset="61971.82">20174 10067 0,'-13'40'31,"13"-27"-31,0 1 0,0-1 16,0 0-16,0 13 0,0-12 0,0 12 15,0-13-15,0 14 16,0-14-16,0 0 0,0 1 15,0-1-15,0 0 16,0-53 15,0 1-15,0 12 0,0 14-16,0-14 0,13 14 0,-13-13 0,0 13 15,14-1-15,-14 1 0,13 0 16,0 13-16,-13-13 15,13 13-15,1 13 16,-1-13-16,-13 13 16,0 0-16,0 1 15,0-1-15,-13-13 0,13 13 0,-14 0 16,14 0-16,-13 1 0,0-1 16,0 0-16,-1 0 15</inkml:trace>
  <inkml:trace contextRef="#ctx0" brushRef="#br0" timeOffset="62387.95">20346 10041 0,'14'13'15,"-14"0"-15,0 1 16,0-1-16,0 0 0,0 0 0,0 14 15,-14-14-15,14 13 0,0-12 16,0-1-16,0 0 0,0 0 16,-13-13-16,13 14 0,0-1 15,0 0-15,0 0 16,13-39 15,1-27-15,-14 40-16,13-27 15,-13 27-15,13-14 0,0-12 16,-13 25 0,14 1-16,-1 13 15,0 0 1,0 0-16,-13 13 0,14-13 16,-14 14-16,13-14 0,-13 13 15,13 0-15,-13 0 0,13 1 16,-13-1-16,0 0 15,0 0-15,0 0 16,0 1 0</inkml:trace>
  <inkml:trace contextRef="#ctx0" brushRef="#br0" timeOffset="62558.47">20413 10186 0,'-14'0'0,"41"-26"16,13 13-1,-14-14 1,-26 14 0</inkml:trace>
  <inkml:trace contextRef="#ctx0" brushRef="#br0" timeOffset="63276.72">12859 9657 0,'-13'0'15,"39"-13"16,-13 0-15,0 13-16,1 0 0,-14-13 16,13 13-1</inkml:trace>
  <inkml:trace contextRef="#ctx0" brushRef="#br0" timeOffset="63481.74">12951 9551 0,'67'27'16,"-67"-14"-16,13 0 0,-13 1 16,13-1-16,-13 0 0,-13 14 15,13-14 1,0 0-16,-13 0 0,13 0 0,-14 1 0,14-1 15</inkml:trace>
  <inkml:trace contextRef="#ctx0" brushRef="#br0" timeOffset="64432.09">12912 11020 0,'39'0'0,"-25"0"16,25 0-1,-25 0-15,-1 0 0,0 0 16,0 0-16,0-13 0,1 13 16</inkml:trace>
  <inkml:trace contextRef="#ctx0" brushRef="#br0" timeOffset="64684.78">13057 10954 0,'40'13'16,"-40"0"-16,13 0 15,0 1-15,-13-1 0,14 0 0,-14 0 16,0 27-16,0-27 16,0 14-16,-14-14 0,14 13 0,0-12 15,-13 12-15,13-13 0,-13 14 16,13-1-16,-13-13 16</inkml:trace>
  <inkml:trace contextRef="#ctx0" brushRef="#br0" timeOffset="66705.74">20929 8758 0,'26'-27'0,"-13"27"0,14-13 16,12 0-16,-12 0 0,13-1 0,-1 1 16,14 0-16,0-14 0,0 14 15,0 0-15,-13-14 0,12 14 16,1 0-16,-13 0 0,0 0 0,13-1 15,-27 1-15,14 13 0,-14-13 0,-12 13 16,-1-13-16,0 13 0,0 0 16,0-14-16,-39 14 31,-14 14-15,14-14-16,-1 13 0,-12-13 0,-1 13 15,0 0-15</inkml:trace>
  <inkml:trace contextRef="#ctx0" brushRef="#br0" timeOffset="67657.75">20929 8652 0,'13'0'0,"0"0"0,-26 13 46,0 14-46,-1-14 16,1 0-16,0 0 0,13 0 16,-13 1-16,-1-1 15,1-13-15,0 13 0,13 0 0,-13 1 0,-1-14 16,14 13-16,-13 0 0,13 0 0,-13-13 16,13 14-16,0-1 15,13 0 1,0 0-16,14 0 15,-14-13 1,0 14-16,1-14 0,-1 0 16,40 0-16,-40 0 15,0 0-15,0 13 0,1-13 16,-1 0-16,0 0 16,0 0-16,1 0 15,-1 0-15,0 0 16,0 0-1,-13 13 1,14-13 15,-1 0 47,-13-13 63,13-14-125,-13 14-16,0 0 15</inkml:trace>
  <inkml:trace contextRef="#ctx0" brushRef="#br0" timeOffset="73917.14">22066 8189 0,'0'-27'0,"0"54"46,0-1-30,0 1-16,0-1 0,0 40 16,0-26-16,0 0 15,0-14-15,13 1 0,-13-1 0,14 40 16,-1-39-16,-13-14 0,13 0 16,0 0-16,1 1 15,-1-14-15,0 13 0,0-13 0,1 0 16,-1 0-16,0 0 0,0 0 0,-13-13 15,13 13-15,1 0 16,-1-14-16,-26 1 31,-1 0-31,1 13 0,0-13 16</inkml:trace>
  <inkml:trace contextRef="#ctx0" brushRef="#br0" timeOffset="74104.88">21921 8480 0,'-13'-13'16,"39"-14"-16,-13 27 15,0-13-15,1 0 0,-1 13 16,0-13-16,0 13 0,14-14 16,-14 1-16,27 13 15,-27 0 1,0 0-16,0 0 15</inkml:trace>
  <inkml:trace contextRef="#ctx0" brushRef="#br0" timeOffset="74404.87">22265 8387 0,'26'14'0,"-13"-1"15,1 13 1,-14-13-16,26 27 15,-26-27 1,0 1-16,13-1 16,1-26 15,-14-1-31,0 1 0,13-13 16,-13-1-16,13 14 15,-13 0-15,13 0 0,-13-1 0,13 1 16,-13 0-16,14 0 0,-14-1 15,13 1 1,0 13-16</inkml:trace>
  <inkml:trace contextRef="#ctx0" brushRef="#br0" timeOffset="74861.23">22569 8242 0,'-13'0'15,"26"0"-15,-40 13 32,27 0-32,0 0 0,0 14 15,0-14-15,0 0 16,0 1-16,0-1 0,0 0 0,14 0 15,-1 1-15,0-1 0,0-13 16,1 0-16,12 0 16,-13 0-16,1-13 0,12 13 0,-13-14 15,14 1-15,-14 0 0,0 0 16,14-14-16,-27 14 0,13 0 0,-13-1 16,13 1-16,-13 0 0,0 0 0,0 0 15,0-1-15,-13 14 16,0 0-1,-14 27 1,27-14-16,-13 0 0,13 0 0,0 1 16,-13-1-16,13 0 15,0 0-15,0 1 0,0-1 0,13 0 16,-13 0-16,13-13 0,-13 14 16,13-1-16,1-13 15,-1 0-15,0 0 0,0 0 16,1 0-1</inkml:trace>
  <inkml:trace contextRef="#ctx0" brushRef="#br0" timeOffset="75565.94">22807 8308 0,'27'13'31,"-1"-13"-15,-13 0-16,0-13 0,14 0 15,-14 13-15,0-14 16,1 1-16,-1 0 0,0 0 0,-13 0 0,13-14 16,1 14-1,-14 0-15,0-1 0,0 1 16,0 0-16,-14 13 16,1 0-1,0 13-15,0 0 0,-1 14 16,14-14-1,-13 0-15,13 1 0,0-1 0,0 0 16,13 0-16,-13 0 0,0 1 0,14-14 16,-1 13-16,0 0 0,0-13 15,1 13-15,-1-13 0,0 0 16,0 14-16,0-14 16,1 0-16</inkml:trace>
  <inkml:trace contextRef="#ctx0" brushRef="#br0" timeOffset="75960.05">22384 8731 0,'-13'0'15,"39"-26"1,-13 26-16,0-13 0,67-14 15,-41 14-15,41-27 0,39 0 32,-79 27-32,-1 0 0,1 0 15,-14 0-15,-12 13 0,12-14 0,-13 14 0,1 0 16,-14-13-16,13 13 0,-13 13 16,-13 1-1</inkml:trace>
  <inkml:trace contextRef="#ctx0" brushRef="#br0" timeOffset="76172.71">22463 8797 0,'66'-26'15,"-26"-1"-15,0 14 16,-1 0-16,1 0 0,26 0 15,-26-1-15,0 1 0,-14 0 16,14 0-16,-27-1 16,13 14-16,-12 0 0,-1-13 0,0 13 15,0-13-15,1 13 0</inkml:trace>
  <inkml:trace contextRef="#ctx0" brushRef="#br0" timeOffset="76769.84">22781 9234 0,'0'26'16,"0"-12"-16,0 12 16,0-13-16,0 14 0,13 39 15,-13-53 1,0 40-16,13-40 0,-13 1 15,0 12-15,0-13 0,0 0 16,0 1-16,13-14 0,-13 13 0,0 0 16</inkml:trace>
  <inkml:trace contextRef="#ctx0" brushRef="#br0" timeOffset="76993.75">22953 9208 0,'0'-14'16,"0"41"-1,0-14-15,0 0 16,0 0-16,26 54 16,-26-41-16,0-13 15,0 14-15,13-14 0,-13 0 0,14 27 16,-14-27-1,0 0-15</inkml:trace>
  <inkml:trace contextRef="#ctx0" brushRef="#br0" timeOffset="77379.7">22834 9446 0,'0'-14'0,"13"14"16,13-13-1,-13 0-15,1 0 0,-1 13 16,0 0-16,14-14 15,-1 1 1,-13 13-16</inkml:trace>
  <inkml:trace contextRef="#ctx0" brushRef="#br0" timeOffset="77874.11">23164 9353 0,'-13'13'31,"0"0"-31,13 1 16,0-1-16,13-13 0,-13 13 15,0 0-15,13 1 0,1-1 16,-1-13-16,0 0 15,0 0-15,0 0 0,14-13 16,-14 13-16,0-14 16,1 1-16,-14 0 15,0 0-15,0-1 16,-14 1-16,1 0 0,0 0 16,0 13-16,-1-13 0,1 13 15,-13-14-15,13 14 0,-1 0 16,1 14-16,0-14 15,0 0-15,-1 13 0</inkml:trace>
  <inkml:trace contextRef="#ctx0" brushRef="#br0" timeOffset="79536.86">22926 10107 0,'13'53'32,"-13"-40"-32,0 14 0,14-1 0,-14-13 15,0 14-15,13-1 0,-13 1 16,0-1-16,0 1 0,13-14 15,-13 27-15,0-27 0,0 0 0,0 0 16,0 1-16,13-1 0,-13 0 16,0 0-1</inkml:trace>
  <inkml:trace contextRef="#ctx0" brushRef="#br0" timeOffset="81227.77">22900 10107 0,'53'-26'0,"-27"26"15,-13 0-15,1 0 0,-1 0 0,0 13 16,0-13-16,0 13 0,1 0 16,-1 1-16,-13-1 0,0 0 0,0 0 15,-13 0-15,13 1 0,-14-1 0,1 13 16,0-12-16,0-1 16,-14 0-16,14 0 0,0 1 0,0-1 15,-1 0-15,-12 0 0,13-13 16,-1 13-16,28 1 31,-1-14-15,0 0-16,0 13 15,14-13-15,-14 0 0,0 13 0,1-13 16,-1 0-16,13 0 0,-13 0 16,1 0-16,-1 0 0,0 0 15,0 0-15,1 0 0,-1 0 0,-13-13 16,13 13-16,0 0 0,1 0 0</inkml:trace>
  <inkml:trace contextRef="#ctx0" brushRef="#br0" timeOffset="81760.89">23270 10372 0,'0'-40'0,"13"40"16,-13-13-16,0 0 0,0-1 16,0 1-16,0 0 15,-26 13 17,26 13-17,-13 0 1,13 1-16,0-1 0,13-13 31,0 13-31,27-26 16,-27 13-16,0 0 0,0-13 15,1-1-15,-1 14 16,0-13-16,0 13 16,1-13-16,-1 13 15,0 0-15,0 26 16,1-12-1,-14-1-15,0 0 0,0 13 0,13-12 16,-13-1-16,0 0 0,13 14 16,-13-14-16,0 0 0,0 0 15,0 1-15,0-1 0,0 0 0,-13-13 0,13 13 16,-13 0-16,-1 1 16,1-14-16,0 0 15,0 0-15,-1 0 16,-12 0-16,13 0 0,-1 0 0,14-14 15,-13 14-15,0-13 16,0 0-16,0 0 0,13 0 0</inkml:trace>
  <inkml:trace contextRef="#ctx0" brushRef="#br0" timeOffset="81883.78">23323 10186 0,'0'-13'0,"-26"26"31</inkml:trace>
  <inkml:trace contextRef="#ctx0" brushRef="#br0" timeOffset="82741.98">23574 10160 0,'-26'13'31,"13"0"-15,13 1-1,0-1 1,-14-13-1,14 13-15,14-13 32,12-13-17,-26 0 1,27-1 0,-27 1-16,13 0 0,-13 0 15,0 0 1,-13 39 15,-1-13-15,14 0-16,-13-13 0,13 14 15,0-1-15,0 0 0,13 0 16,-13 1-16,14-14 16,12 26-1,-13-26 1,40-13-1,-40 0-15,27-27 16,-27 27-16,1-14 0,-1 14 16,0-13-16,-13-1 0,13 14 0,0-14 15,-13 14-15,14 0 0,-14-14 16,0 14-16,0 0 0,0 0 16,0 0-16,13 13 0,-13-14 15,-13 41 16,26 26-15,-13-40-16,0 0 0,13 14 16,-13-14-16,0 0 0,13 0 15,-13 1-15,14-1 0,-14 0 0,0 0 16,0 0-16,13-13 16,-13 14-16,-27-28 31,14 14-16,0-13 1,0 13-16,-1 0 16,14-13-16,-13 13 15,26-13 1,1 0 0,-1-1-16,0 14 0,0-13 15,1 13-15,12-13 0,-13 0 16,1 13-16,-1-14 0,13 1 0,-13 0 15,1 13-15,-1-13 16</inkml:trace>
  <inkml:trace contextRef="#ctx0" brushRef="#br0" timeOffset="82903.91">24051 9962 0,'-27'0'16</inkml:trace>
  <inkml:trace contextRef="#ctx0" brushRef="#br0" timeOffset="83955.86">22476 9168 0,'-66'-27'0,"53"41"15,0-14-15,0 0 0,13 13 16,-14 0-16,1 40 16,0 53-1,13-67-15,0 1 16,0 0-16,0 13 0,0-14 16,0 14-16,0-13 0,0 13 0,0 0 15,13-13-15,-13 12 16,0 1-16,0 66 0,0-66 0,0-13 15,0 13-15,13 0 0,-13-13 16,0-1-16,14 1 0,-14 0 0,13-1 16,-13 1-16,13-13 0,0-14 15,-13 13-15,27 14 0,-27-27 16,13-13-16,0 13 0,0-13 16,1 0-16,-1 0 0,26 0 15,-25-13-15,25 0 0</inkml:trace>
  <inkml:trace contextRef="#ctx0" brushRef="#br0" timeOffset="84536.06">23521 8890 0,'159'-13'0,"-132"13"16,-1 0-16,14 13 0,-14-13 0,1 13 16,-1 0-16,-13 1 0,14-1 15,-1 0-15,1 14 0,-14-1 0,0-13 16,0 14-16,1-1 0,-1 1 16,0-1-16,0 1 0,1 39 15,-1-27-15,0-12 0,0 13 16,1-1-16,12-12 0,-13 12 0,0 1 15,27 26-15,-27-39 0,1 12 16,-1-12-16,13-1 0,-12 14 16,25 13-16,-26-27 0,1 1 15,-1-1-15,0 1 0,0-14 16,-13 13-16,14-12 0,-1-1 0,-13 13 16,0-12-16,0-1 0,13 0 15,-26 13-15,13 1 0,0-14 0,-13 14 16,-1-1-16,1-13 15,0 1-15,0-1 0,-1 0 0,-12 0 16,13 0-16,0 1 0,-14-1 0,1 0 16,12-13-16,1 0 15,-27 13-15,27-13 0</inkml:trace>
  <inkml:trace contextRef="#ctx0" brushRef="#br0" timeOffset="90680.15">13481 1244 0,'-27'0'78,"14"0"-47,0 13-15,-1-13 0,14 13-1,0 0-15,-13-13 16,13 13-16,0 1 0,0-1 16,13 0-1,-13 0-15,0 1 16,14-14-16,-14 13 15,13-13 1,-13 13-16,13-13 16,0 0-1,1-13 1,-1 0 0,-13-1-1,0 1-15,0 0 16,0 0-1,0-1 1,0 1 0,13 40 15,0-1-15,0-13-16,1 1 31,-14-1-31,13-13 0,0 0 0,14 0 15,12-13 1,-26-1-16,1 14 16,-1-13-16,0 0 0,0 13 15,14-27 1,-14 27-16</inkml:trace>
  <inkml:trace contextRef="#ctx0" brushRef="#br0" timeOffset="91696.97">11840 1892 0,'27'-27'0,"-14"27"0,0-13 0,13 13 16,1-26-16,-14 26 16,0-14-16,14 14 0,-14-13 0</inkml:trace>
  <inkml:trace contextRef="#ctx0" brushRef="#br0" timeOffset="91889.64">11906 2011 0,'27'0'31,"12"-27"-16,-25 14-15,12 13 16,1-26-16,12 12 0,-12-12 0,12 13 16,-12 0-16</inkml:trace>
  <inkml:trace contextRef="#ctx0" brushRef="#br0" timeOffset="92270.16">13375 1482 0,'53'-14'15,"-40"14"-15,0-13 0,0 0 16,1 13-16,-1 0 0,0 0 16</inkml:trace>
  <inkml:trace contextRef="#ctx0" brushRef="#br0" timeOffset="92431.63">13401 1640 0,'27'-26'16,"-14"13"-16,0 13 15,0-13-15,1-1 16,-1 14-16,0 0 0,0-13 0</inkml:trace>
  <inkml:trace contextRef="#ctx0" brushRef="#br0" timeOffset="100616.05">13970 11377 0,'-13'13'32,"13"14"-17,0-14-15,0 27 16,0-27-16,0 0 0,13 0 16,-13 1-16,13-14 0,-13 13 15,13 0-15,1-13 16,12-13-1,-13 0-15,1-1 16,-14 1-16,13 0 0,-13 0 16,13-1-16,-13-12 0,0 13 0,0 0 15,0-1-15,-13 1 0,13 0 16,-13 13-16,13-13 0,-14 13 0,1-14 16,0 14-16,0 0 0,-1 0 15,1-13-15,0 13 16,53 13 31,-27-13-47,0 0 0,0 14 0,1-14 15,12 13-15,-13-13 0,1 13 16,-1 0-16,-13 1 0,13-14 16,0 13-16,-13 0 0,0 0 0,13 0 15,-13 1-15,0-1 0,0 0 16,0 0-16,0 1 0,0-1 15,14-53 17,-14 27-17,13-14-15,0 1 0,0 0 16,-13 12-16,14-12 0,-1 13 16,-13-1-16,13 1 0,0 0 0,-13 0 15,14-1-15,-1 14 0,0 0 31,-13 14-31,0-1 0</inkml:trace>
  <inkml:trace contextRef="#ctx0" brushRef="#br0" timeOffset="101042.57">13983 12158 0,'0'-14'16,"13"41"0,1-27-1,-14 13-15,0 0 0,13 1 0,0 25 16,-13-26-16,0 1 15,0 12-15,13-13 0,-13 1 0,0-1 16,14 0-16,-14 0 0,0 0 16,13 1-16,0-14 15</inkml:trace>
  <inkml:trace contextRef="#ctx0" brushRef="#br0" timeOffset="101269.73">14195 12118 0,'0'-66'31,"0"92"0,0-13-15,13 14-16,-13-14 0,13 14 16,1 12-16,-1-25 0,-13 12 15,13-13-15,-13 0 16,13 1-16,-13-1 0,0 0 0,14-13 15,-14 13-15,0 1 0,0-1 16,0 0 0</inkml:trace>
  <inkml:trace contextRef="#ctx0" brushRef="#br0" timeOffset="101457.6">14102 12356 0,'-13'0'0,"26"-13"0,1 0 16,-1 13-16,0-14 16,0 14-16,0-13 15,1 13-15,-1-13 0</inkml:trace>
  <inkml:trace contextRef="#ctx0" brushRef="#br0" timeOffset="101637.6">14340 12224 0,'14'13'0,"-14"13"16,13-12-16,-13-1 0,13 13 15,-13-12-15,13-1 16,-13 0-16,0 0 0,14-13 15,-14 13-15,0 1 0,13-1 16,0 0-16</inkml:trace>
  <inkml:trace contextRef="#ctx0" brushRef="#br0" timeOffset="103764.47">13838 9816 0,'26'-26'15,"-13"26"-15,1 0 16,-1-14-16,0 14 0</inkml:trace>
  <inkml:trace contextRef="#ctx0" brushRef="#br0" timeOffset="103917.1">13851 9882 0,'26'-13'15,"-12"0"-15,-1 13 0,0 0 0,0-14 16</inkml:trace>
  <inkml:trace contextRef="#ctx0" brushRef="#br0" timeOffset="104745.71">14512 12568 0,'27'-14'31,"-14"14"-15,-13-13-16,13 13 0,-13-13 15</inkml:trace>
  <inkml:trace contextRef="#ctx0" brushRef="#br0" timeOffset="104884.83">14539 12581 0,'13'0'16</inkml:trace>
  <inkml:trace contextRef="#ctx0" brushRef="#br0" timeOffset="110572.77">22199 966 0,'0'26'0,"0"1"16,0-14-16,0 0 0,0 14 0,0-1 15,0 0-15,13 54 16,-13-67-16,0 40 16,0-40-16,0 0 0,0 14 15,0-14-15,0 0 0,0 1 16,0-1-16,0 0 0,0 0 16,13 1-16</inkml:trace>
  <inkml:trace contextRef="#ctx0" brushRef="#br0" timeOffset="110889.3">22767 1005 0,'-13'40'16,"0"0"-16,0-14 16,13-13-16,-40 93 15,27-79 1,-14 12-1,27-25-15,-13-1 0,13 0 0,-13 0 16,0-13-16</inkml:trace>
  <inkml:trace contextRef="#ctx0" brushRef="#br0" timeOffset="111076.26">22542 1138 0,'0'-14'0,"14"14"16,-1 14-16,0-14 15</inkml:trace>
  <inkml:trace contextRef="#ctx0" brushRef="#br0" timeOffset="111212.56">22834 1217 0,'13'13'15,"0"-13"1</inkml:trace>
  <inkml:trace contextRef="#ctx0" brushRef="#br0" timeOffset="111984.72">22490 2103 0,'0'-13'16,"-27"26"-16,14-13 0,-14 0 15,14 14-15,-13-1 16,13-13-16,-14 13 16,14 0-16,0-13 0,13 14 15,13-1 1,0-13 0,0 0-16,1 0 0,-1 0 0,13 0 15,-13 0-15,1 13 0,-1-13 16,0 0-16,0 0 0,1 0 0,-1 0 15,-13 13-15,13-13 0,-13 13 16,-13 1 0,0-1-16,-1 0 0,-25 14 15,25-14 1,-12-13-16,13 13 0,0-13 0,-14 13 16,14 1-16,0-14 0,-1 0 0,14 13 15,-26-13-15</inkml:trace>
  <inkml:trace contextRef="#ctx0" brushRef="#br0" timeOffset="112219.96">22807 1998 0,'13'0'0,"-26"26"16,13-13-16,0 1 0,0-1 16,-13 0-16,13 0 0,-13 0 0,-1 40 15,1-39 1,13-1-16,-13 0 0,13 0 0,0 0 16,-13 1-16,13-1 0,-14 0 15,1 0 1</inkml:trace>
  <inkml:trace contextRef="#ctx0" brushRef="#br0" timeOffset="112362.89">22490 2196 0,'-14'-13'0</inkml:trace>
  <inkml:trace contextRef="#ctx0" brushRef="#br0" timeOffset="112512.87">22886 2156 0,'0'-13'0,"14"13"31</inkml:trace>
  <inkml:trace contextRef="#ctx0" brushRef="#br0" timeOffset="113136.79">22357 3016 0,'27'27'0,"-27"-14"0,0 0 15,0 0-15,0 1 0,0 12 0,13-13 16,-13 1-16,0-1 0,0 0 15,0 0-15,0 0 0,0 1 0,0-1 16,0 0-16,0 0 0</inkml:trace>
  <inkml:trace contextRef="#ctx0" brushRef="#br0" timeOffset="113473.12">22569 3069 0,'-13'-13'16,"-1"39"0,14-12-16,0-1 15,0 0-15,0 0 0,0 1 0,14 12 16,-1-13 0,0 0-16,0-13 0,1 14 15,-1-14-15,0 0 0,0 0 16,14-14-1,-14 1-15,-13 0 16,0-27 0,0 27-16,-13 0 15,13 0-15,-13 13 0,13-14 16,-27 1-16,14 13 16,0 0-16,-1 13 15,1-13-15,0 0 0,0 14 16</inkml:trace>
  <inkml:trace contextRef="#ctx0" brushRef="#br0" timeOffset="113688.36">22939 2897 0,'14'66'0,"-14"-52"0,0-1 16,0 0-16,0 0 0,-14 0 16,14 14-16,0-14 0,-13 0 0,13 1 15,0-1-15,-13 0 0,13 0 16,0 1-16,-13-1 0</inkml:trace>
  <inkml:trace contextRef="#ctx0" brushRef="#br0" timeOffset="113847.72">22781 3069 0,'0'-13'0,"0"0"16,13 13-16,0-14 0</inkml:trace>
  <inkml:trace contextRef="#ctx0" brushRef="#br0" timeOffset="113988.59">23151 3069 0,'13'-13'0,"-26"26"0,26-39 31</inkml:trace>
  <inkml:trace contextRef="#ctx0" brushRef="#br0" timeOffset="115888.88">22000 1931 0,'40'-13'16,"-14"0"0,14 0-16,0 13 0,26-13 15,0-1-15,0-12 0,0 13 0,0-1 16,0 1-16,1 0 0,-1 0 16,0-1-16,66-12 0,-66 13 15,-26 0-15,0-1 0,-1 14 16,1-13-16,-13 13 0,-14-13 0,13 13 15,1 0-15,-14 0 16,-13-13-16,13 13 0,0 0 0,1 0 16,-1 13-16,0 0 15,-13 0-15,40 53 16,-27-39-16,-13 13 16,13-14-16,0 14 0,1-14 15,-1 14-15,0-14 0,0 14 0,1-13 16,-1-1-16,0 0 0,-13 14 15,13-27-15,1 40 0,-14-26 16,13-1-16,-13 1 0,0-14 16,13 0-16,-13 27 0,0-27 15,0 0-15,0 0 0,-13 1 16,13-1-16,-13 0 0,-1 14 16,-12-14-16,-1 0 0,1 0 15,-1 1-15,-12-1 0,-1 0 16,0 0-16,1-13 0,-1 13 0,-13 1 15,0-14-15,14 13 0,-14-13 0,0 13 16,-13-13-16,-1 13 16,1 1-16,-13-14 0,13 13 0,0-13 15,-1 13-15,-12 0 0,26-13 0,-13 14 16,13-14-16,0 0 0,0 13 16,14-13-16,-14 0 0,13 13 0,14-13 15,-1 0-15,1 0 0,-1 0 0,14 0 16,-14 0-16,14 0 0,0 0 15,0 0-15,0 0 0,-1 0 16,1-13-16,0 0 16,0-1-16,13 1 0,0 0 15,-14 0-15,14-14 0,0 14 0,0-14 0,-13 1 16,13-14-16,-13 1 0,13 12 16,-13-26-16,13 14 0,-14-1 15,14 0-15,-13 0 0,13 1 0,0 12 16,-13 14-16,13-13 0,0 12 15,0 1-15,-13 0 0,13 0 0,0 0 16,0-1-16,0 1 0,-13 0 16,13 0-16,0-1 15,0 1 1,0 0 0,26 13-1,-13 0 1,14-13-16,-1 13 0,159-40 31,-66 14-31,-66 12 0,80-12 16,-80 26-16,-14-13 15,14-1-15,27 1 16,-54 13-16,-13 0 0,0 0 0,1 0 16,-1 0-16,0 0 15,-13 13 16,0 1-15,13-14 0</inkml:trace>
  <inkml:trace contextRef="#ctx0" brushRef="#br0" timeOffset="117001.94">23998 2355 0,'13'-13'31,"-13"-1"-15,13 1-16,-13 0 0,0 0 0,0-27 16,-13 13-16,13-12 15,0-14-15,0 13 0,-13-26 0,13 13 0,-14-13 16,14 13-16,-13-40 16,13 54-16,0 12 0,-13 1 15,13 13-15,0-14 0,0 14 0,0 0 16,0 0-16,13 39 31,0 0-31,14 41 16,13 12-16,-27-39 0,53 79 15,-40-93 1,-12 14-16,12-14 0,1 14 0,-14-14 16,0-12-16,0-1 15,1-13-15,-14 13 0,13 0 0,-13 1 16,0-1-1,-13-13-15,-27 0 16,13 13 0,1-13-16,13 0 0,-27 0 0,14 0 0,-14 0 15,13 0-15,-12 0 0,12 0 16,-12 0-16,12 0 0,1 0 0,-1 0 16,14 0-16,0 0 0,-1 0 15,1 0-15,0 0 0,13-13 16,26-14-1,14-26-15,79-66 16,-66 80 0,-13-14-16,0 13 0,12-13 0,-12 13 15,0 1-15,0-1 0,-14 0 16,0 14-16,1 13 0,-14 0 0,0-1 16,-13 1-16,14 0 0,-1 13 15,-13-13-15,0 39 16,-13 1-16,-1 12 15,-12 1-15,13 13 0,-27 53 16,14-53-16,-1 13 16,1-13-16,-1 0 0,1-1 0,-1-12 0,-12 53 15,12-54-15,14 1 16,0 0-16,-14-14 0,14 1 16,0-1-16,13-13 0,-14 14 15,1-14-15,26-13 31,1 0-31,-1-13 0,0 13 16,0-13-16</inkml:trace>
  <inkml:trace contextRef="#ctx0" brushRef="#br0" timeOffset="117812.24">24487 2368 0,'0'-53'16,"0"40"-16,13-225 15,1 185-15,-14 0 0,0-13 16,0 13-16,-14-40 15,14 54-15,0 12 0,0 1 16,0-1-16,0 14 0,0 0 0,0 0 16,0 39 15,0 0-31,27 93 16,-27-79-16,13 0 15,0 0-15,1-1 0,-1 1 0,0-14 0,0 14 16,14-13-16,-14-1 15,-13-13-15,26 14 0,-12-14 0,-14 0 16,0 0-16,13 1 0,-13-1 16,0 0-1,-13-13-15,-1 0 0,1 0 16,0 0-16,0 0 0,-14 0 0,1 0 16,-1 0-16,1 0 0,-1 0 15,1-13-15,0 13 0,12-13 0,-12 13 16,13-14-16,-1 1 15,1 0-15,13 0 0,0-1 0,0 1 16,13-26-16,1 12 0,12-26 16,1 13-16,-1-12 0,0 12 0,1-13 15,39-26-15,-40 52 0,1 1 16,-1-1-16,-12 14 0,-1 0 16,0 0-16,0 13 0,-13-14 15,14 14-15,-14 27 16,0-14-16,0 13 0,-14 14 15,1 13-15,0 0 0,0 0 0,-14 0 16,14 0-16,-27 53 0,27-67 16,0 1-16,-14-14 0,14 14 15,0-14-15,0 14 0,-1 0 16,1-27-16,13 14 0,0-14 16,-13 0-16</inkml:trace>
  <inkml:trace contextRef="#ctx0" brushRef="#br0" timeOffset="118836.76">24884 2183 0,'13'-13'16,"1"-27"0,-14 27-16,0-1 15,0-12-15,0-27 0,-14 13 16,14 1-16,0-14 0,0 13 0,0-13 16,14 13-16,-14 1 0,0-1 0,0 14 15,0 12-15,0 1 0,0 0 16,13-13-16,-13 12 0,0 1 15,0 53 1,13-27 0,-13 27-16,26 39 0,-26-39 15,14-1-15,-1 1 0,27 26 16,-27-39-16,0 26 16,0-40-16,0 13 0,1-12 0,-14-1 15,0 0-15,0 0 0,0 0 16,0 1-16,0-1 15,-27-13 1,1 0-16,13 0 0,-1 0 16,1 0-16,-13-13 0,12-1 0,-12-12 0,0 0 15,-1-1-15,14 1 0,-14-41 16,14 28-16,13-1 16,13-39-16,1 39 0,-1 14 0,13-14 15,-12 13-15,12 1 16,0 13-16,1 0 0,-1-1 0,-12 14 0,-1-13 15,26 13-15,-25 13 16,-1-13-16,0 27 0,0-14 16,-13 13-16,0 1 0,0 13 0,-13 12 15,-13 1-15,12 0 0,-12 0 16,-40 40-16,39-40 0,-12-14 16,12 14-16,1-13 0,-1-14 15,-26 41-15,40-41 0</inkml:trace>
  <inkml:trace contextRef="#ctx0" brushRef="#br0" timeOffset="146684.65">17251 11337 0,'-13'14'63,"-27"12"-47,27-13-1,-1 1-15,-12-1 0,13 0 16,-80 66-1,53-39 1,27-27-16,0 1 0,-13 12 16,26-13-1,0 0 1,13-13-16,13 14 16,-13-14-16,1 0 15,-1 0-15,13 13 0,1-13 16,-14 0-16,0 0 0,53 0 31,-39 0-15,-14 0-16,0 0 15,1 0 1</inkml:trace>
  <inkml:trace contextRef="#ctx0" brushRef="#br0" timeOffset="147198.73">17462 11351 0,'14'13'16,"-1"13"-1,-13-12-15,0-1 16,0 13-16,0-13 16,0 14-16,0-14 0,0 0 15,0 54 1,-13-54-16,13 0 0,0 13 16,0-12-1</inkml:trace>
  <inkml:trace contextRef="#ctx0" brushRef="#br0" timeOffset="147548.14">17621 11483 0,'0'26'31,"0"-12"-31,13-1 16,1 0-16,25 0 16,-12-13-1,-14 0-15,0 0 0,1-13 0,-1 13 16,26-13 0,-39 0-16,0-1 0,14 14 0,-14-26 15,-14-1 1,1 1-1,0 13-15,13 0 16,-53-1 0,40 28-1,0-14-15,-1 13 0,1-13 16</inkml:trace>
  <inkml:trace contextRef="#ctx0" brushRef="#br0" timeOffset="147678.54">17952 11364 0,'-13'-13'0</inkml:trace>
  <inkml:trace contextRef="#ctx0" brushRef="#br0" timeOffset="148136.84">18177 11271 0,'13'27'31,"0"-14"-31,1 0 0,-1 0 16,0 1-16,-13-1 0,13 0 15,-13 0-15,0 1 0,0-1 0,0 0 16,0 0-16,-13 14 16,13-14-1,-13-13-15,0 13 16,13-26-1,13-14 1,0-12 0,0 26-16,0-27 15,-13 27-15,0-1 16,0-25 0,-13 25-16,13 1 0,-13 13 0,13-13 15,-13 13-15,0-13 0,-1 13 16,14-13-16,-26 26 15,13-13-15,13 26 16</inkml:trace>
  <inkml:trace contextRef="#ctx0" brushRef="#br0" timeOffset="149356.93">17396 12211 0,'-26'0'16,"39"13"0,27 0-16,-27-13 15,0 13-15,0-13 0,14 0 16,26 13 0,-40-13-16,0 0 0,1 14 0,25-1 15,-26-13 1,-13 13-16,14-13 0,-14 13 0,0 1 15,0-1-15,0 0 0,-14 0 0,1 0 16,13 1-16,-26 12 16,13-13-16,-1 14 0,1-14 15,0 0-15,13 1 0,-40 25 16,27-26 0,13 1-16,-13-14 0,-1 13 15</inkml:trace>
  <inkml:trace contextRef="#ctx0" brushRef="#br0" timeOffset="149624.41">17859 12197 0,'0'-13'16,"0"53"-16,0-27 15,0 0-15,0 80 32,0-54-32,0-25 0,0-1 0,0 0 15,0 27 1,0-27-16,0 0 15</inkml:trace>
  <inkml:trace contextRef="#ctx0" brushRef="#br0" timeOffset="149957.56">18045 12224 0,'-14'0'16,"14"13"-16,-13 13 16,13-12-1,0-1-15,0 0 0,27 14 16,-27-14-16,13-13 16,0 13-16,0-13 0,1 0 0,12 0 15,-13-13-15,0 13 0,1-13 16,-1-1-1,-13 1-15,0 0 0,0 0 16,-13-1-16,13 1 0,-14 0 0,1 0 16,13 0-1,-13-1-15,0 1 0,0 13 0,-14 0 16,14 0 0,13 13-1,-13-13-15</inkml:trace>
  <inkml:trace contextRef="#ctx0" brushRef="#br0" timeOffset="150072.5">18190 12211 0,'13'0'0</inkml:trace>
  <inkml:trace contextRef="#ctx0" brushRef="#br0" timeOffset="150507.79">18389 12065 0,'26'26'31,"27"27"-15,-40-39-16,-13-1 0,13 0 0,1 0 15,-1 14-15,-13 12 16,0-25 0,-13-14-1,-1-14 1,14-25-1,14 39-15,-14-27 16,13 1-16,-13 13 0,13-27 16,-13 27-1,0-1-15,0 1 0,0 0 0,0 0 16,-13 13-16,13-13 0,-13-1 0,-1 14 16,1-13-16,0 13 0,0-13 15,-27 13-15,27 0 16,0 0-16,-1 0 0,1 13 0,0-13 15,13 13-15,0 1 16</inkml:trace>
  <inkml:trace contextRef="#ctx0" brushRef="#br0" timeOffset="151033.64">18878 12039 0,'-26'39'16,"26"-26"-16,-14 40 15,14-39 1,0-1-16,0 0 0,0 0 0,0 1 16,0-1-16,14 0 0,-14 0 15,13-13-15,0 13 0,0-13 16,0 0-16,1 0 15,-1 0-15,27-13 16,-40 0-16,13 0 0,0 13 0,-13-13 16,13-14-1,-13 14-15</inkml:trace>
  <inkml:trace contextRef="#ctx0" brushRef="#br0" timeOffset="151479.37">18534 11232 0,'-13'92'0,"0"-39"16,13-40-1,0 14-15,0-14 0,0 0 0,0 0 16,13 1-16,-13-1 0,13-13 16,-13 13-16,27-13 0,-14 13 15,0-26-15,0 13 0,0 0 0,14 0 16,-14-13-16,0 13 0,14-13 15</inkml:trace>
  <inkml:trace contextRef="#ctx0" brushRef="#br0" timeOffset="152154.54">18852 10980 0,'79'-13'0,"-66"0"0,14 13 0,-1 0 16,1 0-16,-14 0 0,13 0 15,14 0-15,-27 0 16,0 13-16,14-13 0,-14 13 0,0 0 16,1 1-16,-14-1 0,13 0 0,0 0 15,-13 14-15,13-1 0,-13 14 16,13-14-16,-13 14 0,14 0 0,-1-1 15,0 1-15,0 0 0,1 13 0,-14-14 16,26 14-16,-13 0 0,1 0 16,12-13-16,-13 0 0,0-1 15,27 41-15,-27-54 0,1 14 16,-1-1-16,13-12 0,-26-1 16,13 1-16,-13-1 0,0 14 15,-13 13-15,-66 66 16,52-106-1,-52 53-15,39-52 0,-13 12 16,1-13-16,12 0 0,-13 1 0,13-14 16,-13 0-16,0-14 0,-13 1 15</inkml:trace>
  <inkml:trace contextRef="#ctx0" brushRef="#br0" timeOffset="152745.51">16867 11152 0,'-13'0'0,"-53"53"0,39-40 15,14 1-15,0-1 0,0 0 0,-1 0 16,1 14-16,13-14 0,-13 13 0,13 1 16,0-1-16,0 1 0,0-1 15,0 14-15,0 13 0,13-13 0,-13-1 16,13 14-16,1 0 0,-14 0 0,13 13 15,0-13-15,0 13 0,-13-13 16,14 13-16,-1 67 0,-13-67 16,13 0-16,-13 13 0,13-13 0,1-13 15,-1 13-15,0 1 0,0-15 16,0 1-16,1-13 0,-1 0 0,13-14 16,14 40-16,-27-52 15,0 12-15,1-13 0,12 1 16,-13-14-16,14 13 0,-14-13 15,0-13-15,14 13 0,-1-14 0</inkml:trace>
  <inkml:trace contextRef="#ctx0" brushRef="#br0" timeOffset="153847.79">19844 11853 0,'39'0'15,"-25"0"-15,-1 0 0,0 0 0,0 0 16,1 0-16,-1 0 0,0 0 0,0 0 16,14 0-1,-14 0 1,0 0-16</inkml:trace>
  <inkml:trace contextRef="#ctx0" brushRef="#br0" timeOffset="154060.56">20042 11748 0,'0'-14'0,"13"14"15,40 27 1,-13 12 15,-27-25-31,-13-1 0,13 27 16,-13-27-16,0 0 0,-13 0 15,13 0-15,-13 1 0,13-1 0,-13 0 16,0 0-16,-1-13 0,14 14 16,-13-14-16</inkml:trace>
  <inkml:trace contextRef="#ctx0" brushRef="#br0" timeOffset="156433.45">19645 9313 0,'14'-13'15,"-1"0"-15,13 13 0,1 0 0,12-13 16,14-1-16,-13 14 16,13-13-16,39-13 0,-39 26 15,0-13-15,0-1 0,-13 14 0,0-13 16,-1 13-16,-12-13 0,-1 13 16</inkml:trace>
  <inkml:trace contextRef="#ctx0" brushRef="#br0" timeOffset="156628.99">19513 9353 0,'40'0'15,"-27"0"-15,40-13 0,0 13 16,-14-13-16,1 13 0,13-14 0,-13 1 15,13 13-15,79-26 16,-92 26-16</inkml:trace>
</inkml:ink>
</file>

<file path=ppt/ink/ink18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17:51.322"/>
    </inkml:context>
    <inkml:brush xml:id="br0">
      <inkml:brushProperty name="width" value="0.05292" units="cm"/>
      <inkml:brushProperty name="height" value="0.05292" units="cm"/>
      <inkml:brushProperty name="color" value="#0070C0"/>
    </inkml:brush>
  </inkml:definitions>
  <inkml:trace contextRef="#ctx0" brushRef="#br0">11800 1085 0,'-66'39'0,"53"-25"16,13-1-16,-13 0 0,0 0 15,13 1-15,-14-1 0,14 0 0,0 0 0,0 1 16,-13-1-16,13 13 15,13-13-15,-13 1 16,0-1-16,14-13 0,-1 13 16,0-26-1,14 0-15,-27-1 16,13 1-16,-13 0 0,13 0 0,-13 0 16,0-14-16,0 14 15,13 0-15,-13-1 0,0 1 16,0 0-1,13 39 1,-13-12 0,0-1-16,14 13 15,-14-12-15,13-1 0,-13 0 16,26 0 0,-26 0-16,14-13 0,-1 14 15,0-14-15</inkml:trace>
  <inkml:trace contextRef="#ctx0" brushRef="#br0" timeOffset="398.81">11959 1098 0,'27'13'15,"-27"0"-15,13 1 0,13 25 16,-26-25-16,0-1 16,14 13-16,-14-12 0,0-1 0,0 0 0,13 0 15,-13 0-15,0 1 0,0-1 16,0 0-1,0 0 1,0-39 0,0 13-16,13-27 15,-13 27-15,0-27 16,13 27-16,-13 0 0,0-1 16,13 14-16,-13-13 15,14 13-15,-14-13 16,13 13-1</inkml:trace>
  <inkml:trace contextRef="#ctx0" brushRef="#br0" timeOffset="730.58">12224 1072 0,'26'26'16,"-26"-13"-1,27 40 1,-27-40-16,0 1 0,13 12 16,-13 27-1,13-27-15,-13-12 0,0-1 0,0 13 16,0-12 0,0-41 15,0 14-31,0-14 15,0 14-15,0 0 0,13 0 16,-13 0-16,0-1 0,0-12 0,14 13 16,-14-1-16,0 1 0,13 0 15,0 13-15,-13-13 0,13 13 0,0-14 16,1 14-16,-14-13 0,13 13 16,0 0-16,0 0 0</inkml:trace>
  <inkml:trace contextRef="#ctx0" brushRef="#br0" timeOffset="1144.79">12502 1310 0,'26'-14'0,"-26"1"0,26-13 15,-12 13 1,-1-27-16,-13 27 16,13-1-16,-13 1 0,0 0 15,0 0 1,-26 26 15,26 13-15,-14-12-16,14-1 0,0 0 15,0 0-15,14 1 0,-14-1 16,13 0-16,0 0 16,14-13-1,-14 0-15,13-13 16,-12 13-16,-1 0 15</inkml:trace>
  <inkml:trace contextRef="#ctx0" brushRef="#br0" timeOffset="1448.14">12872 1111 0,'-26'-13'15,"-1"13"-15,27 13 0,-13 0 16,13 14 0,13-1-16,0-26 15,-13 14-15,14-1 0,-1 13 16,-13-12-16,13-1 16,-13 0-16,0 0 15,-13 0-15,0 1 16,-14-1-1,14-13-15,-14 13 16,14-13 0,0 0-1,13-13-15</inkml:trace>
  <inkml:trace contextRef="#ctx0" brushRef="#br0" timeOffset="1692.08">12978 939 0,'13'-13'16,"0"26"-1,-13 0-15,14-13 0,-14 14 0,26 39 16,-26-40-16,0 0 16,13 0-16,-13 14 0,13-14 15,-13 0-15,0 14 0,0-14 16,14 0-16,-14 0 0,0 1 0,13-1 15,-13 0-15,0 0 16,13-13-16,-13 14 16</inkml:trace>
  <inkml:trace contextRef="#ctx0" brushRef="#br0" timeOffset="1886.94">13031 1177 0,'-13'0'15,"26"-13"1,0 13-16,0-13 16,0 13-16,40-27 15,-39 27-15,-1-13 0,0 13 16,13 0-16</inkml:trace>
  <inkml:trace contextRef="#ctx0" brushRef="#br0" timeOffset="2614.63">13375 1257 0,'13'-40'16,"0"14"-1,-13 12-15,0 1 16,0 0-1,-13 26 1,-14 0 0,27 1-1,0-1-15,0 0 16,14 0 0,-1-13-16,0 0 0,27-13 15,-14 13-15,-12-13 16,-1 13-16,0-13 0,0 13 15,0-14-15,1 14 0,-1-13 16,0 0-16,0 0 16,-13 39 15,-13-13-15,13 1-1,0-1-15,13 0 16,14-26-1,-14 0 1,0-1-16,0 1 0,-13 0 16,0 0-16,14-14 0,-14 14 15,0-13-15,0-1 0,13 14 16,-13-14-16,0 14 0,0 0 0,0 0 16,0-1-16,0 1 0,0 0 15,-13 39 1,13 27-1,0-39-15,0-1 16,0 0-16,13 14 0,-13-14 16,13 0-16,-13 0 0,13 0 15,1 1-15,-1-1 0,-13 0 0,13 0 0,0-13 16,1 14-16,-1-14 0,0 0 16,0 0-16,0 0 15</inkml:trace>
  <inkml:trace contextRef="#ctx0" brushRef="#br0" timeOffset="3491.1">14896 1005 0,'79'-13'15,"-52"13"1,65-13 0,-52 0-16,13 13 0,-13-14 0,13 14 15,0-13-15,-14 13 0,14 0 0,0-13 16,-13 13-16,0 0 0,-14-13 16,40 13-1,-53 0-15,1-13 0,-1 13 0,13 0 16,-13 0-16,1 0 15,-1 0-15,0 0 16,0 0 0</inkml:trace>
  <inkml:trace contextRef="#ctx0" brushRef="#br0" timeOffset="3845.98">15531 794 0,'-13'0'0,"26"13"16,0-13-16,1 0 15,-1 13-15,0-13 0,13 0 16,-12 13-16,-1-13 0,53 14 16,-26-1-1,-27 0-15,0-13 16,0 0-16,1 13 0,-1-13 0,0 14 15,0-1-15,-13 0 16,0 0-16,-13 0 16,13 1-16,-13-1 0,0 13 0,-14-12 15,14 12-15,-14 1 0,1-1 16,0-13-16,-1 14 0,1-1 0</inkml:trace>
  <inkml:trace contextRef="#ctx0" brushRef="#br0" timeOffset="4893.46">17370 489 0,'0'40'16,"0"-27"-1,0 1-15,13 12 0,-13-13 16,0 14-16,0-1 0,0-13 0,0 14 16,0-1-16,0-12 0,0 12 0,0-13 15,0 1-15,0-1 0,-13 0 16,13 0-16,0 0 0,0 1 0,0-1 16,0 0-16,0 0 15</inkml:trace>
  <inkml:trace contextRef="#ctx0" brushRef="#br0" timeOffset="5163.64">17621 516 0,'0'-13'0,"13"26"32,1 27-32,-14-27 15,0 0-15,13 53 16,-13-53-16,0 1 0,0 12 16,0-13-16,0 1 0,0-1 0,0 0 15,0 0-15,0 1 16,0-1-16,0 0 0,0 0 15,0 0 1</inkml:trace>
  <inkml:trace contextRef="#ctx0" brushRef="#br0" timeOffset="5456.94">17423 741 0,'13'-27'0,"13"27"0,-12-13 15,-1 13-15,0 0 0,14 0 0,-14-13 16,13 13-16,1 0 0,-14 0 16,0 0-16,0 0 0,1 0 15,-1 0-15,0 0 0,0 0 16</inkml:trace>
  <inkml:trace contextRef="#ctx0" brushRef="#br0" timeOffset="5874.21">17846 661 0,'-40'27'15,"40"-1"-15,-13 1 16,13-14-16,0 0 0,0 1 16,40 25-1,-14-26 1,1-13-16,-1 0 16,14 0-1,-27-13 1,0 0-16,-13 0 15,0 0-15,0-1 0,-13-12 16,13 13 0,-26-14-16,13 27 15,-1-13-15,1 13 16,-27 0 0,27 0-16,0 0 15</inkml:trace>
  <inkml:trace contextRef="#ctx0" brushRef="#br0" timeOffset="6211.4">18428 609 0,'27'13'31,"-1"-13"-15,-13 0-16,1-13 16,25 13-1,-25 0-15,-1 0 0,0 0 16</inkml:trace>
  <inkml:trace contextRef="#ctx0" brushRef="#br0" timeOffset="6411.91">18481 754 0,'27'-13'32,"-1"13"-17,-13 0-15,1 0 0,-1-13 16,0 13-16,0 0 0,14 0 15,-1 0 1</inkml:trace>
  <inkml:trace contextRef="#ctx0" brushRef="#br0" timeOffset="7136.86">17674 1349 0,'0'-13'0,"0"40"16,13-14-16,-13 0 0,0 27 16,0-27-16,0 13 0,0 1 15,0-1-15,0 41 16,-13-41-16,13-13 0,0 27 16,0-27-16,0 0 15,0 14-15,0-14 0,0 0 16</inkml:trace>
  <inkml:trace contextRef="#ctx0" brushRef="#br0" timeOffset="7353.14">17886 1349 0,'0'-13'0,"13"40"31,-13 12-16,0-12-15,0-14 16,0 53 0,0-53-16,13 14 0,-13-14 0,0 0 15,0 14-15,0-14 0,0 0 0,0 27 32,-13-27-32</inkml:trace>
  <inkml:trace contextRef="#ctx0" brushRef="#br0" timeOffset="7536.95">17687 1667 0,'-13'-27'0,"26"27"0,27-26 15,-27 13-15,40 0 16,-26 13-16,-14 0 15,13-14-15,14 14 16</inkml:trace>
  <inkml:trace contextRef="#ctx0" brushRef="#br0" timeOffset="7916.9">18190 1508 0,'-40'0'0,"27"0"0,0 13 15,0 1-15,0-14 0,-1 26 16,1-13-16,0 14 16,26-14 15,0-13-16,1 0-15,-1-13 0,0 13 16,-13-13-16,13 13 16,0 0-1,1 13 1,-14 0-16,13-13 16,-13 13-16,13 14 15,0-14-15,1 0 16,-1 0-16,13-13 15,-13 0 1,1 0-16</inkml:trace>
  <inkml:trace contextRef="#ctx0" brushRef="#br0" timeOffset="8112.92">18534 1468 0,'27'-26'0,"-1"26"16,-13 0 0,0 0-16</inkml:trace>
  <inkml:trace contextRef="#ctx0" brushRef="#br0" timeOffset="8300.83">18534 1601 0,'27'0'0,"-1"-13"15,-13 13-15,14-14 16,-14 14-16,0 0 15,-13-13 1,13 13-16</inkml:trace>
  <inkml:trace contextRef="#ctx0" brushRef="#br0" timeOffset="8825.35">19262 582 0,'0'40'0,"0"-27"0,0 13 15,0-12-15,0-1 0,0 0 16,0 14 0,0-14-1,0 0-15</inkml:trace>
  <inkml:trace contextRef="#ctx0" brushRef="#br0" timeOffset="8993.79">19182 423 0,'-13'0'0,"26"14"31</inkml:trace>
  <inkml:trace contextRef="#ctx0" brushRef="#br0" timeOffset="9328.44">19473 556 0,'-26'26'31,"26"-13"-31,53 40 0,-53-40 0,13-13 16,0 14-16,0-1 0,1 0 16,-14 0-1,0 1 1,-14-1-16,-12 0 15,13-13-15,-14 13 16,14-13-16,0 0 16,0 0-1</inkml:trace>
  <inkml:trace contextRef="#ctx0" brushRef="#br0" timeOffset="9614.79">20069 556 0,'13'26'0,"0"-26"0,-13 27 16,0-14-16,13 13 15,-13-13-15,0 1 16,0-1-16,0 0 16,0 0-1</inkml:trace>
  <inkml:trace contextRef="#ctx0" brushRef="#br0" timeOffset="11573.84">19262 331 0,'0'26'31,"13"14"-16,-13-14-15,0 1 0,0-14 16,0 13-16,13 54 16,-13-54-16,0 1 0,0-1 15,0-13-15,0 14 0,0-14 0,0 14 16,0-1-16,0-13 16,0 1-16,0 12 15,0-13 1,0-39 15,0-1-15,13 14-1,-13 0-15,0 0 0,0-1 0,14 14 0,-1-39 16,-13 25 0,13 1-16,0 0 15,1 0-15,-1 13 0,0-13 16,0 13-16,0 0 15,1 13 1,-14 0-16,0 0 0,13 0 16,-13 1-16,0-1 0,13 13 15,-13-12-15,0-1 16,0 0-16,13 0 0,-13 1 16,0-1-16,0 0 15,14-13-15,-14 26 16,13-26-1,-13 14 1,13-28 0,0 14-16,0-13 15,1 0-15,25-13 16,-25-1-16,-14 14 16,13 0-16,0-1 0,0 1 0,1-40 15,-1 40 1,-13 0-16,0 0 0,13-1 15,-13 1-15,-26 26 47,26 1-47,-14 12 16,14-13-16,0 0 0,0 14 16,14-14-16,-14 14 15,13-27-15,-13 13 16,13-13-16,0 13 0,0-13 15,27 0-15,-27 0 16,14 0-16,-14 0 0,40-26 16,-27 12-16,-12 14 15,-1-13-15</inkml:trace>
  <inkml:trace contextRef="#ctx0" brushRef="#br0" timeOffset="11807.61">20042 357 0</inkml:trace>
  <inkml:trace contextRef="#ctx0" brushRef="#br0" timeOffset="12154.02">20413 503 0,'-40'0'16,"27"13"-1,-1-13 1,1 13-16,0 0 0,26 1 15,0-1 1,-13 0-16,14-13 16,25 27-16,-25-14 15,-1 0 1,-13 0 0,0 14-16,-13-27 15,-1 13-15,1-13 0,0 13 0,0 0 16,-1-13-16,-12 14 0,13-14 15,0 0-15</inkml:trace>
  <inkml:trace contextRef="#ctx0" brushRef="#br0" timeOffset="12647.89">21220 503 0,'-67'26'16,"54"-13"0,0 1-16,0-1 0,0 13 15,13-12-15,13-1 16,0 0-1,0-13-15,0 0 16,1 0-16,-1-13 0,0 13 0,27-13 16,-27 13-1,0 0-15,14 13 16,-1 0 0,-13-13-1,14 13 1,-1-13-1</inkml:trace>
  <inkml:trace contextRef="#ctx0" brushRef="#br0" timeOffset="14644.48">22079 357 0,'-13'0'78,"0"27"-62,0-27-16,0 13 15,13 0-15,0 0 16,-14 1-16,14-1 0,-13 0 15,13 13-15,0-12 16,0-1-16,0 0 0,13 14 16,-13-14-16,14 0 15,-1 0-15,0-13 16,-13 14-16,13-14 0,0 0 16,1 0-16,12 0 15,1 0-15,-14-14 16,0 14-1</inkml:trace>
  <inkml:trace contextRef="#ctx0" brushRef="#br0" timeOffset="15008.81">22225 437 0,'13'26'16,"-13"-13"-16,13 27 15,-13-27-15,0 0 16,0 1-16,0 12 16,0-13-1,0 1-15,0-41 47,14 1-31,-14 12-16,13-12 15,0 13-15,-13-1 16,27 1 0,-14 0-1,0 13-15</inkml:trace>
  <inkml:trace contextRef="#ctx0" brushRef="#br0" timeOffset="15208.73">22490 463 0,'13'0'15,"-13"13"1,0 14-1,0-14-15,13-13 0,-13 13 0,0 0 16,-13 1-16,13-1 16,0 0-16</inkml:trace>
  <inkml:trace contextRef="#ctx0" brushRef="#br0" timeOffset="15361.68">22463 370 0,'0'-13'0,"-13"26"16</inkml:trace>
  <inkml:trace contextRef="#ctx0" brushRef="#br0" timeOffset="16020.34">22675 463 0,'-13'26'15,"13"-12"1,0 12 0,0-13-1,-14-13-15,41-13 47,-14 0-31,0 13-16,0-13 15,1 13 1,-1 0-16,0 0 31,0 0-31,1 0 16,-14 13-16,13-13 16,0 0-1,0 0 1,-13-13-1,14 13-15,-14-14 16,13 14-16,0 0 16,0 0-1,0 0-15,1 0 0,-1 0 16,0 14-16,0-14 16,1 13-16,-1-13 15,0 0-15,0 0 16</inkml:trace>
  <inkml:trace contextRef="#ctx0" brushRef="#br0" timeOffset="16184.92">23125 450 0,'13'0'0,"-13"13"0,0 0 16,0 0-1,13 1-15,-13-1 16,0 0 0,-13-13-16</inkml:trace>
  <inkml:trace contextRef="#ctx0" brushRef="#br0" timeOffset="16336.14">23125 357 0,'-14'-13'0,"14"0"15</inkml:trace>
  <inkml:trace contextRef="#ctx0" brushRef="#br0" timeOffset="16796.95">23297 423 0,'0'27'0,"0"-1"16,0-13-1,0 1 1,26-28 15,-13 1-15,0 13-16,1-13 15,12 13 1,-13 0-16,1 0 16,-1 0-16,0 13 15,0 0-15,1 1 31,-14-1-15</inkml:trace>
  <inkml:trace contextRef="#ctx0" brushRef="#br0" timeOffset="17412.21">23720 463 0,'0'-13'16,"-13"13"-16,-1 0 15,-12 13 1,13 0-1,0-13-15,13 13 16,-14-13-16,14 14 16,14-1 15,-1-13-15,0-13-1,0 26 1,0-13-1,27 0 17,-27-13-32,1 13 15,-1-14 1,0 1-16,27-26 0,-27 25 16,-13 1-16,13-13 0,0 12 0,1-12 15,-14 13-15,13 0 16,-13-1-16,13 1 0,-13-13 15,13 12 1,-26 54 0,13-27-16,0 1 0,-13 25 15,13-26-15,0 14 16,13 13 0,-13-27-16,13 0 15,1 0-15,-1 0 16,0-13-16,0 0 0,0 0 15,27-13 1</inkml:trace>
  <inkml:trace contextRef="#ctx0" brushRef="#br0" timeOffset="17522.86">24156 450 0</inkml:trace>
  <inkml:trace contextRef="#ctx0" brushRef="#br0" timeOffset="26393.78">24249 159 0,'-66'198'16,"66"-171"-16,-13 12 0,-1 1 0,1-14 15,13 1-15,-26 39 16,26-53-16,-13 14 0,13-14 16,0 0-16,-14 14 15,14-14-15</inkml:trace>
  <inkml:trace contextRef="#ctx0" brushRef="#br0" timeOffset="27551.79">24421 357 0,'-13'-13'0,"0"13"16,-1 13-1,-12-13 1,13 13-16,-1-13 16,14 14-1,-13-14-15,26 13 47,14 13-31,-14-26-16,0 14 15,-13-1 1,14 0-16,-14 0 0,-14 14 16,14-14-1,-13-13-15,13 13 0,-13 0 0,0 1 16,-14-1-1,14-13-15,0-13 32,26-1-17,0 1 1,-13 0-16,13 13 0,14-27 16,-27 14-16,26 0 15,-26 0-15,14 13 16,-1-13-16,0-1 0,-13 1 15,13 13 1,-13-13-16,14 13 16,-14 13 15,0 0-15,0 1-16,13-1 15,0 0 1,0-13-1,0 0 1,1-13-16,-1 0 16,0 13-1,-13-14-15,13 14 16,1-13 0,-14 26 15,0 1-16,13-1-15,0-13 32,0 0-17,0 0 17,1 13-17,-1 0 16,-13 0-31</inkml:trace>
  <inkml:trace contextRef="#ctx0" brushRef="#br0" timeOffset="27697.82">24712 410 0,'0'-26'0</inkml:trace>
  <inkml:trace contextRef="#ctx0" brushRef="#br0" timeOffset="27994.24">24871 212 0,'0'-14'16,"13"41"15,-13 13-31,-13-14 15,13-13-15,0 1 0,0-1 16,0 0-16,0 0 0,-13 14 16,13-14-16,0 13 15,-14 1 1,14-14 0,14-13-1</inkml:trace>
  <inkml:trace contextRef="#ctx0" brushRef="#br0" timeOffset="28220.87">25043 251 0,'0'27'31,"-13"-14"-16,13 0-15,0 1 16,-14-1-16,14 0 0,0 0 0,0 0 16,-13 1-16,13-1 0,0 0 15,0 0-15,0 1 0,-13-1 16</inkml:trace>
  <inkml:trace contextRef="#ctx0" brushRef="#br0" timeOffset="28844.31">24950 437 0,'27'-14'31,"-14"14"-31,0 0 0,0 0 16,1 0 0,-1-13-1,0 13-15,0 0 16,0 0 31,1 0-32,-1 0 1,0 13 0,0-13-1,1 0-15,-14 14 0,26-1 16,-26 0-1,13 0 1,-26 14 0,0-14-16,0 0 15,-1-13-15,14 13 16,-13-13-16,26-26 47,14-1-32,-14 27-15,14-26 16,-14 26-16,-13-13 0,13 13 0,-26 13 47</inkml:trace>
  <inkml:trace contextRef="#ctx0" brushRef="#br0" timeOffset="31561.48">18137 1561 0,'-26'-13'16,"26"0"0,-13 13-1,-1 0 1,1 13 0,0-13-16,13 13 0,-13-13 0,13 13 15,-14 1 1,1-1-16,0 0 0,13 0 0,-13 0 15,-1 27 1,14-27-16,0 1 16,0-1-16,0 0 15,14-13 1,25-26 0,-25-1-1,-1 14 1,0-14-1,0 14-15,-13 0 16,14 13 0,-14 13-1,13 14 1,-13-14-16,0 0 16,13 0-1,0 1-15,-13-1 16,13-13-16,-13 13 0,14-13 15,-1 0-15,0 13 16,0-13-16,1 0 16,-1 0-16</inkml:trace>
  <inkml:trace contextRef="#ctx0" brushRef="#br0" timeOffset="33524.64">19103 1296 0,'13'27'15,"-13"-1"1,0-12-1,0-1-15,13 0 0,-13 27 16,0-27-16,-13 0 0,13 0 16,0 14-16,0-14 15,0 0-15,0 1 16,13-1 0,1-13 15,12-13-16,-13 13 1,1 13-16,-1-13 0,26 0 16,-12 0-1,-14 0-15,27-13 16,-27 13-16,27-27 16,-27 14-1,-13 0 1,13 13-16,-13-14 15,13 41 1,-13-14 15,0 0-31,0 1 0,14 12 16,-14-13 0,13-13-16,-13 14 15,13-14-15,14 13 16,-14-13-16</inkml:trace>
  <inkml:trace contextRef="#ctx0" brushRef="#br0" timeOffset="33716.86">19778 1468 0,'13'14'16,"-13"12"0,0-13-16,0 1 15</inkml:trace>
  <inkml:trace contextRef="#ctx0" brushRef="#br0" timeOffset="33874.76">19817 1310 0,'-13'-14'0,"13"41"47</inkml:trace>
  <inkml:trace contextRef="#ctx0" brushRef="#br0" timeOffset="34144.71">20082 1376 0,'-27'0'0,"27"13"16,14 0-16,-14 1 15,13-14-15,-13 13 0,13 0 0,0 0 16,1 14 0,-14-14-16,13 0 15,-26 0 1,-1 1 0,1-14-1,13 13-15,-13-13 16,0 0-16</inkml:trace>
  <inkml:trace contextRef="#ctx0" brushRef="#br0" timeOffset="34940.98">20452 1363 0,'14'26'0,"-14"-13"0,0 14 15,-14-14 1,14 0-16,0 0 16,0 1-16,14-1 31,-1-40-16,0 27 1,0-13 0,0 13-16,1 0 31,-1 0-15,0 13-16,0-13 15,1 14 1,-1-28-16,0 14 15,0 0 1,1 0-16,-1 0 16,0 0-1,0 14 1,0-14 0,1 0-1,12 0-15,-13-14 16,1 14-16,-14-13 0,13 13 0,0-13 15,-13 0-15,13-14 16,-13 14-16,-13-13 16,-13 26 15,-14 13-15,40 0-16,-13-13 15,13 13-15,26-26 31,14-13-15,-27 12-16,0 1 0,0 0 16,1 0-16,-1-1 0,-13 1 0,13 0 15,0 0-15,1 0 16,-1 13 0,-13 13-16,13 0 0,-13 0 15,0 0-15,0 1 16,13-1-16,-13 13 0,0-12 15,14-1-15,-14 0 0,0 0 16,0 1-16,13-14 0,-13 13 16</inkml:trace>
  <inkml:trace contextRef="#ctx0" brushRef="#br0" timeOffset="35104.94">20862 1336 0,'14'-26'16,"-1"26"-16,0-14 0,0 14 15,1 0-15,-1-13 0,0 13 16,0 0-16,0 0 0,14-13 0,-14 13 16,0 0-16</inkml:trace>
  <inkml:trace contextRef="#ctx0" brushRef="#br0" timeOffset="35459.6">21405 1296 0,'-13'0'0,"-1"0"0,1 14 0,0-14 16,13 13-1,0 0 1,13-13 0,0 13-1,1-13-15,-1 0 16,0 0-1,0 14 1,0-14 0,1 0-16,-1 0 15,13-14 1</inkml:trace>
  <inkml:trace contextRef="#ctx0" brushRef="#br0" timeOffset="36219.82">22225 1217 0,'-40'-13'0,"27"13"15,13 13-15,-13 0 0,0-13 0,13 14 16,-14-1-16,14 0 0,-13 0 0,13 0 15,0 1-15,0-1 0,0 0 16,0 0-16,0 1 16,13-14-16,1 13 15,-1-13 1,0-13-16,0 13 0,1 0 0,-14-14 16,13 14-16,0 0 0,0-13 0,0 13 15,1 0-15,-1 0 0,-13-13 0,13 13 16,0 0-16,1 0 0,12 13 15,-13 0-15,1 1 16,-14-1-16,13-13 0,-13 13 16,0 0-16,0 1 15,0-1 1,13-40 15,0 1-15,-13 13-1,0-1-15,13 14 0,1-13 16,-14 0-16,13 13 0,0-13 0,0-1 16,1 14-16,-1-13 15,13 13 1,-13 0-16,-13-13 0,14 13 0,-1 0 0</inkml:trace>
  <inkml:trace contextRef="#ctx0" brushRef="#br0" timeOffset="36370.36">22648 1270 0,'14'0'0,"-14"13"15,13-13-15,-13 13 16,0 14 0,0-14-16,0 0 15,0 1 1,0-1-16,-13-13 0,13 13 16</inkml:trace>
  <inkml:trace contextRef="#ctx0" brushRef="#br0" timeOffset="36483.75">22662 1177 0,'-14'-26'16</inkml:trace>
  <inkml:trace contextRef="#ctx0" brushRef="#br0" timeOffset="36972.9">22873 1244 0,'0'26'16,"0"-13"0,0 0-1,-13 1 1,39-28 31,-12 14-32,-1 0 1,0 14 0,0-1-1,1-13 1,-1 13-16,0-13 31,0 0-15,1-13-1,-1 13-15,-13-13 16,13 13-16,0 0 0,0 0 16,-13-14-16,14 14 0,-1 0 15,0 0-15,14 0 16,-14 0 0</inkml:trace>
  <inkml:trace contextRef="#ctx0" brushRef="#br0" timeOffset="37217.72">23283 1244 0,'0'13'16,"0"13"0,0-13-16,0 1 0,0 12 15,0-13 1,-13 1-16</inkml:trace>
  <inkml:trace contextRef="#ctx0" brushRef="#br0" timeOffset="37368.9">23310 1124 0,'-13'-13'0</inkml:trace>
  <inkml:trace contextRef="#ctx0" brushRef="#br0" timeOffset="37680.12">23442 1230 0,'0'14'15,"0"-1"1,0 26-1,0-25 1,13-1 0,14-13 15,-14-13-15,0 13-1,14 0 1,-14 13-1,0-13-15,0 0 16,14 13 0,-14-13-16</inkml:trace>
  <inkml:trace contextRef="#ctx0" brushRef="#br0" timeOffset="38216.82">23826 1257 0,'-27'0'0,"14"0"16,0 0-16,-14 13 16,14 0-1,0 0 1,13 1-16,13-1 15,0-13 1,1 0 0,-1 0-16,13 0 15,-13 13 1,1-13 0,-1 0-16,13 0 15,-12 0-15,-1-13 16,0 0-16,27-27 15,-14 14-15,-13-1 16,1 14-16,-1-14 0,0 1 0,0 13 16,14-40-1,-14 40-15,-13-1 0,13 14 16,-26 27 15,13-14-31,0 0 0,0 27 16,0-27-16,0 0 15,0 1-15,13-14 0,-13 13 16,14 13-16,-14-12 16,13-1-1,0-13-15,0 0 0</inkml:trace>
  <inkml:trace contextRef="#ctx0" brushRef="#br0" timeOffset="43107.07">17383 1032 0,'-13'0'16,"39"13"15,-12-13-31,-1 0 16,66 13-1,-66-13-15,40 0 16,-39 0-16,12-13 0,27 13 16,-27 0-16,-12-13 0,12 13 15,1 0-15,52-27 16,-66 14-16,14 13 0,-1-13 16,27-14-1,-40 14-15,0 0 0,14 13 0,-14-13 16,0 0-16,1 13 0,-1-14 0,-13 1 15,13 0-15,0 13 0,1-13 0,-1-14 16,0 14 0,-13 0-16,26-27 15,-26 27-15,14 0 16,-14-1-16,0 1 0,13 0 16,-13 0-16,13-14 15,-13 14-15,0-13 16,0-1-1,0 14-15,0 0 16,-13-1-16,13 1 0,-13 0 16,-14-40-16,14 27 15,0 12-15,-14-25 16,14 25-16,0 1 0,0 0 16,-27-13-1,0 12-15,14 1 16,-14 0-16,14 13 15,12-13-15,-12 13 0,13 0 0,-14 0 16,14 0-16,-13 0 0,12-14 0,-12 14 16,13 0-16,-1 0 0,-25 0 15,25 0-15,1 0 0,0 0 16,0 0-16,0 0 0,-1 0 0,1 0 16,-13 0-16,-1 0 15,14 0-15,0 14 16,-67-1-1,67-13-15,-13 0 0,12 13 16,1-13-16,0 0 0,0 13 0,0-13 16,-1 0-16,1 14 0,0-14 0,-14 13 15,14 0-15,0 0 16,0-13-16,-1 13 0,1 1 0,0-14 16,0 13-16,0 0 0,-1 0 0,1 1 15,13-1-15,-13 13 0,13-13 16,-27 27-1,27-13-15,-13 12 0,13-25 16,-13-1-16,13 13 0,0-13 16,0 14-16,0-14 0,0 0 0,0 14 0,0-14 15,0 0-15,0 14 0,0-14 16,13 0-16,0 0 0,-13 1 0,67 52 31,-41-53-31,0 0 16,-12 0-16,12-13 0,1 14 0,-1-1 15,-13-13-15,53 26 16,-39-26-16,-14 14 0,40-1 16,-40-13-16,14 13 15,-14-13-15,13 13 16,-12-13-16,-14 14 0,13-14 16</inkml:trace>
  <inkml:trace contextRef="#ctx0" brushRef="#br0" timeOffset="67746.85">17330 10504 0,'-13'0'0,"0"0"0,66 0 31,52-13 0,-52 13-31,93-13 0,-80 13 0,13-14 16,-12 1-16,158 0 16,-173 0-16,54-1 15,-66 14-15,0 0 0,-14 0 0,-13 0 16,14 0 0,-54 27-16,1-27 15</inkml:trace>
  <inkml:trace contextRef="#ctx0" brushRef="#br0" timeOffset="67973.2">17251 10821 0,'145'-52'0,"-79"38"16,133-52-1,26 26 1,-80 14-16,-78 26 0,-15-13 0,41 0 15,-53 13-15,13 0 16,-40 0-16,13 0 0,1 13 16,-14-13-16,0 0 15,-13 13-15,0 0 16,0 0 0</inkml:trace>
  <inkml:trace contextRef="#ctx0" brushRef="#br0" timeOffset="70852.22">17079 5133 0,'13'0'0,"-13"13"0,13-13 0,1 0 0,12 0 16,-13 13-16,14-13 0,-1 0 15,-13 0-15,14 0 0,52-13 16,-39 13-1,0-13-15,-1 0 0,-12-1 0,79-12 16,-80 13-16,0 0 16,1-1-16,-1 1 0,27-27 15,-13 14 1,-27 13-16,27-40 16,-27 40-16,0-14 0,27-26 15,-27 40-15,-13-14 16,14 14-16,-1-40 15,0 14-15,0-27 16,-13 52-16,0-12 16,0 13-16,0-14 0,-13-39 15,0 40-15,13 12 16,-13-12-16,13-1 16,-14 1-16,-12-40 0,13 39 15,-14 1-15,14-1 0,0 1 0,-1 0 16,-12-14-16,13 27 15,-27-40-15,14 26 0,-1 1 0,-39-40 16,40 39-16,-1 1 16,1 12-16,-14-12 0,-53-27 15,54 40 1,12 0-16,-12-1 0,-1 1 0,0 0 0,-13 0 16,-26-1-16,39 1 0,-13 13 15,-92 0 1,92 0-16,13 13 0,-13-13 15,0 14-15,-105 39 16,118-40-16,-106 79 16,67-25-16,39-28 15,-39 54-15,52-40 16,-12 0-16,12 0 0,-12 0 0,12 13 16,-39 119-1,53-119-15,0 13 0,-1-12 0,28 171 16,12-185-1,0 0-15,14-14 0,0 1 0,132 53 16,-93-80 0,-13 0-16,14 0 0,-1-13 0,0-13 0,1 13 15,-1-13 1,1 0-16,-14-14 0,66-13 0,-39-13 16</inkml:trace>
  <inkml:trace contextRef="#ctx0" brushRef="#br0" timeOffset="71469.14">17687 3717 0,'14'-13'31,"25"0"-15,-12 0-16,-1-1 0,14 1 0,-14-13 15,14 13-15,0-14 0,52-26 16,-52 40 0,-13 0-16,-1-1 0,14-25 15,-27 26-15,-13-1 16</inkml:trace>
  <inkml:trace contextRef="#ctx0" brushRef="#br0" timeOffset="71699.94">17992 3321 0,'79'-14'0,"-52"1"16,52 26 0,-39-13-16,12 14 15,-25-1-15,-14-13 0,14 13 0,-14 13 16,0-12-16,0-1 0,-13 0 0,0 14 15,0-14-15,0 13 0,-13-13 16,0 14-16,13-14 0,-13 0 0,-1 1 16,1-1-16,0 0 0,0 0 15</inkml:trace>
  <inkml:trace contextRef="#ctx0" brushRef="#br0" timeOffset="73133.14">18732 3056 0,'-79'53'16,"79"-40"-16,-13 0 15,0 1-15,-1 12 0,14-13 16,0 0-16,0 1 0,0-1 0,0 0 16,14-13-16,-14 13 15,13-13-15,0 0 0,0 0 16,1 0-16,-14-13 0,13 0 0,0 0 15,0-14-15,-13 14 16,13-27 0,-13 27-16,14 0 0,-14 0 0,0-1 15,0 1-15,0 0 16,13 39 15,-13 1-15,0-14-16,13 0 0,0 1 15,1-14-15,-1 13 16,0-26-16,0 13 16,1 0-16,25-27 15,-26 14-15,1 0 0,-1-1 0,-13-12 16,13 13-16,-13-1 0,27-25 16,-27 26-1,0-1-15,13 1 16,-13 40 15,0-14-31,0 0 0,0 0 16,0 0-16,0 1 15,0-1-15,13 0 0,-13 0 16,13-13-16,1 14 0,-1-14 16,0 0-16,0-14 0,0 14 15,14-13-15,-14 13 0,0-13 16,1 0-16,-1-1 0,0 1 0,0 0 15,1 0-15,-14 0 16,13-1-16,-13 1 0,0 0 31,0 0-31,-13 39 47,13-13-47,0 1 0,0-1 16,0 0-16,13-13 0,-13 13 15,13 0-15,0-13 16,14 0-16,-1-13 16,-13 13-16,1-13 15,-1 0-15,0 0 0,0-1 16,-13 1-16,14 0 0,-1 0 0,-13-1 16,0 1-16,13 0 0,-13 0 15,0 0-15,13 13 0,-13-14 0,0 41 47,0-14-47,0 13 16,13 1-1,1-14 1,-1-13-16,0 0 16,0 0-16,1-13 15,-1 0-15,0-1 16,-13 1-16,0 0 0,13 0 0,-13-14 15,0 1-15,0 13 0,0-14 0,0 1 16,0 12-16,0 1 0,0-13 16,0 13-16,0-1 0,0 1 15,0 40 1,0 25 0,0-25-1,0-1-15,13 27 0,-13-26 16,14-1-16,-14 1 0,0-14 0,13 13 15,-13-12-15,0-1 0,0 13 16,13-13-16,-13 1 16,0-1-16,0-40 31,13 14-31,-13 0 0,0-13 0,14-1 16,-14-13-16,13 14 0,0 0 0,14-1 15,-14 1-15,13-1 0,-13 27 16,1-13-16,-1 0 0,0 13 0,14 13 15,-27 0 1,0 0-16,0 1 0,0-1 16,-14 0-16,1 0 0,0 1 0,0 12 15,-14 0-15,14-12 0,0-1 16,0 0-16,-1 0 0,1-13 16,0 14-16,0-14 0,-1 0 0,1-14 15,0 1-15</inkml:trace>
  <inkml:trace contextRef="#ctx0" brushRef="#br0" timeOffset="73500.06">19897 2474 0,'0'-13'0,"13"39"16,-13-13-16,0 1 15,0-1-15,0 13 0,0-13 0,0 1 16,0 12-16,13 1 16,-13-14-16,13 0 0,-13 0 0,14 1 15,-1-14-15,0 13 16,13-26-16,1-14 16,-14 14-1,-13 0 1,13 13-16,-13-14 0,27 14 31,-27 27-15,13-27-16,-13 13 0,13-13 15,1 13-15,-1-13 16,0 14-16,0-14 16,0 0-16,1-14 15</inkml:trace>
  <inkml:trace contextRef="#ctx0" brushRef="#br0" timeOffset="73671.85">19844 2633 0,'26'-27'31,"14"14"-31,-27 13 0,0-13 15,1 13-15,-1-14 0,0 14 0,13 0 16,-12-13-16</inkml:trace>
  <inkml:trace contextRef="#ctx0" brushRef="#br0" timeOffset="74045.1">20346 2474 0,'-26'-13'15,"13"26"-15,0-13 0,13 13 16,-14-13-16,14 13 0,-13 1 16,0-1-16,13 0 0,-13 0 15,13 0-15,0 1 0,0-1 16,13-13-16,-13 13 0,13-13 16,14 0-16,-14-13 15,0 13-15,0-13 0,0-1 0,1 1 16,-14 0-16,13-13 0,-13-1 15,13 1-15,-13-1 0,0 1 16,13 12-16,-13 1 0,0 0 0,0 0 0,0 0 16,0-1-16,0 41 31,0-14-15,0 0-16,27 40 15,-1-13-15,-26-27 16,14 0-16,-1 1 0,0 12 0,0-13 15,0 0-15,1 1 0,-14-1 16,13-13-16,0 13 0</inkml:trace>
  <inkml:trace contextRef="#ctx0" brushRef="#br0" timeOffset="75372.5">20981 2222 0,'-39'-66'15,"26"66"1,-1 14 0,14 25-1,14-12-15,-14 12 0,13 14 16,-13-13-16,13 26 0,0-13 15,14 66-15,-14-66 0,0-13 0,0-1 16,-13 1-16,14 0 0,-14-14 16,0 1-16,13-14 0,-13 13 0,-13-12 15,13-1-15,0 0 0,-14-13 16,1 13-16,0-13 0,-14 0 16,14-13-16,0 0 15,0 0-15,0-1 0,-1-12 16,14 13-16,-13-14 0,13 14 15,0 0-15,0-14 0,13 14 0,-13 0 16,14-14-16,-1 1 0,0 0 0,0-1 16,14 1-16,-14-1 0,13 14 15,1-14-15,-1 1 0,1 0 0,-14-1 16,13 14-16,-12 0 0,-1-1 16,-13 1-16,13 0 0,-13 0 0,13-1 15,-13 1-15,14 13 16,-41 13 15,27 1-31,-13-14 16,13 13-16,-13 0 0,13 0 15,-14 1-15,14-1 16,0 0-16,14 0 16,-1-13-16,0 0 15,0 0-15,1-13 16,-1 0-16,0 13 0,-13-13 15,13-1-15,0 14 0,-13-13 16,14 0-16,-14 0 0,13-1 16,0 28 31,0-14-32,14 13 1,13-26-1,-27 13 1,13-14 0,-13 14-1,1 0 1,-1 14-16,0-1 16,14-13-1,-1 0 1,-13 0-16,1-13 0,-1 13 0,0-14 15,-13 1-15,13 0 0,0 0 16,1 0-16,-1-14 0,-13 1 0,13 12 16,0-39-16,-13 40 0,14-26 15,-14 25-15,0 1 16,0 0-16,0 0 16,0 39-1,13 14 1,-13-27-16,13 0 15,0 0-15,1 1 0,-14-1 16,26 0-16,-13 0 0,0-13 0,1 14 16,12-1-16,1-13 15,-1 0-15,-13 0 0,1 0 16,-1 0-16,0 0 0,-13-13 0,13 13 16,-13-14-16,-13 1 15</inkml:trace>
  <inkml:trace contextRef="#ctx0" brushRef="#br0" timeOffset="75585.5">21511 2249 0,'0'0'16,"0"-13"-16,13-1 16,0 14-16,0-13 0,1 0 15,25 0-15,1 0 0,39-27 16,1 13-16,-41 14 0,1 0 15,-27 13-15,1-13 16,-1 13-16,0 0 0,-13 13 16,-26 13-1,-1-12-15,1 12 0,-14 1 16</inkml:trace>
  <inkml:trace contextRef="#ctx0" brushRef="#br0" timeOffset="75927.7">19711 3241 0,'265'-132'0,"-212"105"15,13 1-15,80-40 16,-1 0-16,-52 39 0,-27-12 0,0 12 16,80-39-16,39 0 15,-146 53 1,-12-1-16,-1 14 0,1-13 0,-14 13 0,-26 27 31,-14-27-31,1 26 16,-14-13-16</inkml:trace>
  <inkml:trace contextRef="#ctx0" brushRef="#br0" timeOffset="76141.12">20135 3162 0,'39'-13'15,"-12"13"-15,-1-14 16,14 1-16,26-13 0,-13 12 16,0-12-16,66-14 0,-53 14 15,53-14-15,-53 14 16,-13-1-16,0 14 0,0-13 0,-13 12 16,0 1-16,-14 0 0,-13 0 15,27-1-15,-27 1 0,0 0 16,1 0-16</inkml:trace>
  <inkml:trace contextRef="#ctx0" brushRef="#br0" timeOffset="76811.78">22199 3228 0,'-40'13'15,"40"-26"-15,-13 13 16,-1-13-16,1-1 0,-13 1 16,12 0-16,-12-13 0,0-1 15,12 1-15,-12-1 0,-1 1 0,1-1 16,-27-26-16,40 27 16,0 13-16,-1-14 0,1 14 0,0 0 15,0 13-15,13-13 0,-14-1 0,1 14 16,0 0-16,0 14 15,13-1 1,-13-13-16,13 13 0,0 0 16,0 0-16</inkml:trace>
  <inkml:trace contextRef="#ctx0" brushRef="#br0" timeOffset="77279.75">21749 2871 0,'0'26'0,"0"-13"15,0 1-15,0 12 0,0 1 16,0-14-16,0 13 0,0-13 16,0 14-16,0-1 15,0 14-15,0-27 0,0 14 16,0-14 0,-13-39-1,13 12 1,0-65-1,0 52-15,0 1 0,0 0 0,13-1 16,-13 14-16,0 0 0,0-1 16,13 1-16,-13 0 0,26 0 15,1 0-15,-14 13 16,0 0-16,14 0 0,-14 0 0,27 0 16,-14 0-16,1 0 15,-1 13-15,-13-13 0,14 0 0,-1 0 0,-13 0 16,14 0-16,-14 0 0,14 0 15,-14 0-15,0 0 0</inkml:trace>
  <inkml:trace contextRef="#ctx0" brushRef="#br0" timeOffset="78548.99">22675 3268 0,'13'39'15,"-13"1"-15,0-27 16,0 0-16,13 1 0,-13 12 15,0-13-15,0 1 0,0-1 0,0 0 16,13 0-16,-13 0 16,0 1-16,-13-41 31,13 14-15,-13-13-16,13-1 0,0-92 15,0 93-15,13-14 16,0 13-1,-13 14-15,14 0 0,-14 0 0,13 13 16,0 0-16,0-13 0,1 26 16,-1-13-16,-13 13 15,13 0-15,-13 0 16,0 1-16,-13-1 0,13 0 16,-13 0-16,13 1 0,-14-1 15,1 0-15,0-13 0,0 13 16,13 1-16,-14-14 0,1 13 0,0-13 0,13 13 15,-13-13 1</inkml:trace>
  <inkml:trace contextRef="#ctx0" brushRef="#br0" timeOffset="78844.92">22820 3201 0,'40'14'0,"-27"-1"15,0 13 1,-13-12 0,0-1-16,14 0 0,-14 0 15,0 1-15,0-1 0,0 0 16,13-13 0,0-13-1,-13 0 1,13 13-16,-13-14 0,14-12 15,-1 13 1,0-1-16,-13 1 16,13 13-1,1-13 1,-1 13-16</inkml:trace>
  <inkml:trace contextRef="#ctx0" brushRef="#br0" timeOffset="79187.91">23178 3149 0,'13'0'16,"-26"26"15,-1 0-15,14-12-16,0-1 15,14-13-15,-14 26 16,13-26-16,0 14 0,0-14 15,0 0-15,1 0 16,-1 0-16,0 0 0,0 0 16,1 0-16,-1-14 0,0 14 15,0-26-15,-13 13 16,0-1-16,0-12 16,-13 13-1,0 0-15,0 13 16,13-14-16,-27 14 15,14 0-15,13 14 0,-13-14 0,-1 0 16,1 13-16,0-13 0,0 13 16</inkml:trace>
  <inkml:trace contextRef="#ctx0" brushRef="#br0" timeOffset="79660.78">23363 3162 0,'-14'13'16,"1"0"-16,13 0 16,0 14-1,0-14-15,13 0 16,1-13-16,-1 0 15,0 14-15,0-28 0,1 14 16,-1 0-16,0 0 0,-13-13 16,13-13-16,-26 12 15,13 1-15,0 0 16,-13 0-16,0 0 16,-1-1-16,1 14 15,-13 0 1,12 0-16,1 0 15,0 14-15</inkml:trace>
  <inkml:trace contextRef="#ctx0" brushRef="#br0" timeOffset="80134.2">23508 3109 0,'27'0'16,"-14"0"-16,-13 13 15,13-13-15,-13 13 0,13 1 16,1-1 0,-14 0-16,13-13 15,-13 13 1,13-13 0,0 0-1,1-26 1,-1 26-1,0-13-15,0-1 0,0 1 16,1 13-16,-14-13 16,13 13-16,0-13 0,0 13 15,-13-14-15,14 14 0,-1-13 16,0 0 0,0 13-1,-13-13 1,-13 26-1,0 0-15,13 0 16,13 1 0,0-1-1,0-13-15,1 0 0,-1 0 16,0 0-16,0 0 0,1-13 0,-1 13 16,0 0-16,14 0 15,-14 0-15,0 0 16</inkml:trace>
  <inkml:trace contextRef="#ctx0" brushRef="#br0" timeOffset="81633.7">23283 3466 0,'0'-13'16,"0"52"-1,0-12-15,14 39 16,12 40-1,-26-66-15,13 13 0,0-14 16,-13 1-16,14 66 16,-1-53-1,-13-40-15,-13 0 0,13 0 0,-27 14 16,1-27 0,26-13-1,-13 13-15,-1-14 0,14 1 0,-13 0 16,13 0-16,-13-1 0,13 1 15,0 0-15,13 0 0,-13 0 16,0-1-16,13 1 0,1-13 16,-1 12-16,13-12 0,-13-1 0,14 14 15,-1-13-15,1-1 0,13-12 16,-14 25-16,-13 1 0,0 13 0,-13-13 16,14 13-16,-14-13 15,13 13-15,-13-14 0,-27 41 47,1-1-31,26-12-16,0-1 0,-13-13 0,13 13 15,0 0-15,-13-13 0,13 14 16,0-1-16,13-13 0,0 13 16,0-13-1,0-13-15,14 0 16,-14 13-16,0-14 0,1 1 15,-1 0 1,0 13 0,-13 13 15,13 0-31,-13 1 16,14-14-16,25 0 31,-26-14-31,1 14 15,-1-13-15,0 0 0,0 0 16,1-27-16,-1 13 0,-13 1 0,13 0 16,-13-14-16,13 13 0,-13 1 15,0-1-15,0 14 0,0 0 0,0 0 16,13 0-16,-13-1 0,0 1 0,-13 0 31,0 53-15,13-27-16,-13 0 15,13 0-15,0 0 0,-13 1 16,13-1-16,0 13 0,0-12 0,0-1 16,0 0-16,0 0 0,13 1 15,-13-1-15,0 0 0,13 0 16,-13 0 0,13-13-16,0 0 0,14 0 15,-14-13 1,0 13-16,1 0 0,-1 0 15,0 0-15,0 0 16,1 0-16,-1 0 16,0 13-1,0-13-15,-13 14 0,0-1 16,0 0 0,0 0-16,0 1 15,0-1 1,13-13-1,1-13-15,-1 13 16,0-14-16,0 1 0,-13 0 16,14 0-16,-1-1 0,0 1 15,0 0-15,1 0 0,-14 0 0,13-1 16,-13 1-16,13 13 0,-13-13 16,-26 26 15,26 14-16,0-14-15,0 0 16,0 0 0,13 0-16,0-13 0,0 0 15,0 0-15,1 0 0,12 0 16,-13 0 0,1 14-16,-14-1 31</inkml:trace>
  <inkml:trace contextRef="#ctx0" brushRef="#br0" timeOffset="81891.53">23389 4220 0,'93'-53'0,"-54"27"0,67-14 16,-53 27-16,119-53 15,-106 39-15,-13 14 16,0 0-16,0 0 0,-13-1 0,-14 1 16,1 0-16,-1 13 0,-13-13 15,1 13-15,-1 0 0</inkml:trace>
  <inkml:trace contextRef="#ctx0" brushRef="#br0" timeOffset="82753.96">23720 4141 0,'225'-106'0,"-186"93"0,1-1 0,-13 1 15,12 0-15,1 0 0,-14 0 16,14-14-16,-13 27 0,-1-13 0,-13 0 16,14 13-16,-14-14 0,13 1 15,-12 13-15,-1-13 0,13 0 16,1-1-16,-14 1 0,-13 0 15,13 0-15,1 0 0,-1-1 16,0 1-16,0 0 16,-13 0-16,0-1 0,13 14 0,-13-13 15,0 0-15,0 0 0,0-1 0,0 1 16,0 0-16,0-13 0,0-1 16,0 1-16,0-1 0,-13-52 15,0 52-15,13-12 0,0-1 16,-13 0-16,13 14 0,-13-27 15,-1 26-15,14 1 0,-13 13 16,0-40-16,13 26 0,-13 1 16,13 13-16,-14-14 0,1 1 15,0-1-15,0 1 0,-1-1 0,-12 1 16,13-14-16,-14 14 0,1-1 0,-1 1 16,14-14-16,-13 14 0,-1-1 15,-12 1-15,12 13 0,-13-14 0,14 14 16,-14 0-16,-13-1 0,14 14 15,-1-13-15,0 13 0,1 0 0,12 0 16,-13 0-16,14 0 0,-14 0 16,14 0-16,-14 0 0,14 0 0,-1 0 15,-12 0-15,12 0 0,-13 0 16,14 0-16,-27 0 0,13 13 0,1-13 16,-14 14-16,13-1 0,0-13 15,-13 13-15,14 0 0,-1 1 0,0-1 16,-65 27-16,65-14 0,-13-13 15,0 14-15,0-1 16,0 1-16,13-1 0,1 1 0,-1-1 16,-39 40-16,52-26 0,1-14 15,-1 14-15,1 0 0,13-1 0,-14 41 16,14-41-16,13 14 16,-13-13-16,26 13 0,-13-13 0,13 12 15,0 15-15,1-14 0,12-1 16,-13-12-16,27 13 0,-13 0 0,12-13 15,14 13-15,-13-27 0,13 14 16,0-14-16,0 1 0,13-1 0,0 1 16,-13-14-16,13 0 0,-26 0 0,13-13 15,-14 14-15,1-14 16,0 0-16,-14 0 0,1 0 0,-1 0 0,0 0 16,1-14-16,-1 14 0,1 0 15,-14 0-15,13-13 0,-12 13 16</inkml:trace>
  <inkml:trace contextRef="#ctx0" brushRef="#br0" timeOffset="85265.85">17251 12131 0,'-13'-13'15,"13"-14"1,13 14-16,0 13 0,0-13 16,1 0-16,12 0 0,-13-1 0,14 1 15,-1 13-15,40-13 0,-26 0 16,-14 13-16,27 0 0,0 13 0,53 13 15,-40 1-15,-13-14 16,40 66-16,-40-39 0,0 0 16,-14-1-16,1 14 0,26 53 15,-39-53-15,-1 13 16,0-13-16,-12 13 0,-1-13 0,-13 66 16,0-79-16,-13 26 0,-1-13 15,1 0-15,0 0 0,-13 0 16,-1 0-16,1-14 0,-27 41 15,13-41-15,0 1 0,-13 0 0,14-14 16,-14 1-16,0-1 0,-13 1 16,0-14-16,13 0 0,-106 14 15,80-27-15,-80-27 16,79 14-16,14-14 0,-13 1 0,-14 0 16,14-14-16,-53-40 15,79 28-15,0 12 0,13 0 0,0 0 16,14 1-16,0-14 0,12 13 0,1 1 15,13-1-15,0 0 0,13-13 16,14 0-16,-1 0 0,14-13 0,0 13 16,13-13-16,66-79 15,-53 78-15,0 1 0,13 0 0,1 0 16,131-53-16,-145 93 16,80-14-16,-93 27 0,13 13 15,-13 0-15,-13 0 16,52 13-16,-39 13 0</inkml:trace>
  <inkml:trace contextRef="#ctx0" brushRef="#br0" timeOffset="85716.93">18455 12554 0,'-14'0'16,"67"-26"0,-26 26-16,13-13 15,-1 0-15,1 13 0,13-14 0,13 1 16,-13 0-16,13 0 0,0-1 15,-13 1-15,0 0 0,0 13 0,-13-13 16,26-1-16,-40 1 0,1 13 16,-1-13-16,-13 13 0,1 0 15,-1-13 1</inkml:trace>
  <inkml:trace contextRef="#ctx0" brushRef="#br0" timeOffset="85981.51">19050 12158 0,'0'-14'16,"13"14"-16,14 0 0,12 0 16,28 27-16,-1-1 15,66 40 1,-119-39-1,27 26-15,-27-40 0,-13 0 16,0 14-16,0-1 0,0 1 16,-13-1-16,-14 14 0,-12 13 15,12-27-15,1 1 0,-1-14 0,1 13 16,-1 1-16,1-14 16,0 0-16,-1-13 0,1 13 0</inkml:trace>
  <inkml:trace contextRef="#ctx0" brushRef="#br0" timeOffset="87553.8">17859 13070 0,'-13'14'0,"0"-14"109,0 0-93,-1 13-1,28 0 17</inkml:trace>
  <inkml:trace contextRef="#ctx0" brushRef="#br0" timeOffset="88326.04">18071 13176 0,'13'0'16,"1"0"0,-1-13 15,0 13-16,0 0 1,0 0 0,1 0-16,-1 13 0,13-13 15,-12 0-15,12 0 0,0 13 16,14-13-16,-13 0 0,26 14 16,92-1-16,-39 0 15,-53-13-15,13 0 0,-13 0 16,13 0-16,0 0 0,-13 0 15,13 0-15,133-13 16,-160 13-16,-12 0 0,-14 0 16,14 0-16,-14 0 15,0 0-15</inkml:trace>
  <inkml:trace contextRef="#ctx0" brushRef="#br0" timeOffset="88752.1">17939 12779 0,'0'-13'0,"-13"13"16</inkml:trace>
  <inkml:trace contextRef="#ctx0" brushRef="#br0" timeOffset="88935.25">17648 12330 0,'-27'-14'0</inkml:trace>
  <inkml:trace contextRef="#ctx0" brushRef="#br0" timeOffset="89093.16">17066 12674 0</inkml:trace>
  <inkml:trace contextRef="#ctx0" brushRef="#br0" timeOffset="89280.07">17119 12991 0,'0'13'0,"-14"1"15,14-1-15,0 0 16,0 13-1,0-12-15</inkml:trace>
  <inkml:trace contextRef="#ctx0" brushRef="#br0" timeOffset="89414.94">17476 13282 0,'39'13'16,"-25"-13"-16,-14 14 15,-14-41 32,1 14-47</inkml:trace>
  <inkml:trace contextRef="#ctx0" brushRef="#br0" timeOffset="89515.46">17661 13057 0,'0'-13'15,"13"13"1,0-13-16</inkml:trace>
  <inkml:trace contextRef="#ctx0" brushRef="#br0" timeOffset="104631.85">17873 13097 0,'-14'0'31,"1"13"0,13 0-15,0 1-16,13-1 16,1-13-1,-1 0 16,-13-13-31,0-1 0,13 1 16,-26 0 0,0 0-1,-1 26 1,14 0-16,-13-13 0,0 13 16,13 1-1,-13-14-15,13 13 16,0 0-16,13-26 31,0 0-15,-13-1-1,-13 28 32,13-1-16,13-13 79,0 13-79,-13 0-15,0 0-16,0 1 31,14-1-15,-14-40 15,0 14-16,0 0-15,0 0 0,0 0 16,-14 52 15,28-26-31,-14 14 32,0-14-32,0 0 0,0 1 15,13-41 16,-26 1 1,-1 12-32,14 41 31,0-14-15,0 0-1,-13-39 32,13 13-31,0-1 15,-13 1 16,13 0-32,-13 0-15,13 0 32,-14 13-17,1 0-15,0 0 16,13-14 62,0 1-62,-13 13-1,13-13-15,-13 13 16,-1 0 15,14 13-31,0 0 31,0-39 16,0 13-15,0-1-17,-13 41 16,26-14-15,-13 0 0,14-26 31,-14 0-32,-14 0-15,14-1 16,-13 1-1,0 26 17,13 14-17,0-14-15,0 0 0,13 1 16,-13-1 0,13-13-16,-13 13 15,14-13-15,-1-13 16,-13-14-1,-13 14 1,13 0-16,-14 0 16,1-1-1,0 14 1,0 14 0,-1-1-16,14 0 0,0 0 15,0 1 1,0-1-16,14 0 15,-1-13 1,0-13-16,-13 0 16,13 13-16,-13-14 0,0 1 15,0 0-15,0 0 16,0-1 0,-13 41-1,13 13 1,0-27-16,13 13 15,-13-13-15,0 1 16,14-1-16,-14 0 0,13 0 16,-13 1-16,13-1 0,0-13 15,-13 13 1,13 0-16</inkml:trace>
  <inkml:trace contextRef="#ctx0" brushRef="#br0" timeOffset="113284.1">20108 11734 0,'0'-13'16,"14"40"0,-14-14-16,0 0 0,0 13 15,13-12-15,-13-1 0,0 13 0,0-12 16,0 12-16,0 0 0,13-12 16,-13 25-16,0-12 0,0-14 15,0 0-15,0 1 0,0 12 0,0-13 16,0 0-16,0 1 15</inkml:trace>
  <inkml:trace contextRef="#ctx0" brushRef="#br0" timeOffset="113501">20307 11695 0,'0'-27'16,"13"27"-1,-13 53 1,0-26 0,0-14-16,13 13 0,-13-13 15,0 14-15,0-14 0,13 0 16,-13 14-16,14-14 0,-14 0 0,0 0 16,13 1-16,-13-1 0,0 0 15,13 0-15,-13 1 0</inkml:trace>
  <inkml:trace contextRef="#ctx0" brushRef="#br0" timeOffset="113944.45">20188 11959 0,'26'-26'16,"14"-1"-16,-27 14 0,40-27 31,-27 40-31,-12-13 0,-1 13 16,0-13-16,0 13 0,1 0 15,-1 0 1,0 26-1,-13-12-15,13-1 16,14 13 0,-14-26-16,-13 13 0,13-13 15,0 0-15,1 0 0,-1 0 16,0-13-16,0 13 0,1 0 16,-14-13-16,0 0 15,-14 0-15,-12-14 16,13 27-1,-1-13-15,1 13 0,0-13 0,0 13 16,0 0-16,-1 0 16,14 13-1</inkml:trace>
  <inkml:trace contextRef="#ctx0" brushRef="#br0" timeOffset="114171.15">20849 11721 0,'13'-13'0,"14"0"15,-14-1 1,0 14-16,1-13 15,-1 13-15,-13-13 16</inkml:trace>
  <inkml:trace contextRef="#ctx0" brushRef="#br0" timeOffset="114372.27">20968 11483 0,'27'0'0,"-14"13"16,-13 0-16,13 1 0,0-1 16,1 0-16,-14 0 0,0 1 0,0-1 15,0 13-15,0-13 0,0 1 16,0-1-16,0 13 0,-14-12 16,14-1-16,0 0 0,-13 0 0,13 1 15</inkml:trace>
  <inkml:trace contextRef="#ctx0" brushRef="#br0" timeOffset="115617.06">21537 11417 0,'-66'53'15,"53"-27"-15,-1-26 16,14 13-16,0 1 0,-13-14 0,13 13 15,13 0-15,1 0 16,-1-13-16,27-26 16,-27 13-1,-13-1-15,13 14 0,0-13 16,1 0-16,-14 0 0,13-1 0,-13 1 16,13 0-16,0 0 15,-13 0 1,0 39 15,13-13-15,1-13-1,25-13 1,-25 13 0,-1-13-16,13 0 0,1-1 15,-14 1-15,13-13 0,-12 12 16,-1 14-1,-13-13-15,13 13 0,-13-13 0,13 0 16,-26 39 15,13 1-15,0-14-16,13-13 16,-13 13-16,14 0 15,-1-13-15,0 0 16,14 0-16,-14 0 0,0-13 15,0 13-15,0-13 16,1 0-16,-1 13 0,-13-14 16,13 14-16,-13-13 15,13 26 17,1 1-17,-1-1 1,0-13-1,13 0 1,-12-13 0,-1-1-1,0 14 1,14 0 15,-14 14-15,0-14-16,0-14 15,1 1-15,-14 0 16,13 13-16,-13-13 0,13-1 16,-13-12-16,13 13 0,-13-14 15,13 14-15,-13-13 0,14-1 0,-1 14 16,-13 0-16,0-1 0,13 1 16,-13 0-16,27 26 15,-27 0-15,0 1 0,13-1 16,-13 13-16,0 1 0,0-1 15,0 1-15,13-1 0,-13 1 16,0 26-16,0-27 0,-13-13 16,13 1-16,13-1 0,-13 0 0,0 0 31,0-39-31,0 13 16,13-1-16,-13-12 0,14-14 0,12 14 15,-13-1-15,14 1 0,-1-1 16,1 14-16,-14 13 0,13-13 15,-26 26-15,13-13 0,1 13 16,-14 1 0,0-1-16,-14 13 0,1-13 0,13 1 15,-26 12-15,13 1 0,-14-1 0,14 1 16,-14-14-16,1 13 16,-27 1-16,27-14 0,-14 0 15</inkml:trace>
  <inkml:trace contextRef="#ctx0" brushRef="#br0" timeOffset="116627.82">21034 13084 0,'0'-14'31,"0"1"-15,0 0-16,0 0 15,-13-14-15,13 14 0,-13-13 0,0-1 16,-14-52-16,14 52 0,-13-52 15,-1 52-15,14-12 16,0 12-16,-1 1 0,1-1 16,0 14-16,13 0 0,-13 0 0,-1-1 0,14 1 15,-13 0-15,13 0 16,0 0-16,-13 13 0</inkml:trace>
  <inkml:trace contextRef="#ctx0" brushRef="#br0" timeOffset="116912.98">20836 12409 0,'-66'53'0,"66"-27"16,-13 1-16,-1-14 0,14 13 16,-13-12-16,0 25 0,13-25 15,0-1-15,0 0 0,-13 0 16,13 1-16,-14 12 15</inkml:trace>
  <inkml:trace contextRef="#ctx0" brushRef="#br0" timeOffset="117105.37">20664 12541 0,'0'-13'15,"13"13"1,0 0-16,14 0 15,-14 0-15,27 13 0,-14-13 16,1 0-16,-14 0 0,40 13 16,-40-13-16,27 14 15,-27-14-15,0 0 0,14 0 16,-14 0-16,0 0 0,0 0 16,1 0-16</inkml:trace>
  <inkml:trace contextRef="#ctx0" brushRef="#br0" timeOffset="122266.06">20677 12607 0,'-26'14'16,"13"-1"-16,13 0 31,-14-13-15,28-26 15,-1-1-15,-13 14-16,13 13 15,-13-13-15,13 13 16,-13-14-16,13 14 0,1 0 15,-1 0-15,0 0 16,0-13-16,1 13 0,12 0 16,0 0-1,-12 0 1,-1 13-16,0-13 16,0 0-1,1 14 1</inkml:trace>
  <inkml:trace contextRef="#ctx0" brushRef="#br0" timeOffset="125680.4">20638 12118 0,'436'-159'16,"-383"133"-16,13 12 16,-13-12-16,13 13 0,-13-14 0,0 14 15,-13 0-15,-1 0 0,1-1 16,-13 1-16,-1 0 0,-13 13 0,0-13 15,1 13-15,-1 0 0,0-13 16</inkml:trace>
  <inkml:trace contextRef="#ctx0" brushRef="#br0" timeOffset="126323.3">20571 12091 0,'119'-39'16,"-79"26"-16,13-1 0,13 1 0,80-27 16,-80 27-16,13-13 0,133-27 15,-106 13-15,13 14 0,-13-1 16,-1-12-16,1 12 0,-13 1 15,13-14-15,0 13 0,-27 1 16,0 13-16,80-40 0,-93 26 16,0 14-16,0-13 0,1 12 0,-14-12 15,39-14-15,-52 27 16,0 0-16,26-27 0,-27 27 16,-12-14-16,-1 14 0,1 0 15,-14-13-15,0 12 0,0 1 0,14 0 16,-14-14-16,0 14 0,-13 0 0,14-14 15,-1 14-15,-13 0 16,13-13-16,-13 12 0,0 1 0,0-13 16,-13-14-16,13 27 0,-13-14 0,-1 1 15,-12-14-15,-1 14 0,14-1 16,-26 1-16,12-1 0,-13-12 16,-13 12-16,14 1 0,-1-1 0,-13 1 15,0-1-15,-13 1 0,-79-1 16,65 1-16,1 26 0,-1-13 15,-105 0-15,79 13 0,14 0 16,-14 0-16,0 0 0,-26 0 16,0 13-16,-1 0 0,14 13 0,-13-12 15,-119 52-15,131-40 16,-12 27-16,13-13 0,0 13 16,-132 66-16,145-53 0,-13 0 0,13 13 15,13 1-15,1-1 0,26 1 16,-14 12-16,27-12 0,14-1 15,-1-13-15,27 0 0,0-13 0,13 0 16,13-13-16,0-1 0,13 14 16,14-26-16,13-1 0,13 1 0,0-27 15,0 13-15</inkml:trace>
  <inkml:trace contextRef="#ctx0" brushRef="#br0" timeOffset="126845.33">23045 10782 0,'27'-13'15,"-14"-1"-15,13 14 0,-12 0 16,-1-13-16,13 13 0,-12-13 0,-1 13 16,13-13-16,-13 13 0,1-14 0,12 14 15,-13-13-15,1 13 0,-1-13 16,0 13-16</inkml:trace>
  <inkml:trace contextRef="#ctx0" brushRef="#br0" timeOffset="127100.3">23283 10530 0,'14'-13'0,"-1"13"0,0 0 16,0 0-16,0 0 0,1 0 0,25 13 15,-25-13-15,-1 14 16,0-14-16,0 13 0,1 0 0,-14 0 15,13 1-15,-13-1 0,0 13 0,13-13 16,-13 1-16,-13-1 0,13 0 16,0 0-16,0 1 0,0-1 15,-13 0-15,13 0 0,0 1 0</inkml:trace>
  <inkml:trace contextRef="#ctx0" brushRef="#br0" timeOffset="127349.02">23680 10319 0,'13'26'16,"-13"-13"-1,14 1-15,-14-1 0,0 13 0,0 1 16,13 13-16,-13-27 16,13 40-16,-13-27 0,0-13 15,13 14-15,-13-14 0,0 0 16,0 0-16,14 1 0,-14-1 16</inkml:trace>
  <inkml:trace contextRef="#ctx0" brushRef="#br0" timeOffset="127568.28">23561 10623 0,'40'-53'0,"-27"53"16,0-13-16,14 0 0,-14 13 0,13-14 15,-12 14-15,12-13 0,-13 13 0,1-13 16,-1 13-16,13 0 16,-13-13-16,1 13 15</inkml:trace>
  <inkml:trace contextRef="#ctx0" brushRef="#br0" timeOffset="127857.15">23852 10451 0,'27'13'16,"-14"14"0,0 12-1,-13-25-15,0-1 0,13-13 16,-13 13-16,0 0 0,0 1 16,0-1-16,0 0 15,14-26 16,-1 0-15,-13-14 0,13 27-16,-13-13 0,13-14 31,0 1-15,1 26-16</inkml:trace>
  <inkml:trace contextRef="#ctx0" brushRef="#br0" timeOffset="128685.27">24077 10411 0,'0'-13'0,"-13"40"31,13-14-16,0 13-15,0-12 16,0-1-16,0 0 16,13 0-1,14-26 1,-14 13 15,-13-13-15,13 26-1,-13 13 1,13-12 0,0-14-1,-13 13-15,27-26 16,-14 13-16,0-14 0,1 1 16,-14 0-16,13 0 0,0 0 15,0-14-15,-13 14 0,14-14 16,-14 1-16,13-1 0,-13 1 0,13 13 15,-13-27 1,-13 53 15,13 14-31,0-14 16,0 0-16,0 0 0,0 14 0,0-14 16,13 0-16,-13 1 0,13-1 15,0 0-15,1-13 16,-1 0-16,0 0 15,14-26-15,-14 26 16,-13-14-16,13-12 0,0 13 0,1-14 16,-1 1-16,-13-14 0,13 14 15,-13-1-15,13 1 0,-13 12 0,13-25 16,-13 26-16,0-1 16,0 1-16,0 0 15,-13 39 1,13-12-16,0-1 15,-13 0-15,13 0 0,0 0 0,-13 1 16,13 25 0,-13-25-16,13-1 0,0 0 15,0 0-15,0 1 0,0-1 16,13-13-16,-13 13 16,0 0-16,13-13 0,-13 13 0,13-13 15,0 14-15,1-14 0,-1 0 0,0 13 16,0-13-16,1 0 15,-1 0-15,0 0 0,0 0 16,-13-13-16,13 13 16</inkml:trace>
  <inkml:trace contextRef="#ctx0" brushRef="#br0" timeOffset="128872.09">24236 10319 0,'66'-27'16,"-53"27"-16,14-13 0,12 13 15,-12-13-15,52 0 0,-26-1 16,-26 14-16,-1-13 0,27 13 31,-40 0-31</inkml:trace>
  <inkml:trace contextRef="#ctx0" brushRef="#br0" timeOffset="129275.33">23945 10808 0,'159'-53'0,"-120"40"0,1 0 16,0 0-16,-14-1 0,14 14 15,-14-13-15,-13 13 0,14-13 0,-14 13 16,14 0-16,-14 0 0,-13-13 15</inkml:trace>
  <inkml:trace contextRef="#ctx0" brushRef="#br0" timeOffset="129476.29">24051 10835 0,'39'-27'16,"41"1"0,-54 26-16,-13-13 15,14 13-15,-1-14 0,14 1 16,-14 13-16,1-13 0,-14 13 0,0-13 16</inkml:trace>
  <inkml:trace contextRef="#ctx0" brushRef="#br0" timeOffset="130548.36">22212 11933 0,'26'13'16,"-13"13"0,1-12-16,-1 12 15,-13-13-15,13 1 0,0-1 16,-13 13-16,14-13 0,-14 1 15,0-1-15,0 0 0,0 0 16</inkml:trace>
  <inkml:trace contextRef="#ctx0" brushRef="#br0" timeOffset="130798.02">22225 11933 0,'-13'13'16,"0"0"-1,-1 0-15,14 1 0,-13-1 16,13 0-16,-13 14 0,0-14 15,-1 13-15,1-13 0,13 1 0,-13-1 16,13 0-16,-13 0 0</inkml:trace>
  <inkml:trace contextRef="#ctx0" brushRef="#br0" timeOffset="130968.26">22199 11972 0,'52'0'16,"-38"0"-16,-1 0 0,0 0 0,0 0 16,1 14-16,-1-14 0,13 0 15,-12 0-15,-1 0 0,13 0 0,-13 0 16,1 0-16</inkml:trace>
  <inkml:trace contextRef="#ctx0" brushRef="#br0" timeOffset="132490.6">21630 13361 0,'13'27'31,"-13"-14"-31,0 0 0,0 14 16,13-1-16,-13 1 0,13 12 16,-13-12-16,0-1 0,14 1 0,-14-1 15,0 14-15,13-27 16,-13 0-16,0 1 0,0-1 16,0 0-16,0 0 0</inkml:trace>
  <inkml:trace contextRef="#ctx0" brushRef="#br0" timeOffset="132693.96">21749 13322 0,'-13'-27'0,"13"14"16,13 40-16,-13-14 15,13 13-15,-13-13 16,13 14-16,0-1 0,1 1 0,-1-1 15,0 1-15,0-1 0,14 14 16,-27-27-16,26 27 0,-26-27 16,0 0-16,0 0 0,14-13 15</inkml:trace>
  <inkml:trace contextRef="#ctx0" brushRef="#br0" timeOffset="132882.21">21643 13626 0,'40'-40'16,"-14"27"-16,-13 0 15,1 13-15,-1-13 0,26 13 16</inkml:trace>
  <inkml:trace contextRef="#ctx0" brushRef="#br0" timeOffset="133193.14">22040 13428 0,'-66'53'0,"66"-40"16,-14 0-16,1-13 0,13 13 0,0 0 15,0 1-15,27-14 32,-27-14-32,13 14 0,0-13 15,-13 0-15,13 13 0,1-13 16,-14 0-16,13 13 0,0 0 16,0 0-1,-13 13 1,13-13-16,-13 13 0,14-13 15,-14 13-15,13-13 16,-13 13-16,13-13 0,0 0 16,1 0-16,-14-13 15</inkml:trace>
  <inkml:trace contextRef="#ctx0" brushRef="#br0" timeOffset="133466.23">22238 13256 0,'0'-14'16,"13"14"0,1 0-16,-1-13 0,13 13 15,-12 0 1</inkml:trace>
  <inkml:trace contextRef="#ctx0" brushRef="#br0" timeOffset="134941.24">19354 13203 0,'27'0'0,"-14"0"16,40 0-16,0 0 16,53 13-16,-40-13 0,0 13 15,0 0-15,0-13 0,14 14 16,-1-14-16,0 13 0,14-13 0,-14 13 16,1-13-16,12 0 0,-12 0 15,-1 13-15,0-13 0,1 0 16,-27 0-16,13 0 0,26 0 15,-52 14-15,-13-14 0,26 0 0,-40 0 16,0 13-16,0-13 16</inkml:trace>
  <inkml:trace contextRef="#ctx0" brushRef="#br0" timeOffset="135197.07">20717 13097 0,'40'0'16,"-27"13"-16,0-13 16,0 13-16,40 27 0,-26-14 15,-1 1-15,14 26 16,-14-13-16,-13 26 0,1-40 15,-14 14-15,0 13 0,-14 13 16,1-40-16,13 1 16,0-14-16,-13 0 0,13 0 0,0 1 15</inkml:trace>
  <inkml:trace contextRef="#ctx0" brushRef="#br0" timeOffset="135904.39">22357 13189 0,'53'-13'15</inkml:trace>
  <inkml:trace contextRef="#ctx0" brushRef="#br0" timeOffset="136096.43">22371 13375 0,'39'-14'0,"-26"14"16,1-13-16,-1 0 0,0 0 0</inkml:trace>
  <inkml:trace contextRef="#ctx0" brushRef="#br0" timeOffset="136761.32">22662 12925 0,'13'26'16,"-13"-12"-16,0 12 15,13-13-15,-13 14 0,13 26 32,-13-40-32,0 0 0,0 0 15,0 1-15,13-14 0,-13 13 16,14-40 0,-14 14 15,13 13-16,0 0 1,14 0 0,-14 0-16,0 0 15,0 0-15,1-13 0,-1 13 16,0 0-16,0-13 0,0 13 0,1-14 16,-1 14-16,0-13 0,0 0 15,-13 0-15,14 0 16,-14-1-16,-14 41 47,14-1-16,14-13-31,12-13 16,-13 0-16,1 0 15,12 0-15,-13 0 0,0-13 16,1 13-16</inkml:trace>
  <inkml:trace contextRef="#ctx0" brushRef="#br0" timeOffset="137393.6">23416 12687 0,'0'66'16,"0"-53"-16,0 0 0,0 27 16,0-27-16,0 1 15,13-1-15,-13 0 0,0 0 16,13 14-16,0-14 0,-13 0 31,-26-26 0,13 13-31,-1 13 16,1-13-16,0 0 0,0 13 16,-1-13-16,14 14 15,-13-14-15,13 13 0,-13 0 0,13 0 16,0 1 0,13-1-1,0-13-15,1-13 0,-1 13 16,0 0-16,14-14 0,-14 14 0,0-13 15,0 0-15,1 0 0,-1 13 0,13-14 16,-13 1 0,14 13-1,-14 13-15,-13 1 16,13-14-16,-13 13 16,14 0-16,-1 0 15</inkml:trace>
  <inkml:trace contextRef="#ctx0" brushRef="#br0" timeOffset="137529.12">23627 12806 0</inkml:trace>
</inkml:ink>
</file>

<file path=ppt/ink/ink18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20:49.574"/>
    </inkml:context>
    <inkml:brush xml:id="br0">
      <inkml:brushProperty name="width" value="0.05292" units="cm"/>
      <inkml:brushProperty name="height" value="0.05292" units="cm"/>
      <inkml:brushProperty name="color" value="#0070C0"/>
    </inkml:brush>
  </inkml:definitions>
  <inkml:trace contextRef="#ctx0" brushRef="#br0">4405 11046 0,'-13'0'0,"0"14"16,0 12-1,-1-13 1,14 14-16,-26 26 16,13-27-16,-1 1 0,14-1 15,-26 40-15,26-53 16,-13 1-16,13 12 0,-13-13 0,13 14 16,0-14-1,-14 0-15</inkml:trace>
  <inkml:trace contextRef="#ctx0" brushRef="#br0" timeOffset="223.58">4141 11152 0,'-13'0'0,"13"-13"0,39 39 31,-26-12-31,1-14 16,25 39 0,-12-25-16,-14-1 0,0 0 0,0 0 0,14-13 15,-1 27 1,-12-27-16,-1 13 0,0-13 0,-13 13 0,13-13 16</inkml:trace>
  <inkml:trace contextRef="#ctx0" brushRef="#br0" timeOffset="613.27">4511 11060 0,'-13'0'0,"26"26"31,-13-13-31,13-13 0,-13 13 0,14 1 15,12-1 1,-13-13-16,14 0 16,-14 0-1,13-13-15,-12 13 0,-1-14 0,0 1 16,0 13-16,-13-13 0,14 13 16,-14-13-16,0 0 15,-14 39 16,-25 53-15,25-65 0,14 12-16,-13 1 0,13-1 0,-13-13 15,13 14-15,-13-14 0,13 13 0,0-12 16,0-1-16,0 13 16,0-12-16</inkml:trace>
  <inkml:trace contextRef="#ctx0" brushRef="#br0" timeOffset="1018.42">4842 11165 0,'0'-26'16,"13"26"-16,14-27 15,-14 27 1,13 27 0,-13-27-16,-13 13 0,0 0 15,14 1-15,-14-1 0,0 40 16,0-40-16,0 0 15,-14 0-15,28 14 16,-14-14-16,0 0 0,0 1 0,13-1 16,0 0-1,0 0-15,1-13 16,12 0 0,-13 0-16,1 0 15,12-13-15,-13 0 16,0 13-16</inkml:trace>
  <inkml:trace contextRef="#ctx0" brushRef="#br0" timeOffset="1220.99">4815 11324 0,'-13'0'0,"53"0"31,-14 0-15,27 0-1,-40 0-15,27-13 16,-27 13-16,14 0 0,-14 0 0</inkml:trace>
  <inkml:trace contextRef="#ctx0" brushRef="#br0" timeOffset="3119.31">7276 10914 0,'0'40'15,"0"-1"1,0-12-16,13 26 16,-13 26-1,0-66-15,0 54 0,0-41 16,0-13-16,13 27 31,1-27-31,-14 0 0,13-13 0</inkml:trace>
  <inkml:trace contextRef="#ctx0" brushRef="#br0" timeOffset="4091.87">7713 11073 0,'-27'-13'0,"14"13"31,-14 13-16,1 53 1,26-40 0,0 14-16,0-27 15,13 27 1,0-40-16,-13 13 0,14-13 16,-1-13-1,0 0 1,-13 0-16,0-14 15,0 14 1,13-27-16,-13 27 16,0 0-16,14-1 15,-1 14 1,13 0 0,-12 14-16,-1-14 0,0 13 15,27 13 1,-27-12-16,-13-1 0,13 0 0,0-13 15,-13 13-15,14 14 16,-1-14-16,-13 0 0,0 0 16,13-13-1,-26-26 17,26 0-17,-13 12-15,0 1 0,0 0 16,0 0-16,13-1 15,1-39-15,-1 53 0,-13-13 16,26 0 0,-13 13-16,14 0 15,-14 0-15,14 0 16,-27 13-16</inkml:trace>
  <inkml:trace contextRef="#ctx0" brushRef="#br0" timeOffset="4633.28">8242 11007 0,'-40'0'16,"14"0"-16,26 13 15,-14-13-15,1 13 0,13 0 16,0 14-1,0-14 1,13 13-16,-13-12 0,0-1 16,14 27-1,-14-27-15,0 0 0,0 0 0,0 1 0,-27 25 16,14-26 0,-14 14-1,14-14 1,0-13-16,13-13 31,26-27-15,-12 27-16,52-40 15,-53 27-15,14-1 0,25-39 32,-38 53-32,-1 0 0,0-1 15,-13 1 1,-13 40 15,0-14-15,13 0-16,0 0 0,13 0 15,-13 1 1,13-14-16,0 13 0,1-13 16,39 0-16,-27 0 15,-13 0-15,14 0 0,12-13 16</inkml:trace>
  <inkml:trace contextRef="#ctx0" brushRef="#br0" timeOffset="5493.64">9155 10623 0,'0'26'0,"0"27"15,0-13-15,0-13 16,0 12-16,0 1 0,0 53 15,13-14 1,-13-66-16,13 40 16,0-53-16,-13 13 0,0 0 15,14-13 1,-41-13 0,14 13-16,13-13 0,-27 13 15,14-13-15,0 13 16,0 0-16,-14 0 15,-39 13 1,53-13-16,-27 26 16,27-12-16,0-1 15,13 13-15,0-12 16,13-1 0,0-13-16,0 0 0,1 0 15,12 0-15,1 0 16,-14 0-16,66-27 15,-39 14-15,-14 0 0,-12 0 0,25-1 16,-12 1-16,-14 13 0,40-26 16,0-14-1,-40 40 1,-13-13-16,13 13 16,-13-13-1,-13 26 16,13 13-15,0-12-16,13 12 31,0-26-31,1 13 0,-1-13 16,27-13 0,-27 13-16,13-13 15,-13 0-15,1-1 0,-14-12 16,0 13-1,-27-1 1,14 1-16,-13 13 16,12 0-1,1 0 1,13 13 0</inkml:trace>
  <inkml:trace contextRef="#ctx0" brushRef="#br0" timeOffset="6109.82">9723 10901 0,'-39'13'0,"26"0"16,-1 1 0,14-1-16,0 0 15,14 27 1,-14-27-16,13 27 15,-13-27 1,0 26-16,0-25 16,-13-1-16,13 0 0,-14-13 0,-12 27 31,13-14-31,-1-13 16,28-27 15,52-39 0,-40 40-31,1 13 0,-14-1 16,0-12-16,0 13 0,1 13 0,12-40 31,0 27-31,-26 0 16,14 13-16,-1 0 15,0 0-15,0 26 16,-13-13-1,14 0 1,-14 1-16,0-1 0,0 0 16,-14 0-1</inkml:trace>
  <inkml:trace contextRef="#ctx0" brushRef="#br0" timeOffset="7783.34">10795 10835 0,'0'-14'15,"-13"14"1,0 0-16,-1 0 15,1 27 1,0-14-16,-14 27 16,14 0-1,13-27-15,-13 0 0,13 0 16,0 0-16,0 1 0,13-14 0,-13 13 16,13 0-16,1-13 15,12 0 1,-26-13-1,13 13-15,-13-13 0,14-1 0,-14 1 0,13 13 16,-13-13-16,13 0 0,-13 0 0,13-1 16,-13 1-1,0 0-15,13 0 32,1 39-17,-1-13 1,-13 1-16,13-1 15,-13 0-15,13 0 16,1 0 0,-1-13-16,0 0 15,0 0-15,1 0 16,-1-13-16,0 0 16,0 0-16,-13 0 0,13-1 0,1 1 15,-14 0-15,0 0 16,13 13-16,-13-14 0,0-12 15,0 13 1,13 13-16,-13-14 16,0 41 31,0-1-32,0-12-15,13-1 0,1 0 16,-1 0-1,0-13-15,13 14 32,-12-14-32,-1-14 0,0 14 15,0 0-15,1 0 16,-14-13-16,13 13 0,0-13 16,0 0-1,1-1-15,-1 1 16,-13 26 62,0 1-78,13-1 0,0-13 16,0 13-16,1-13 15,-1 0-15,0 0 0,40 0 31,-26 0-31,-1-13 0,-13 13 16</inkml:trace>
  <inkml:trace contextRef="#ctx0" brushRef="#br0" timeOffset="9528.17">12065 10782 0,'-53'0'15,"13"13"-15,27-13 0,13 13 16,-13 0-1,39 14 1,-12-14-16,-1 0 16,0-13-16,-13 14 0,13-1 0,1 0 15,-1 0-15,0 1 0,-13 12 16,0-13-16,0 0 0,0 1 0,0 12 16,-13-13-1,0 1-15,-1-1 0,14 0 0,-13-13 0,0 13 16,0-13-16,13 13 0,-14-13 0,1 0 15,13-13 1,13 0 0,-13 0-16,14 13 0,-1-27 15,13 14-15,-12 0 0,12-14 0,0 14 16,1-13-16,-14 13 0,0-1 0,27-12 31,-40 13-31,13 13 0,-13-14 0,14 14 0,-1-13 16,-13 40 31,0-14-32,13 0-15,0 0 16,14-13 0,-14-13-1,0 13 1,0-13-16,-13 0 15,0-1-15,0 1 16,-13 13 0,0 0-16,0-13 15,13 26-15,-14-13 16,1 0 0,40 0-1,-1 0 1,-13 0-1,40-13-15,-40 0 0,1 13 0,-1 0 16,0-14-16,0 14 0,1-13 16,-14 26 31,0 1-32,0-1-15,13 0 16,0-13-1,0 13 1,1-13 0,12 0-16,-13-13 15,14 0 1,-14 0-16,-13-1 31,-13 28 16,-1-1-31,14 0-16,14 0 31,-1 1-15,0-28-16,14 14 15,-14 0 1,13-26-1,-12 13-15,-1-1 16,0 1 0,-13 0-16,13 13 0,-13-13 0,13 0 15,-13-1-15,14 1 16,-1 0 0,-13 0-1,0-1 1,13 14-1,-26 14 48,13-1-47,-13-13-16,13 26 15,-14-12 1,14-1-16,0 0 0,0 0 0,0 0 15,0 1 1,14-14-16,-14 13 0,13-13 16,0 0-16,0-13 15,1 13-15,-1-14 0,0 1 16,14-13-16,-27 13 16,13-14-16,-13 14 0,0-14 0,13 1 0,-13-1 15,0 1-15,0-40 16,0 53-16,-13-1 15,13 1-15,0 0 16,-27 39 0,27-12-16,0-1 15,0 0-15,0 14 0,0-1 0,0 14 16,14-14-16,12 40 16,-26-52-16,13-1 15,0 13-15,54 27 16,-41-40-1,1-13-15,12 14 0</inkml:trace>
  <inkml:trace contextRef="#ctx0" brushRef="#br0" timeOffset="10252.4">13600 10755 0,'-14'-13'16,"1"13"-1,0 13-15,0-13 0,-1 27 16,1-14-1,13 0-15,-13-13 0,26 27 16,0-14 15,14-26-15,-14 13-16,0 0 16,14 0-1,-14 0 1,13 13-1,1-13 1,13-13 0,-27-1-16,0 1 0,40-53 15,-40 26 1,0 14-16,-13 13 16,14-40-16,-14 40 15,0-1-15,0 1 16,13 40-1,0 25 1,-13-38-16,13 12 16,14 40-1,-14-52-15,0-1 0,1 0 0,-1 0 16,0-13-16,0 0 16,14 0-1,-27-13-15,13 0 16</inkml:trace>
  <inkml:trace contextRef="#ctx0" brushRef="#br0" timeOffset="10450.36">13705 10676 0,'40'0'31,"39"-13"-16,-39-1-15,0 14 0,39-26 16,-52 26-16,-1 0 16,40-13-16,-26 13 15</inkml:trace>
  <inkml:trace contextRef="#ctx0" brushRef="#br0" timeOffset="10928.92">14870 10544 0,'-27'0'0,"1"13"16,12 0 0,14 0-16,-13 1 0,0 12 0,13-13 0,-13 40 15,13-40 1,0 1-16,0-1 0,0 0 0,13 0 16,13 14-1,-12-27-15,-1 0 0,13 13 16,1-13-16,-14 0 0,13-13 15,41 13 1,-54-13-16,27-1 0,-14 14 0</inkml:trace>
  <inkml:trace contextRef="#ctx0" brushRef="#br0" timeOffset="11676.26">15253 10649 0,'-13'-26'0,"0"26"15,0 0 1,-1 0-16,1 13 0,0-13 15,0 13 1,-1 1-16,14-1 0,-26 27 31,26-27-31,0 0 16,0 0-16,13-13 0,0 0 16,1 0-16,12-13 15,1 0 1,-14 13-1,0-13 1,-13 26 0,13-13-1,-13 13-15,13-13 0,1 13 16,-1-13-16,13-13 16,-12 13-16,25-26 15,-25 12-15,-1 1 16,0 0-16,13-40 15,-12 13-15,-1-13 32,-13 14-17,13 78 17,-13-25-32,0-1 15,0 0-15,0 0 0,0 1 0,13 25 16,-13-26-16,14 1 15,-14-1-15,13 0 16,-13 0-16</inkml:trace>
  <inkml:trace contextRef="#ctx0" brushRef="#br0" timeOffset="12837.57">15399 10597 0,'26'0'0,"-13"-14"16,14 14 0,-14 0-16,0 0 0,14 0 0,65-26 31</inkml:trace>
  <inkml:trace contextRef="#ctx0" brushRef="#br0" timeOffset="13316.6">15822 10491 0,'-79'13'0,"65"0"0,1 0 15,0 14-15,0-14 16,13 0-16,0 1 16,0-1-16,13 0 15,13 13-15,-12-26 16,-1 0-16,0 0 0,0 0 15,1 0-15,-1 0 0,0 0 0,27-26 16,-27 26 0,0-13-16,-13 0 0,27-1 15,-27-12 1,13 13-16,-13-1 0,0 1 0,13 0 16,-13 0-16,0 0 0,0-1 15,0 1 1,0 0-16,0 39 47,-13 1-32,13-14-15,0 13 16,0-12-16,0-1 0,0 0 0,13 0 16,-13 1-1,13 12 1,1-13-1,-1-13-15,13 0 16,-12 0 0,12 0-16,-13 0 15</inkml:trace>
  <inkml:trace contextRef="#ctx0" brushRef="#br0" timeOffset="13936.38">16536 10345 0,'0'-13'0,"14"39"16,-14-12-1,0-1-15,0 13 0,0-12 16,13 12-16,-13 1 0,0 39 15,0-40-15,0-13 0,0 14 16,0-14-16,0 13 0,0 1 16,0-14-16</inkml:trace>
  <inkml:trace contextRef="#ctx0" brushRef="#br0" timeOffset="14116.68">16391 10663 0,'-27'-27'0,"54"14"16,-14 13-16,0-13 16,14 13-16,-1-13 15,54-14-15,-54 27 16,1-13-16,-1 13 0,1 0 0,-1 0 16,40-13-1,-39 13-15</inkml:trace>
  <inkml:trace contextRef="#ctx0" brushRef="#br0" timeOffset="14921.04">16933 10729 0,'27'-40'15,"-14"27"-15,-13 0 16,0-1-16,0 1 0,0-13 16,-13 26-16,13-13 15,0-1 1,-13 14-16,-1 14 16,1-14-16,13 13 15,0 0-15,-13-13 0,13 13 16,0 14-16,13-14 15,-13 0 1,13-13 0,1 0-16,-1 0 15,0-13-15,0 13 16,-13-13-16,13-1 0,1 1 16,12 0-16,-13 0 15,1 0-15,-1 13 16,0 0-1,0 0-15,1 0 0,-1 0 0,0 13 16,0-13-16,-13 13 16,27 13-1,-27 1 1,0-14 15,13-39 0,0-1-15,0 27-16,-13-13 0,14 13 16,12 0-1,-13-13-15,1 13 0,-1 13 16,13-13-16,-13 13 16,1-13-16,12 27 15,-26-14 1,13 0-1,1-13 1</inkml:trace>
  <inkml:trace contextRef="#ctx0" brushRef="#br0" timeOffset="15314.19">17476 10557 0,'0'13'16,"13"0"0,-13 1-16,0-1 0,0 0 15,0 0 1,13-13-1,-13 13-15,13-26 32,1 0-32,-1 0 31,13 13-15,-12 13-16,-1-13 0,13 13 15,-13-13 1,-13 13-16,14-13 0,-1 14 15,0-14 1,-13 13-16,13-13 0,1 0 16,-1-13-1</inkml:trace>
  <inkml:trace contextRef="#ctx0" brushRef="#br0" timeOffset="15456.8">17833 10557 0,'0'13'62,"-13"0"-46</inkml:trace>
  <inkml:trace contextRef="#ctx0" brushRef="#br0" timeOffset="15587.82">17767 10411 0,'0'-13'15,"-13"13"-15</inkml:trace>
  <inkml:trace contextRef="#ctx0" brushRef="#br0" timeOffset="15869.35">17965 10438 0,'-13'13'0,"13"0"0,13 1 16,-13-1-1,0 0-15,13 13 16,-13-12 0,0 12-16,0-13 15,-13-13 1,0 14-16,0-14 31</inkml:trace>
  <inkml:trace contextRef="#ctx0" brushRef="#br0" timeOffset="16336.36">18455 10266 0,'13'40'0,"0"-27"0,-13 0 16,13 53-1,-13-26-15,0-27 0,0 0 16,0 1-16,0 25 15,0-26-15,14 1 16,-1-28 15,-13 1-31,26-13 16,-12 26-16,-1-13 0,0 13 16,0 0-16,0 0 15,1 0-15,-1 13 16,0-13-16,-13 13 15,-13 0-15,-14 14 16,14-14-16,0 0 16,0-13-16</inkml:trace>
  <inkml:trace contextRef="#ctx0" brushRef="#br0" timeOffset="17453.22">19090 10438 0,'-27'-13'0,"1"13"16,13 0-1,-14 0 1,27 13-16,-13-13 0,13 13 16,-13-13-16,-1 13 0,1 1 15,0-1-15,13 0 16,-13 0-16,26 0 16,0-13-1,0 0 1,1 0-16,-1-13 0,0 13 15,0-13-15,1 0 16,-1 13 0,-13-13-16,13 26 15,0 0 1,-13 0 0,27 0-1,-14 1-15,0-14 16,27 0-1,-27-14-15,0 14 16,14-26 0,-14 13-16,13-40 15,-26 40-15,0-14 0,14 14 0,-14 0 16,0-14-16,0 14 0,0 0 0,13 13 16,-13-13-16,0-1 0,0 1 15,0 40 16,-13 12-15,13-26-16,0 1 16,0-1-16,0 0 0,13 0 0,-13 1 15,0-1-15,13 0 0,0 0 16,1 1-16,-1-14 0,0 13 16,14-13-1,-14-13-15,0 13 0,27-27 16,-27 14-1,-13 0-15,13-14 16,-13 14-16,13 0 0,-13-14 16,0 14-1,-13 26 17,0 27-17,13-27-15,0 0 0,0 1 16,0-1-16,0 0 15,13 14-15,0-27 16,1 0-16,-1 0 0,0 0 0,0 0 16,0-14-16,1 14 0,-1 0 15,0 0-15,0-13 0,1 13 0,-1 0 16,0 0-16,0 0 0,1 0 0,-1 0 16,0 13-1,-13 1 1,0-1-16,-13 0 15,0-13-15,-14 26 16,14-12-16</inkml:trace>
  <inkml:trace contextRef="#ctx0" brushRef="#br0" timeOffset="17581.28">19936 10411 0,'14'-13'0</inkml:trace>
  <inkml:trace contextRef="#ctx0" brushRef="#br0" timeOffset="18928.59">3321 11232 0,'-14'-14'0,"-12"41"16,13 26 0,-1-27-16,-12 40 0,13-39 15,-1 12-15,1 1 0,0-13 16,0 12-16,-14-12 0,14 12 15,0-12-15,13-1 0,-13-12 0,13-1 16,-14 0-16,14 0 16</inkml:trace>
  <inkml:trace contextRef="#ctx0" brushRef="#br0" timeOffset="19092.36">3003 11377 0,'53'66'0,"-40"-39"0,53 65 16,-52-65-1,65 52-15,-53-52 16,1-14-16,-1 0 0</inkml:trace>
  <inkml:trace contextRef="#ctx0" brushRef="#br0" timeOffset="20102.43">3109 11377 0,'-13'13'0,"13"1"0,0-1 0,0 13 16,0 1-16,0-1 0,13 106 16,-13-92-16,13 0 15,-13-14-15,0 14 0,0-14 16,13 41-16,-13-54 16,0 0-16</inkml:trace>
  <inkml:trace contextRef="#ctx0" brushRef="#br0" timeOffset="20297.97">2871 11734 0,'0'-13'16,"53"0"-1,-27 0-15,1 13 0,92-40 16,-66 40-16,-1-13 15,-12-1-15,26 1 0,0 13 0,53-39 16,-52 25-16</inkml:trace>
  <inkml:trace contextRef="#ctx0" brushRef="#br0" timeOffset="20909.56">5649 11165 0,'26'-13'31,"40"0"-15,-39 13-16,-1 0 0,14-13 0,0 13 16,-14-14-16,67 1 15,-67 13-15,1-13 0,-1 13 16,-13 0-16,1 0 0,12-13 16,-13 13-16,1 0 0,12 0 15,-13 0-15,0-13 31</inkml:trace>
  <inkml:trace contextRef="#ctx0" brushRef="#br0" timeOffset="21218.85">5940 10901 0,'53'13'0,"13"0"16,-26 1-16,-1-1 0,1-13 16,0 13-16,-1 0 0,1 0 0,-13 14 15,-1-14-15,67 80 31,-93-67-31,0-13 0,0 14 0,0 13 0,-14-14 16,-52 80 0,40-80-16,-1 1 0,1-1 0,-1 1 15,-26 26 1,40-40-16,-13 0 0,13-13 0</inkml:trace>
  <inkml:trace contextRef="#ctx0" brushRef="#br0" timeOffset="24031.53">16100 10530 0,'13'40'15,"-13"-27"-15,0 1 0,13-1 0,-13 0 16,0 0-1,0 0-15</inkml:trace>
  <inkml:trace contextRef="#ctx0" brushRef="#br0" timeOffset="24182.23">16100 10478 0</inkml:trace>
  <inkml:trace contextRef="#ctx0" brushRef="#br0" timeOffset="24541.39">16206 10517 0,'0'13'0,"0"1"15,0-1-15,-14 0 16,14 0-1,14 1 1,-1-28 31,-13 1-31,13 13-1,0 0 16</inkml:trace>
  <inkml:trace contextRef="#ctx0" brushRef="#br0" timeOffset="24829.92">16298 10504 0,'14'13'16,"-14"0"0,0 14-1,0-14-15,0 0 0,0 1 0,0 12 0,-14-13 16,1 27 0,13-27-16,-13 0 15,13 1-15,-13-14 16,13-14-1,26-25 1,-26 12-16,13 14 0,14-13 16,39-54-1,-53 67-15,14-13 0,-1-1 0</inkml:trace>
  <inkml:trace contextRef="#ctx0" brushRef="#br0" timeOffset="25895.47">11271 11893 0,'0'26'32,"13"14"-17,-13-27-15,0 1 0,0 12 16,0 40 0,0-53-16,0 14 0,-13-14 0,13 14 15,0-14-15,0 0 0,0 0 0,13 1 16</inkml:trace>
  <inkml:trace contextRef="#ctx0" brushRef="#br0" timeOffset="26133.27">11470 11853 0,'0'-26'16,"13"26"-16,-26 40 31,13-27-31,0 0 0,0 0 16,0 0-16,0 14 0,0-14 15,13 0-15,-13 14 0,0 13 16,13-1 0,-13-26-16,0 14 15,13-14-15</inkml:trace>
  <inkml:trace contextRef="#ctx0" brushRef="#br0" timeOffset="26399.08">11311 12131 0,'26'-26'0,"-12"26"0,-1-14 15,13 14 1,-12-13-16,-1 13 0,0 0 0,0 0 15</inkml:trace>
  <inkml:trace contextRef="#ctx0" brushRef="#br0" timeOffset="26779.29">11628 12025 0,'-26'14'15,"26"12"1,0-13-16,0 0 0,0 1 16,0-1-16,26 13 15,-12-26-15,-1 14 0,0-14 16,0 0-16,1 0 0,39-14 15,-40 14-15,0 0 16,0-13-16,0 13 0,-13-13 0,14 13 16,-14-13-1,0-14-15,-14 27 0,14-13 0,-13 13 16,-13-26 0,13 26-16,-1 0 0,1 0 15,-13 0-15,26 13 16,-14-13-16,1 13 0,0 0 0,0 0 15</inkml:trace>
  <inkml:trace contextRef="#ctx0" brushRef="#br0" timeOffset="27361.38">11456 12872 0,'0'-13'0,"14"39"15,-1-13 1,0 14-16,-13-14 15,13 14-15,1 39 16,-14-53-16,0 13 0,13 41 16,-13-28-1,0-26-15,0 27 16,0-27 0</inkml:trace>
  <inkml:trace contextRef="#ctx0" brushRef="#br0" timeOffset="27586.43">11721 12819 0,'0'0'0,"0"-13"16,13 39 15,1 27-15,-14-26-16,0-14 0,13 0 15,-13 14-15,13 12 16,-13-25-16,0 12 0,13-13 0,-13 0 0,0 1 16,13-1-16,-13 0 0,0 0 15,14 1-15</inkml:trace>
  <inkml:trace contextRef="#ctx0" brushRef="#br0" timeOffset="27793.25">11456 13123 0,'14'-13'15,"-1"13"-15,0-13 0,0 13 16,54-13-1,-41-1-15,0 14 0,-12 0 0,12-13 16,1 13-16</inkml:trace>
  <inkml:trace contextRef="#ctx0" brushRef="#br0" timeOffset="28400.48">12184 13070 0,'0'-13'0,"-13"13"16,-14 13-1,27 1-15,-13-1 0,13 0 16,-13-13-16,13 13 16,0 1-1,0-1-15,13-13 16,0-13-16,1-1 15,-1 14-15,0-13 0,0 0 0,1 13 16,-1-13-16,13-1 16,-13 1-16,1 13 15,12 13-15,-13 1 16,1-1 0,-14 0-16,13 0 15,0 1-15,0-14 16,0 0-1</inkml:trace>
  <inkml:trace contextRef="#ctx0" brushRef="#br0" timeOffset="28901.35">12409 11986 0,'26'0'16,"-12"0"-16,52-14 15,-40 14 1,1-13-16,-1 13 0,40 0 16,-52-13-16,12 13 0,-13 0 15,14 0-15,-14-13 0,0 13 0,0 0 16,1 0-16</inkml:trace>
  <inkml:trace contextRef="#ctx0" brushRef="#br0" timeOffset="29182.28">12647 11787 0,'106'27'15,"-53"-1"-15,-40-13 16,0 1-16,14-1 0,-14 0 0,0 0 16,0 0-16,-13 1 0,14-1 0,-1 0 15,0 27 1,-13-27-16,0 0 0,-13 27 15,13-27-15,0 0 16,-13 27 0,13-27-16</inkml:trace>
  <inkml:trace contextRef="#ctx0" brushRef="#br0" timeOffset="29576.47">12541 12978 0,'53'0'0,"13"-13"16,-52-1-1,25 14-15,41-13 16,-54 13-16,40-13 16,-53 13-16,1-13 0,12 13 15</inkml:trace>
  <inkml:trace contextRef="#ctx0" brushRef="#br0" timeOffset="29817.98">12898 12793 0,'93'39'0,"-80"-25"15,1-1-15,-1 0 16,-13 0-16,13 40 15,-26-40-15,13 1 0,-13 12 16,-27 40 0,27-39-16,-14-1 0,-52 40 15</inkml:trace>
  <inkml:trace contextRef="#ctx0" brushRef="#br0" timeOffset="58121.53">15161 10941 0,'0'26'16,"0"-13"0,-14 0-16,14 1 0,0-1 15,-13-13 1,0 13-16,-14 40 0,27-40 16,-13 0-16,-13 14 0,13-14 15,-1 0-15,1 1 0,0-1 16,0 13-16,-27 14 15,27-27-15,-14 0 0,1 1 16,-1-1-16,14 0 16,0 0-16,0 1 0,-14-1 0,14 0 15,-27 14-15,14-14 0,-1 0 0,1 0 16,-40 27 0,53-27-16,-14 0 0,1 1 0,-41 25 31,15-12-31,25-14 0,1 0 15,-14 0-15,14 1 0,-14-1 0,13 0 16,14 0-16,-13-13 0,-1 14 0,-12-1 16,25 0-16,1-13 15,-27 13-15,27-13 0,0 14 16,-14-14-16,14 0 16,-13 13-1,13-13-15,-1 13 16,1-13-1,0 0 1,13 13-16,-13-13 16,-1 13-1,1-13 1,0 14 15,0-14-31,-1 0 16,1 13 15,40-26 47</inkml:trace>
  <inkml:trace contextRef="#ctx0" brushRef="#br0" timeOffset="58712.35">13957 11628 0,'-40'27'32,"14"-1"-17,-1-12 1,-13 25-1,27-25-15,-13 25 16,13-39-16,-1 27 16,1-27-1,13 13-15,0 0 16,-13 0-16,26-13 16,-13 14-16,13-14 0,1 13 15,25 0 1,-26-13-16,1 0 0,12 13 15,-13-13-15,1 0 0,-1 13 0,13-13 0,40 27 32,-52-14-32,12 0 15,-13-13 1,1 0-16</inkml:trace>
  <inkml:trace contextRef="#ctx0" brushRef="#br0" timeOffset="69258.45">15399 11655 0,'0'-13'0,"-13"13"15,-1 0 1,-12 13 0,13-13-16,-14 13 15,14 0-15,0 1 0,-40 52 16,40-53 0,13 0-16,-14 0 0,14 1 0,-13-1 15,13 13 1,13-26-16,-13 14 0,14-14 15,-1 0-15,0-14 0,0 14 16,0-13-16,27-27 16,-27 14-16,27-27 15,-27 40 1,-13 0-16,14-1 0,-14 1 0,13 0 16,-13 0-1,13 13-15,-13 13 31,0 40-15,0-27-16,13-26 16,-13 14-16,0-1 0,13 0 15,-13 0-15,14-13 0,-14 13 0,13-13 16,0 0-16,14 0 16,-14-13-16,27-13 15,-27 13-15,13-27 16,-13 27-16,-13-1 15,14-12 1,-1-1 0,-13 14-16,13 0 31,-26 39 0,26 1-15,-13-14-16,0 14 15,13-14 1,-13 0-16,14 0 0,-14 1 16,13-14-16,0 13 0,0-13 0,0 0 15,1 13-15,-1-13 0,13-13 16,-12 13-16,12-27 16,-13 14-16,1 0 15,-14 0-15,13-1 16,-13 1-1,0 53 32,0-27-47,0 0 0,0 1 0,13-14 16,-13 13-16,26 0 16,-12-13-16,-1 0 15,13 0-15,-12 0 16,-1 0-16</inkml:trace>
  <inkml:trace contextRef="#ctx0" brushRef="#br0" timeOffset="70835.67">16761 11576 0,'-39'-14'16,"25"14"-16,1 0 15,0 14-15,0-14 0,-14 0 16,14 0-16,0 13 0,0-13 0,-1 0 0,1 13 16,0 0-1,39 14 1,-12-14 0,-1 0-16,0 0 0,0 1 15,1-1-15,-1 0 0,0 0 0,-13 1 16,13-1-16,-13 0 0,0 0 0,0 14 15,-26-1 1,13 1-16,-14-14 16,-13 13-16,27-13 0,0-13 15,0 0-15,13 14 0,-14-14 0,1 0 16,0 0-16,26-27 31,0 14-31,14 0 0,-1-14 16,1 14-16,26-40 0,-27 27 15,1 13-15,-1-14 0,1 14 0,-1 0 16,-13-1-16,40-25 16,-40 25-16,1 1 15,-1 13 1,-26 27 15,-1-14-15,14 0-1,0 0-15,0 1 0,0-1 0,14-13 16,-14 13-16,13-13 0,0 13 16,14-13-16,-14 0 15,0 0-15,27-13 16,-27 0-16,-13 0 0,13 13 16,-13-14-1,13-12-15,-13 13 0,-13-1 16,13 1-16,-13 13 0,0-13 15,-1 13 1,1 0-16,0 0 16,0 13-16,26 0 31,13-13-15,-12 0-16,-1 0 0,0 0 15,14-13-15,-14 13 0,40 0 16,-14-13-1,-25 13-15,-1 0 16,0 0 0,-26 13-1,13 0-15,-13 14 32,13-14-32,0 0 15,0 1-15,13-14 16,-13 13-16,13-13 15,14 0-15,-14 0 16,13-27 0,-12 14-16,-14 0 15,13 13-15,-13-13 0,0-1 0,0 1 16,0 0-16,-13 0 16,-1 0-1,1 13-15,0 13 16,0-13-1,-1 13-15,14 0 32,14 0-32,-1-13 0,0 0 15,0 0-15,1 0 16,12 0-16,-13 0 0,0-13 0,1 13 16,12 0-16,-13 0 15,14 0-15,-14 0 16,-13 13-1,0 1 1,-13-1-16,13 0 16,0 0-1,0 1-15,0-1 16,0 0-16,13-13 16,0 0-16,53-26 31,-52 12-31,-1 1 0,0-13 15,0-1-15,1 1 0,-1-1 0,0 1 16,0-14-16,0 0 0,1 14 0,-14 0 16,13-1-16,-13 14 15,0-27 1,-13 53-16,-1 1 16,14 12-16,-13-13 15,0 27-15,0-14 0,13 1 0,0-14 0,0 67 16,13-67-1,-13 13-15,26 14 16,-12-27-16,-1 0 0,0 1 16,0-1-16,14-13 0,-14 13 0,0-13 0,1 0 15,-1 0-15,0 0 0</inkml:trace>
  <inkml:trace contextRef="#ctx0" brushRef="#br0" timeOffset="72382.61">15584 12819 0,'-13'-13'0,"0"0"16,-1 26-1,-12 13 1,26-12-16,-13 38 16,13-38-16,0-1 15,0 27 1,0-27-16,0 0 0,13-13 0,13 27 16,-12-27-1,-1 0 1,0 0-16,0-14 0,-13 1 15,0 0-15,13 0 0,-13-1 0,0 1 16,14-27 0,-14 27-16,0 0 0,0 0 0,0-14 15,0 14 1,-14 40 15,14-14-15,0 0-16,14 0 15,-14 0-15,0 1 0,13-1 0,-13 0 16,13-13-16,-13 13 0,13 1 0,1-14 16,12 26-1,-13-26-15,0 0 0,14 0 16,-14 0 0,0-13-16,1 13 0,-14-13 0,26-14 15,-26 14 1,13 0-16,-13-1 15,0 1-15,0-13 16,-13 13 0,0 26 15,13 0-15,13 27-1,-13-27-15,13-13 16,-13 13-16,0 0 0,14-13 0,-14 27 15,13-27-15,-13 13 16,0 0-16,13-13 0,13 14 16,1-1-1,13-26 1,-27 13-16,0-14 0,14 1 16,-14 13-16,0-13 0,-13 0 0,13-1 0,0 14 15,-13-13-15,14 13 16,-14-13-16,-14 39 47,14-12-32,14-1-15,-14 0 16,13-13-16,13 13 16,27-13-1,-40 0-15,14 0 0,-1 0 16</inkml:trace>
  <inkml:trace contextRef="#ctx0" brushRef="#br0" timeOffset="73389">16722 12832 0,'0'40'0,"0"-27"0,0 0 0,0 1 0,0-1 15,0 0-15,0 0 16,0 1 0,13-14-1,0-14 1,-13 1-16,27 0 15,-14 0-15,0 13 16,-13-14 0,13 14-1,1 14-15,-1-14 0,0 0 0,-13 13 0,13-13 16,0 13-16,1-13 16,-1 0-16,13 13 15,1-13-15,-14-13 16,0 13-1,0 0-15,-13-13 0,14 13 16,-1 0 15,0 26-15,0-26-16,-13 14 0,14-14 16,-1 13-16,0-13 0,0 13 15,1-13-15,25 0 16,-12 0-16,-14 0 0,0 0 15,0-13-15,1 0 0,-14-1 16,13 14-16,-13-13 0,0 0 0,-13 0 16,13-1-16,-14 1 15,14 0-15,-13 0 0,0 0 0,0 13 16,-14-14-16,14 14 0,0 0 0,-27 14 16,27-14-16,0 0 15,-1 13-15,1-13 0,0 13 0,0 0 16,-1 0-16,28 1 15,-1-14 1,0 0-16,67-14 16,-41 1-16,-12 0 0,26-27 15,-40 27 1,0 0-16,14-14 0,-14 1 0,0 13 16,0-1-16,0 1 0,-13 0 0,14 0 15,-14 0-15,13-1 16,0 28-1,-13 12 1,0 0-16,0-12 16,0 25-16,0-12 0,13-14 0,-13 14 15,14-14-15,-1 0 0,-13 13 0,13-12 16,0-1-16,14 13 16,-14-26-1,0 0-15,0 0 0,-13-13 16</inkml:trace>
  <inkml:trace contextRef="#ctx0" brushRef="#br0" timeOffset="73566.52">17304 12766 0,'-13'-13'0,"39"13"16,27-13-1,-40 13-15,0 0 0,14-14 16,-1 14-16,1-13 0,-1 0 16,1 13-16,-14 0 0,13 0 0,-12-13 15</inkml:trace>
  <inkml:trace contextRef="#ctx0" brushRef="#br0" timeOffset="75297.71">18230 12779 0,'-66'0'15,"26"14"1,27-14-16,13 13 15,-13 0-15,13 0 16,0 1-16,26 25 16,-13-26-16,-13 1 0,13-1 15,1 0-15,-1 40 16,-13-40 0,0 1-16,0-1 0,0 0 0,-13 0 0,13 0 15,-14-13-15,14 14 0,-26-1 16,13-13-1,13-13 1,13-14 0,0 14-16,27-13 15,-14-1-15,1 1 0,12 12 16,-12-12-16,52-27 16,-52 27-16,-14 26 0,0-14 15,0 1-15,1 13 0,-1-13 16,-26 26 15,-1 14-15,14-14-16,-13 0 15,13 0-15,0 0 0,13 14 16,1-27 0,12 13-16,14-13 15,-27 0-15,0-13 16,14 0-16,-14 13 0,0-14 15,0 1-15,-13-13 16,0 13 0,-26 13-16,13-14 15,0 14-15,-14 0 16,14 0 0,0 0-1,52 0 1,27-13-1,-52 13-15,-1 0 16,13-13-16,-12 13 0,-1 0 16,0 0-16,0 0 0,0 0 0,1 0 15,-14 13 1,0 14 0,-14-14-1,1 0-15,13 0 0,-13 0 0,13 1 16,0-1-1,0 13 1,13-26-16,0 0 16,14 0-1,-27-13-15,26 0 16,-26 0-16,14-1 0,-14 1 0,13 0 16,-13 0-16,13-14 0,-13 1 15,0 13-15,0-14 0,13 14 0,-13-14 16,0 14-16,0 0 0,0 0 15,0 0-15,-13 39 32,13 14-17,0-27-15,0 40 16,13-40-16,-13 0 16,14 1-16,-1-1 0,0 0 15,0 0-15,0 0 0,1 1 16,-1-14-16,0 13 0,0-13 0,1 13 15,-1-13-15,0 0 0,0 0 16,1 0-16,-1-13 0,0 0 16,27-27-1,-40 14-15,13-1 0,0 1 0,0-1 16,1 14-16,-14-14 0,0 14 16,13-13-16,-13 13 0,0-1 0,13 1 15,-13 0-15,0 0 16,13 13-16,-13-14 15,0-12 1,-13 26-16,13-13 31,-26 26-31,12 13 16,1-26 0,13 14-16,-13 12 15,0-13-15,13 1 0,-14-1 0,14 0 16,0 13-16,-13-12 0,13-1 0,0 0 15,-13 14-15,13-14 16,0 0-16,13 0 0,-13 1 0,13-1 16,-13 0-16,14-13 0,-1 0 15,0 0 1,27-13 0,-27 0-16,0-1 0,1 1 0,-1 0 0,0-14 15,-13 14-15,13-27 0,0-65 16,1 65-16,-14 0 15,0 14-15,0 13 0,0-14 0,0 14 16,0 0-16,0-14 16,-14 27-16,1 13 15,0 1 1,13-1-16,-13 13 0,0 27 16,13-13-16,0-14 0,0 1 0,0 13 15,13-14-15,-13 14 0,13-14 16,-13 1-16,13-14 0,-13 13 15,13-12-15,1-1 0,-14 0 0,0 0 16,0 0-16,13-13 0,-13 14 0</inkml:trace>
  <inkml:trace contextRef="#ctx0" brushRef="#br0" timeOffset="75725.52">18785 12713 0,'-26'40'0,"13"-27"0,-1 14 16,1-1 0</inkml:trace>
  <inkml:trace contextRef="#ctx0" brushRef="#br0" timeOffset="78579.64">19844 11086 0,'26'-13'16,"-13"13"-1,1 0-15,-1 0 0,13 0 16,-12 0-16,-1 0 0,13 26 15,-13-13 1,-13 1-16,14 12 0,-1 80 16,-13-66-16,0 13 15,0 0-15,13 13 0,-13-13 0,13 92 16,1-79-16,-14-13 16,13 13-16,0 0 0,0 1 0,1-1 15,-1 0-15,40 132 16,-40-132-16,13 120 15,-12-120-15,-1-13 16,-13 0-16,13 0 0,-13-14 0,0 1 16,0 0-16,0-1 0,0 54 15,-13-67-15,0 14 16,13-13-16,-27-1 0,14 0 0,13 1 16,-13-14-16,-1 0 0,-38 40 15,38-39 1,1-1-16,-13 0 0,12-13 0,-12 13 0,-27 0 15,40 1 1,-14-14-16,1 0 0,13 0 0,-14 0 0,1 0 16,-54-14-1,67 14-15,-13-13 0</inkml:trace>
  <inkml:trace contextRef="#ctx0" brushRef="#br0" timeOffset="80350.45">20902 11152 0,'13'-26'0,"1"26"0,-1 0 15,13 0-15,-13 0 16,-13 13-16,14-13 0,-14 13 0,13 0 15,-13 1-15,-13 39 16,-1-40-16,1 0 16,0 13-16,0-12 0,0-1 15,-1 0-15,1 14 0,0-27 16,0 13-16,13 0 0,-14-13 0,14 13 16,-13-13-16,13 14 0,-13-14 15,39 0 16,-12 0-31,25 0 16,-25-14-16,-1 14 16,0 0-16,13 0 0,-12 0 0,-1-13 15,0 13-15,40-13 16,-40 13-16,1 0 0,-1-13 16</inkml:trace>
  <inkml:trace contextRef="#ctx0" brushRef="#br0" timeOffset="80690.2">21272 11139 0,'-26'13'16,"13"0"-1,13 14 1,0 13-1,13-40-15,0 13 0,0 0 16,40-13 0,-39 0-16,-1-13 0,0 13 15,0 0-15,1-13 0,-14-1 0,13 14 16,-13-13-16,0 0 0,-13-14 16,13 14-1,-14 13-15,1-13 0,0 13 16,0-13-16,-14 13 15,14 0 1,0 0-16,-1 0 16</inkml:trace>
  <inkml:trace contextRef="#ctx0" brushRef="#br0" timeOffset="80984.72">21497 11099 0,'0'40'0,"0"-27"0,-13-13 0,26 13 0,-13 1 15,0-1-15,0 0 0,14 0 0,-14 1 16,13-14-16,0 13 0,0-13 16,1 13-16,-1-13 0,0 0 15,13 0-15,-12-13 0,-1 13 0,0-13 16,0-1-16,1 1 15,-14 0-15,0 0 0,0-1 16,-14 1-16,14 0 0,-13 0 0,13-1 16,-13 1-16,0 13 0,-1-13 15,1 13-15,0 0 0,0 0 0,0-13 16,-1 26-16,1 0 0,0 0 0,-14 1 16,14-1-16,-13 0 0</inkml:trace>
  <inkml:trace contextRef="#ctx0" brushRef="#br0" timeOffset="81585.5">21167 11562 0,'277'-26'0,"-224"13"0,14-1 0,-1 1 15,-13 0-15,13 0 0,40-14 16,-67 14-16,1-13 0,0 12 16,-1 1-16,-12-13 0,-1 12 0,1-12 15,-1-1-15,-13 14 0,1 0 16,-1-13-16,0 12 0,-13-12 0,0-1 16,0 14-16,0-13 0,0-1 0,-13-12 15,13 12-15,-13-13 0,-14 14 16,14 0-16,-14-14 0,-12 13 15,-1 1-15,0-14 0,-12 14 0,12 13 16,-13-14-16,-13 14 0,13 0 16,0 13-16,-13-14 0,0 14 0,-1 0 15,-12 0-15,0 14 0,-1-1 0,-78 27 16,91-14-16,-25 14 16,-1-1-16,14 14 0,13-13 0,13 0 15,0-1-15,0 14 0,27-13 16,-14 13-16,13-13 0,14-1 0,13-12 15,0-1-15,0 14 0,27 0 0,-1-14 16,14 0-16,-1 1 0,14-1 0,0 1 16,0-14-16,0 0 15,0-13-15,0 14 0,13-14 0,-13 0 16,26-14-16</inkml:trace>
  <inkml:trace contextRef="#ctx0" brushRef="#br0" timeOffset="82029.64">22701 10782 0,'-13'53'16,"13"-40"-1,-13 53 1,0-39-16,13-1 0,0 0 0,-14 1 16,14-1-16,-13 1 0,13-1 15,0-13-15,-13 1 0,13-1 0,0 0 16,0 0-16,13 1 0,-13-1 0,13-13 15</inkml:trace>
  <inkml:trace contextRef="#ctx0" brushRef="#br0" timeOffset="82492.32">22953 10967 0,'-27'0'0,"54"0"0,-67 0 15,27 0-15,-1 0 0,1 13 0,0-13 16,0 13-16,-27 14 16,40-14-16,-13 0 0,0 1 15,13-1-15,-14 0 0,14 0 32,14 0-32,-1 1 15,0-14-15,0 0 0,1 0 0,-14-14 16,13 14-16,0-13 0,13 13 15,-12-13-15,-1 13 0,0-13 16,0 13-16,1 0 0,-1-13 16,13 26-1,-12-13-15,-14 13 0,13 0 16,-13 0 0,0 1-16,0-1 0,0 0 0,0 0 15,-13 1 1,26-41 31,0 27-32,0-13-15,-13 0 0,13 13 0,1 0 16,-1-14-16,0 14 0,0-13 16,1 13-16,-1-13 0,0 0 0,0 13 15,-13-13-15</inkml:trace>
  <inkml:trace contextRef="#ctx0" brushRef="#br0" timeOffset="82908.83">23283 10967 0,'14'26'16,"-14"-12"-16,0-1 0,-14 13 15,14-12-15,-26 38 16,13-38-16,-1-1 15,1 0-15,0-13 0,13 13 16,-13 1-16,0-14 0,13 13 16,-14-13-16,41-13 31,12-14-15,-25 14-16,-1 0 15,0-1-15,0 14 0,1-13 16,-1 0-16,0 0 0,0 13 0,0-13 15,1-1-15,-1 14 16,-13 14 15,0-1-15,0 0 0,0 0-16,26 0 15,-12-13 1,-14 14-16,39-14 15</inkml:trace>
  <inkml:trace contextRef="#ctx0" brushRef="#br0" timeOffset="83350.03">21709 11642 0,'132'-14'15,"-92"1"-15,13 13 0,106-26 16,-80 13-16,120-27 16,-133 27-16,-13 13 15,-14-14-15,14 1 0,-26 13 0,-1 0 16,-13 0-16,1-13 0,-1 13 16</inkml:trace>
  <inkml:trace contextRef="#ctx0" brushRef="#br0" timeOffset="83535.24">21960 11800 0,'199'-52'15,"-133"38"-15,0 1 0,0 0 0,0 0 16,-13-1-16,53-12 15,-66 13-15,13-1 0,-14 14 16</inkml:trace>
  <inkml:trace contextRef="#ctx0" brushRef="#br0" timeOffset="84570.41">22053 12396 0,'0'-53'16,"0"40"-16,0-1 0,0-12 0,-13 13 15,13-14-15,0 14 0,-13-13 16,13-1-16,0 14 0,-14 0 0,14-1 15,0 1-15,-13 0 0,13 0 16,0-1-16,-13 1 31</inkml:trace>
  <inkml:trace contextRef="#ctx0" brushRef="#br0" timeOffset="84705.76">22013 12105 0,'-53'26'15,"27"-13"-15,13 1 16,-14-1-16,1 0 0,-1 0 0,1 14 16,-1-14-16,1 0 0,0 0 15,12 1-15,1-1 0,0-13 16</inkml:trace>
  <inkml:trace contextRef="#ctx0" brushRef="#br0" timeOffset="84836.66">21908 12091 0,'79'27'0,"-53"-27"0,-12 0 0,-1 13 16,0-13-16,13 0 0</inkml:trace>
  <inkml:trace contextRef="#ctx0" brushRef="#br0" timeOffset="89934.82">18309 11748 0,'27'-14'15,"-14"1"-15,0 13 0,0-13 0,1 13 0,25-27 16,54-12 0,-14-1-1,-52 40-15,12-26 16,-25 26-16,12-14 0,-13 14 0,14-13 15,-1 13 1,-13 0 0,1-13-16</inkml:trace>
  <inkml:trace contextRef="#ctx0" brushRef="#br0" timeOffset="90303.46">18706 11443 0,'53'0'0,"-40"0"0,0 0 0,1 0 16,12 13-16,-13 1 16,1-1-16,-1-13 0,0 40 15,0-27-15,-13 0 16,0 0-16,-13 1 0,13 12 0,0-13 15,-13 14-15,0-1 0,-1 1 16,14-14 0</inkml:trace>
  <inkml:trace contextRef="#ctx0" brushRef="#br0" timeOffset="90921.84">19103 11443 0,'0'13'0,"13"-13"16,-13 14 15</inkml:trace>
  <inkml:trace contextRef="#ctx0" brushRef="#br0" timeOffset="120382.94">7144 10755 0,'13'0'0,"-13"-13"0,13 13 15,14-13 1,-14 0-16,13-1 16,-26 1-1,14 0 1,-41 0-1,-39 39 1,40-13-16,-14 1 0,13 12 0,1-13 16,-14 14-1,14-14-15,-27 40 0,26-27 0,14 1 16,-27 26 0,27-27-16,0 1 0,13-14 0,-13 13 15,0 27-15,13-26 16,0-1-16,-14 54 15,14-54-15,-13 40 0,0-39 16,0 12-16,13-12 16,-14-1-16,14 1 0,0-14 0,-26 66 15,26-65 1,-13 12-16,13-13 0,-13 40 16,13-26-16,0-14 0,0 0 15,0 0-15,-14 1 0,14-1 16,0 13-1,0-13-15,0 1 16,0-1 0,14 0-16,-1-13 15,0 13 1,0-13-16,-13 14 0,13-14 16,1 0-16,-1 0 0,0 0 0,53-14 15</inkml:trace>
  <inkml:trace contextRef="#ctx0" brushRef="#br0" timeOffset="121694.97">19645 10028 0,'-13'0'0,"40"-14"0,-14 14 15,0 0 1,0 0-16,14 0 15,-1 14 1,-13-14-16,14 13 16,-27 0-16,13 0 15,-13 1-15,13 12 16,-13-13-16,14 53 16,-14-39-16,0-1 0,0 1 15,0-1-15,0 54 16,0-54-16,13 54 15,-13-54-15,0 0 0,13 41 32,-13-54-32,0 0 0,0 0 0,0 0 15,13 14 1,-13-14-16,0 0 16,-13-13-1,0 14-15,-40-14 16,26 13-1,-65-13 1,52 13-16,0-13 0,-13 0 0,1 13 16,-54-13-16,26 0 15</inkml:trace>
  <inkml:trace contextRef="#ctx0" brushRef="#br0" timeOffset="135368.89">1918 5450 0,'40'0'0,"-14"0"0,14 0 0,0-13 15,13 13-15,0 0 16,-1 0-16,15 0 0,-14 0 0,13 0 15,-13 0-15,13 0 0,0 13 0,0-13 16,-13 0-16,0 14 0,0-14 0,-13 13 16,-1-13-16,1 13 0,0-13 15,-14 13-15,-13-13 0,14 14 0,-14-14 16,0 13-16,14-13 0,-14 13 0,0-13 16,0 0-16,1 0 0,-1 13 15,0-13-15</inkml:trace>
  <inkml:trace contextRef="#ctx0" brushRef="#br0" timeOffset="136010">5993 5569 0,'39'14'16,"1"-14"-16,13 0 16,0 13-16,106-13 0,-80 0 15,14 0-15,-1 0 0,1 13 16,26-13-16,13 0 0,212 13 15,-211-13-15,-1 0 16,0 0-16,-39 14 0,13-14 0,-1 0 16,1 0-16,-13 0 0,-1 0 15,1 0-15,-14 0 0,1-14 0,-27 14 16,0 0-16,-14 0 0,-12 14 0,-1-14 16,-13 0-16,1 0 0,-1 0 15,-13 13-15</inkml:trace>
  <inkml:trace contextRef="#ctx0" brushRef="#br0" timeOffset="144804.63">20135 1151 0,'0'26'31,"0"14"-31,0-27 16,0 1-16,0 12 15,0-13-15,0 0 0,-13 27 16,13-27-16,0 1 0,0-1 15,0 13 1</inkml:trace>
  <inkml:trace contextRef="#ctx0" brushRef="#br0" timeOffset="144981.24">20095 1072 0,'-13'-27'0</inkml:trace>
  <inkml:trace contextRef="#ctx0" brushRef="#br0" timeOffset="145324.94">20267 1005 0,'0'67'0,"13"-41"0,-13 40 0,0-26 16,0 0-16,0-1 0,-13 1 0,13 0 15,-13-1-15,13-12 0,-13-1 16,13 1-16,-14-1 0,14-13 0,-13 1 16,0 12-16,13-13 0,-13-13 15,13 14-15,-14-14 0,14 13 16,-13-13-16,0 0 16,0-13-1,13-1-15,13-12 16,-13 13-1,13-1-15,0 14 0,1-13 0,-1 0 16,0 0-16,0 13 0,-13-14 16,27 1-16,-14 0 0,14 0 0,-14 13 15,0-13-15,0-1 0</inkml:trace>
  <inkml:trace contextRef="#ctx0" brushRef="#br0" timeOffset="145951">20876 1124 0,'0'40'0,"0"-27"0,0 14 16,0-1-16,0-12 0,13-1 0,-13 13 15,0-13-15,0 1 0,0-1 16,0 13-16,0-12 0,0-1 0,0 0 16,0 0-16,0 1 15</inkml:trace>
  <inkml:trace contextRef="#ctx0" brushRef="#br0" timeOffset="146252.1">20823 1111 0,'0'-39'0,"13"25"0,0 14 0,0 0 15,1 0-15,12 14 16,-13-14-16,14 26 15,-14-13-15,-13 0 16,0 1-16,0-1 0,0 0 16,0 0-16,0 1 0,0-1 0,-13 0 15,13 0-15,-13 1 0,-1-1 0,1 0 16,13 0 0,-13-13-16,0 13 0,-1-13 15</inkml:trace>
  <inkml:trace contextRef="#ctx0" brushRef="#br0" timeOffset="146641.89">21087 1204 0,'14'40'0,"-14"-27"0,0 13 31,0 1-31,0-14 16,0 0 15,13-53-15,0 27-1,-13 0-15,26 0 16,-26 0-16,14 13 15,-1-14 1,0 14 0,0 0-16,1 27 15,-14-14 1,0 13 0,0-12-16,0 12 15,0-13 1,13-13-1</inkml:trace>
  <inkml:trace contextRef="#ctx0" brushRef="#br0" timeOffset="146781.93">21272 1164 0,'-13'0'15</inkml:trace>
  <inkml:trace contextRef="#ctx0" brushRef="#br0" timeOffset="147131.12">21458 1138 0,'-66'66'0,"52"-66"0,1 40 15,13-27-15,0 0 16,13 0-16,-13 0 16,14-13-1,-1 0-15,0 0 16,0 0-1,0 0-15,1-13 0,-1 26 32,0-13-32,0 0 0,-13 14 15,14-14-15,-1 13 16,0-13-16,14 0 31,-14 0-31,0 0 0,0 0 0,0 0 16</inkml:trace>
  <inkml:trace contextRef="#ctx0" brushRef="#br0" timeOffset="148268.75">22132 1124 0,'-13'-13'0,"0"13"31,0 0-15,-1 0-1,1 0-15,0 0 16,13 13-1,-13-13 1,0 0 0,-1 0 46,28 14-31,-28-1 1,14 0-1,-13-13 0,13 13-31,0 1 16,0-1-1,13 0 1,-13 0-16,14-13 16,-1 14-16,0-14 15,0 0 1,0-14-16,1 14 16,-1-13-16,-13 0 15,13 0-15,0-1 0,-13 1 0,14 0 16,-14 0-16,0-14 15,0 1 1,-14 13 0,1-1-1,-13 14-15,12 14 16,1-1-16,0-13 16,13 13-16,0 0 15,0 0 1,13-13-1,14 0-15,-14 0 0,13-13 16,-12 13 0,-1 0-16,0 0 0,0 0 0,14 0 15,-14 13 1,0 1-16,-13-1 16,0 0-16,0 0 0,0 14 0,0-1 15,0 1-15,-13 12 0,13 1 16,-13-13-16,13-14 0,-13 13 0,13-12 15,-14 12-15,14-13 0,-13 0 0,13 1 16,0-1-16,-13 0 16,26-39 15,14-1-15,-27 14-16,13 0 15,0 0-15,0-1 0,0 1 0,-13 0 16,27 0-16,-14-1 0,0 1 15</inkml:trace>
  <inkml:trace contextRef="#ctx0" brushRef="#br0" timeOffset="148573.1">22701 1072 0,'-66'0'0,"40"26"16,12-26-16,1 13 0,0 0 16,13 1-16,-13-14 0,13 13 15,13 0 1,0-13 0,0 0-16,1 13 15,-1-13-15,0 0 16,0 14-16,1-14 15,-1 13-15,0-13 16,13 13 0,-12-13-16,-1 0 15,0 13-15</inkml:trace>
  <inkml:trace contextRef="#ctx0" brushRef="#br0" timeOffset="149064.34">23270 979 0,'-40'79'16,"40"-52"-16,-13-1 0,13 1 0,-13-1 0,13 1 15,-13-1-15,13 1 0,0-1 16,0-13-16,0 0 0,-13 14 0,13-14 0,0 0 16,0 1-16,0-1 15,0 0-15,0 0 0,0-52 31,13-28-15,0 41 0,-13 0-16,13-1 0,0 1 0,1-1 15,-14 14-15,13 0 0,0-1 16,-13 1-16,13 13 0,-13-13 0,14 13 16,-1 0-16,-13 13 15,0 0 1,-13 14-1,-1-14-15,14 0 0,0 1 0,-13-14 16,13 13-16,-13-13 0,13 13 16,0 0-16</inkml:trace>
  <inkml:trace contextRef="#ctx0" brushRef="#br0" timeOffset="150767.07">23495 1085 0,'0'39'32,"0"-25"-32,0-1 0,0 0 15,13 0-15,-26 1 16,13-1-1,13-26 32,0-14-31,-13 14-16,14-14 16,-1 27-1,0 0-15,-13-13 0,13 13 0,1 0 16</inkml:trace>
  <inkml:trace contextRef="#ctx0" brushRef="#br0" timeOffset="151036.35">23720 1058 0,'-13'27'47,"13"-14"-31,0 0-16,13-13 0,-13 13 0,13-13 15,0 0 1,1 0-16,-1 0 16,0 0-16,0-13 15,-13 0 1,-13 0-16,0 0 16,0-1-1,13 1-15,-14 13 0,1 0 16</inkml:trace>
  <inkml:trace contextRef="#ctx0" brushRef="#br0" timeOffset="151758.26">24104 820 0,'-14'40'16,"14"-27"-16,-13 0 0,13 14 15,0-14-15,0 0 0,-13 0 16,13 1-16,0-1 0,0 0 15,0 0-15,0 1 0,0-1 0,-13 13 16,13-12 0,-27-14 15,1 0-15,12 0-16,14 13 0,-13-13 0,0 0 15,0 13 1,0-13-16,13 13 15,0 0-15,0 1 16,26-1 0,-13-13-16,0 0 0,14-13 15,-14 13 1,0 0-16,-13-14 0,14 14 0,-1 0 16,0-13-16,0 0 0,1 13 15,-14-13-15,13 0 16,0 13-1,0 13 32,-13 0-31,13-13 0,1 0-16,-1 0 15,0 0-15,-13-13 16,13 13-1,1 0 1,-1 13 0,0-13 15,0 0-15,-13 13-16,14-13 15</inkml:trace>
  <inkml:trace contextRef="#ctx0" brushRef="#br0" timeOffset="152170.21">24619 1204 0,'14'-27'16,"-1"-26"-1,-13 40 1,0-13-16,13-54 16,-13 54-16,0-40 15,0 39-15,0 14 16,0 0-16,0-14 0,0 14 16,0 0-16,0 0 0,0 0 15,-13 26 32,0-13-47</inkml:trace>
  <inkml:trace contextRef="#ctx0" brushRef="#br0" timeOffset="152378.25">24672 754 0,'-13'0'0,"0"13"0,0 1 16,-14 12-16,14-26 15,0 13-15,-27 27 16,27-27-16,0 0 0,13 1 16,-14-14-16,14 13 0,-13-13 15,13 13-15,-13-13 0</inkml:trace>
  <inkml:trace contextRef="#ctx0" brushRef="#br0" timeOffset="152533.01">24619 781 0,'14'13'0,"12"13"31,-13-26-31,1 13 0,-1-13 16,0 14-16,14-14 0,12 13 15</inkml:trace>
  <inkml:trace contextRef="#ctx0" brushRef="#br0" timeOffset="153269.01">21656 1931 0,'-40'-13'0,"1"13"16,12 13-16,14-13 16,0 0-1,0 14-15,-1-1 16,28 13 0,-1-12-1,0-14-15,0 13 0,-13 0 0,14-13 16,-1 13-16,0-13 0,0 14 15,-13-1-15,13 0 16,-26 0 0,0-13-16,0 0 0,0 13 15,-14-13-15,-13 0 16,27 0-16,0 0 16,0 0-16,-1 0 0,1 0 0,0 0 0,0 0 15</inkml:trace>
  <inkml:trace contextRef="#ctx0" brushRef="#br0" timeOffset="153990.01">21815 1984 0,'-27'0'0,"14"0"0,0 14 16,0-14-1,0 13-15,13 0 0,-14 0 16,14 1 0,0-1-1,14 0-15,12-13 31,-26-13-15,13 13-16,-13-13 16,13 26 31,-13 0-32,27 0 1,-27 0-16,13-13 0,0 0 15,27-13 1,-13 0 0,-27 0-16,39-27 15,-39 27-15,13 0 0,-13-1 0,14 1 16,-14-13-16,13 12 0,-13 1 16,0 0-16,13-13 15,-13 12-15,-13 41 47,0 12-31,13-25-16,0-1 0,13 27 15,0-27 1,-13 0-16,13 0 0,1-13 16,-14 14-16,13-14 15,0 0-15,0 0 16,0 0-1,1 0-15,-1 0 16,-13 13 0,13-13-1,-13 13 1,13-13 0</inkml:trace>
  <inkml:trace contextRef="#ctx0" brushRef="#br0" timeOffset="155162.24">22873 1852 0,'-39'0'0,"25"0"0,1 13 16,0-13-16,-14 14 15,14-1 1,13 0 0,0 0-16,0 14 15,13-14-15,-13 0 16,0 0-16,14 1 0,-14-1 16,13 13-1,-13-12-15,-13-1 0,-1 0 16,1-13-1,0 13-15,0-26 32,13 0-17,13 0-15,13-14 16,1 14 0,26-14-16,-40 14 15,0 0-15,0 13 0,1-13 0,-1-1 16,0 14-1,0-13-15,1 13 16,-14 13 0,0 1-1,0-1-15,13 0 16,0 0 0,0-13-16,14 14 15,-14-14-15,0 0 16,0 0-16,1 0 0,-1-14 15,13 1-15,-12 0 16,-1 0-16,0-1 0,-13 1 16,0 0-16,-13-13 31,13 12-31,-13 14 0,-1 0 16,1 0-16,0 0 15,0 0 1,-1 14-16,14-1 15,14-13 1,25 13 0,-25-13-16,-1-13 0,40 0 15,-40 13-15,0 0 16,0-14-16,14 1 16,-14 13-16,0-13 0,1 13 15,-14-13 1,13 13-16,-13-14 15,-13 41 17,13-14-32,-14 0 15,14 1-15,0-1 0,0 0 16,0 0-16,14 0 16,-1 1-1,0-14-15,0 0 16,0 0-16,1 0 0,-1-14 15,13 14 1,-12 0-16,-1 0 31,0 0-15,-13 14-16,13-14 0,-13 13 16,-13 0-16,0 14 15,0-27 1,-1 13-1,1-13 1</inkml:trace>
  <inkml:trace contextRef="#ctx0" brushRef="#br0" timeOffset="156702.54">24090 1614 0,'-13'26'0,"13"-12"16,-13 12-1,13-13-15,0 14 0,-13-14 0,13 13 16,0-12-16,0 12 0,0-13 0,0 1 15,0-1-15,0 0 0,13 14 16,-13-14-16,0 0 16,-13-13-1,-1 0 1,1 0-16,-13-13 0,-1 26 16,14-13-16,-13 0 15,-1 13-15,14-13 16,0 13-16,-1-13 0,1 14 0,0-1 15,0 0 1,26 0 0,0-13-16,0 0 15,40-13-15,-26 13 16,-14 0-16,13-13 0,27 0 16,-39 13-16,-1 0 15,0-14-15,0 14 0,1 0 16,-1 0-1,0 14-15,0-1 16,0 0 0,1-13-1,-1 0-15,0 0 0,0 0 16,1-13 0,-1 13-16,0-27 15,-13 14-15,0 0 16,0 0-16,-13 13 0,13-13 15,-13-1-15,13 1 16,-27 13 0,14 0-16,0 0 15,13 13-15,-14-13 16,28 14 0,-1-1-1,0-13-15,14 0 16,-14 0-1,0 0-15,0-13 16,1 13-16,-1 0 16,0 0 31,0 13-16,0 0 63,-13 0-79,14-13-15,-1 13 16,13 1 15,-12-14 0,-1-14-15,0 14-16,0 0 16,1 0 15,-1 0 31,-13 14-30,13-14-17,0 0 16,0 0-15,1 0-16,-14-14 16,0 1-16,13 13 15,-13-13-15,13 0 16,-13 39 62,13-26-47,1 13-15,-1-13 0,-13 14-1,13-14 1,0 0-1,0 0 17,1 0-17,-14-14-15</inkml:trace>
  <inkml:trace contextRef="#ctx0" brushRef="#br0" timeOffset="156925.65">24831 1680 0,'0'40'16,"0"-1"-1,0-25-15,0-1 0,-13 13 31,13-12-31,0-1 0,-27 40 16,14-27 0</inkml:trace>
  <inkml:trace contextRef="#ctx0" brushRef="#br0" timeOffset="157105.07">24818 2037 0</inkml:trace>
  <inkml:trace contextRef="#ctx0" brushRef="#br0" timeOffset="160504.03">24739 1746 0,'0'13'94,"13"14"-79,-13-14 1,0 14-1,0-14-15,13 0 0,-13 0 16,0 1-16,0-1 16,0 0-1,13 0-15,-13 0 16,0 1 0,27-28 30,-1 1-30,1 0-16,-14 0 0,0 0 16,14-1-16,-14 1 0,0 0 0,0 13 0,0-13 15,27-1 1,-27 14 0,1 0-16,-1 0 15,0 0-15</inkml:trace>
  <inkml:trace contextRef="#ctx0" brushRef="#br0" timeOffset="182205.71">20122 7078 0,'-27'-14'16,"54"14"-1,78 0 1,-52-13-16,27 13 0,-1 0 16,0-13-16,14 13 0,211-13 15,-158 13-15,-14 0 16,146 0 0,-146 13-16,-26-13 0,13 0 0,225 13 15,-251 0-15,-1-13 16,1 14-16,52-1 15,-78-13-15,25 13 0,-65 0 16,-1-13-16,14 14 16,-53-1-1,-1-13-15</inkml:trace>
  <inkml:trace contextRef="#ctx0" brushRef="#br0" timeOffset="183005.55">1601 7911 0,'410'-53'0,"-344"40"0,0 0 16,119-14 0,-145 14-16,13 13 0,-13 0 15,-14-13-15,27 13 16,-40 0-16,27 13 16,-27 0-16,-13 0 15</inkml:trace>
  <inkml:trace contextRef="#ctx0" brushRef="#br0" timeOffset="188116.73">13084 265 0,'53'-27'15,"-40"27"-15,0 0 0,0-13 16,14 13 0,-14 0-1,0 0 1,0 13-1,1 0-15,-1 54 16,0-28-16,0-12 0,1 65 16,-1-39-16,0 0 0,-13-13 15,13 26-15,0-26 0,-13 26 16,14 40-16,-1-14 16,-13-39-16,0-13 0,13-1 0,-13 1 15,0 0-15,0-14 0,0 27 16,-13-26-16,13-14 15,0 0-15,0 14 0,-13-14 0,13 0 0,-14 0 16,1 1-16,0-1 16,0-13-16,0 0 0,-14 13 15,14-13-15,-14 0 0,-26 0 16,40 0-16,-13 0 0,-1-13 31,1 13-31</inkml:trace>
  <inkml:trace contextRef="#ctx0" brushRef="#br0" timeOffset="188748.02">13719 542 0,'0'40'16,"0"0"0,0-27-16,0 13 0,13-12 15,-13-1-15,0 0 16,0 80 15</inkml:trace>
  <inkml:trace contextRef="#ctx0" brushRef="#br0" timeOffset="188921.17">13679 450 0,'-27'-13'0,"14"13"16</inkml:trace>
  <inkml:trace contextRef="#ctx0" brushRef="#br0" timeOffset="189264.29">13824 556 0,'14'26'16,"-28"-52"-16,28 65 0,-1-25 0,-13-1 15,0 13 1,13-13 0,-13 1-16,27-28 46,-14 14-30,-13-13-16,13 13 31,14 0-31,-14 13 0,0-13 0,0 14 16,14-1-16,-14 0 16,0 0-1,0-13 1</inkml:trace>
  <inkml:trace contextRef="#ctx0" brushRef="#br0" timeOffset="189770.32">14274 450 0,'-13'13'15,"13"0"1,0 27 0,0-27-1,0 0 1,0 1-16,0-1 16,0 0 15,-13-13-16,0 0 1,-14 13 0,27 1-16,-13-1 15,0-13-15,-1 26 16,14-13 0,0 1-16,0-1 15,14-13 1,-1 0-16,13 0 15,-12-13 1,12 13-16,-26-14 16,27 14 15,-14 0-31,0 0 16,-13 14-16,13-14 31,-13 13-16</inkml:trace>
  <inkml:trace contextRef="#ctx0" brushRef="#br0" timeOffset="190029.41">14473 556 0,'-14'39'16,"14"-25"0,0-1-1,0 0-15,0 0 0,0 0 16,0 1-16,0-1 15</inkml:trace>
  <inkml:trace contextRef="#ctx0" brushRef="#br0" timeOffset="190231.77">14446 463 0,'0'-13'16</inkml:trace>
  <inkml:trace contextRef="#ctx0" brushRef="#br0" timeOffset="190994.24">14658 503 0,'-13'0'0,"-1"13"0,1-13 16,0 0-16,13 13 0,-13 0 15,0 1 1,13-1-16,-14 0 0,14 0 15,0 1-15,14-1 16,-1-13 15,0 0-15,0-13 0,-13-1-16,13 1 15,1 0 16,-14 0-15,13 13 15,0 13 1,-13 0-17,0 0 1,0 1-1,13-14 1,-13 13-16,14-13 78,-1 0-62,0 0-1,0 0-15,1 0 16,-1 0 0,0 0-16,0 0 31,0 0-15,1-13-16,-1 13 15</inkml:trace>
  <inkml:trace contextRef="#ctx0" brushRef="#br0" timeOffset="191669.06">15161 609 0,'13'-14'16,"0"1"-16,0 0 0,1 13 16,-14-13-16,26-27 15,-26 27-15,0-1 16,0 1-1,0 0 1,-13 26 15,0 0-15,13 1-16,0-1 16,13 13-1,0-12 1,13-14-1,-12 0-15,12-14 16,-13 14-16,1-13 0</inkml:trace>
  <inkml:trace contextRef="#ctx0" brushRef="#br0" timeOffset="192658.34">15491 384 0,'-13'0'0,"0"13"16,13 0 0,-13-13-16,-1 27 15,14 12 1,0 1-1,27-27 17,-14-26-32,14 0 15,-14 13 1,0-14-16,0 1 31,1 0-31,-14 26 31,0 14-15,13-14-16,-13 0 16,13 0-1,0-13-15,0 0 16,1 0 0,-1 0-16,13-13 15,-26 0-15,14 13 0,-14-13 16,0-1-16,-14 1 15,14 0-15,-26 0 16,-1 13 0,14 0-1,0 0-15,0 0 16,13 13 0,26-13 15,-13 0-16,1 0 1,-1 0-16,0 0 0,0 13 16,1-13-1,-14 13 1,13-13-16,-13 14 0,13-14 16,-13 13-1,13-13 1,0 0 15,1-13-15,-1 13-1,27-14 1,-27 14 0,0 0-16,14 14 15,-14-14 1,13 0-16,-13 0 15,1 0-15,-1 0 0</inkml:trace>
  <inkml:trace contextRef="#ctx0" brushRef="#br0" timeOffset="194124.9">15994 450 0,'-13'0'0,"0"13"0,13 0 16,0 14-1,0-14 1,13 0-16,0 0 31,14-13-31,-14 0 0,26-13 16,-25 0-1,-1-14 1,-13-12 0,-13 26 15,-1-1-31,1 1 16,0 13-1,39 13 48,-12 1-48,-1-14-15,0 0 16,0 13 0,1-13-1,-14 13 1,13-13-16,0 13 15,0 0 32,0-26-15,1 0-17,-1 0 1,13 13 15,-12 0-15,-1 0-1,0 0 1,0 13 0,1-13 15,-1-13 16,0 13 0,0 0-32,0 0 16,1 0-15,-1 0 31,0-13-47,-13-1 16,13 14-1,-13 14 79,0 12-78,14-26-1,-14 13-15,13-13 16,0 0 15,0 0-31,1 0 16,-1-13-16,0 13 15,13 13 1,-12-13 0,12 40-1,-26-27-15,13 0 0,-13 1 16,0 12-16,0-13 0,0 1 0,0 12 15,0-13-15,-13 0 0,13 1 0,-13 12 16,0-13-16,-1 1 16,-12-1-16,13 0 15,0-13-15,-1 0 0,1 0 16,0 0-16,0 0 16,13-13-16,-14 0 15,14-1-15</inkml:trace>
  <inkml:trace contextRef="#ctx0" brushRef="#br0" timeOffset="195349.19">16867 463 0,'0'26'47,"0"-12"-47,0-1 16,0 0 0,13 0-1,1-26 1,-1 13-16,0 0 15,0-13-15,1 13 16,-1 0 0,0 13-1,13 0 1,-12-13 0,-1 0-16,0 0 15,0 0-15,1 0 16,-1-13-16,-13 0 15,13 0-15,-13-1 16,0 1 0,0 0-16,0 0 31,0 0-31</inkml:trace>
  <inkml:trace contextRef="#ctx0" brushRef="#br0" timeOffset="195723.08">17185 265 0,'13'26'0,"0"-13"0,-13 27 15,0-27 1,0 0-16,13 14 0,-13-14 0,0 0 15,0 1-15,0-1 0,0 0 0,0 0 16,0 0-16,0 1 31,0-1-31,27-26 32,-14 13-1,0 0-16,1 13-15,-1-13 16,0 13 0,0-13-16,0 0 0,1 0 15,12-13 1,-13 0-16</inkml:trace>
  <inkml:trace contextRef="#ctx0" brushRef="#br0" timeOffset="196113.03">17476 503 0,'13'-14'32,"-13"1"-17,13-13 1,-13 13 0,-13-14 15,0 40 0,13 1-31,0 12 31,0-13-31,13-13 16,-13 13 0,13-13-16,0 0 0</inkml:trace>
  <inkml:trace contextRef="#ctx0" brushRef="#br0" timeOffset="196557.5">17674 410 0,'0'13'31,"0"1"-15,0-1 15,13-13 0,1 0 0,-1-13-31,0 13 16,0 0 0,14 0-1,-14 0 1,-13 13-16,13-13 15,0 0 1</inkml:trace>
  <inkml:trace contextRef="#ctx0" brushRef="#br0" timeOffset="198353.22">13811 1138 0,'0'-14'0,"-13"41"16,13 13-1,0-14-15,0-13 0,13 14 16,-13-1-16,0 1 16,0-14-16,0 0 0,0 0 0,0 27 15,13-27-15,-13 1 32</inkml:trace>
  <inkml:trace contextRef="#ctx0" brushRef="#br0" timeOffset="198749.57">13785 1111 0,'13'-26'0,"13"13"15,1 13-15,26 0 16,-40 13 0,-13 0-16,13-13 0,1 26 15,-14-12-15,0 12 0,-14-13 16,14 1-16,-13 12 0,0 14 16,0-27-16,-1 0 0,1 0 15,-27 27 1,40-27-1,-13 1-15,26-1 32,1-13-17,-1 0-15,0 0 0,0 13 0,1-13 0,-1 0 16,0-13-16,14 13 16,-14 0-16,13 0 0,-13-13 0</inkml:trace>
  <inkml:trace contextRef="#ctx0" brushRef="#br0" timeOffset="199349.91">14142 1191 0,'-13'0'0,"0"13"15,13 0-15,-27 0 16,27 1-16,-13 12 31,0-13-31,13 0 0,0 1 0,0-1 16,0 0-1,13 0 1,0-13-16,0-26 16,1 13-1,-14-1-15,0 1 16,13 0-16,-13-13 16,0 52 30,0 0-30,13-12 0,-13-1-1,0 0-15,13 0 16,0-13-16</inkml:trace>
  <inkml:trace contextRef="#ctx0" brushRef="#br0" timeOffset="199786.42">14235 1045 0,'0'27'15,"13"-1"1,-13 0 0,0-12-16,0-1 0,0 27 15,0-14 1,0-13-16,0 1 0,0-1 16,0 0-16,13 0 15,-13 0-15,13-26 31,14 0-15,-14 13 0,27 13-1,-27-13 1,0 13 0,0 1-1,1-14 1,-14 13-16,13-13 15</inkml:trace>
  <inkml:trace contextRef="#ctx0" brushRef="#br0" timeOffset="200362.18">14486 1191 0,'-13'13'47,"13"0"-32,0 0 1,13 1-1,0-28 17,0 14-17,1-13 1,12 26 15,-13 1-15,1-14-16,12 0 15,-13-14 1,0 1-16,1 0 16,12-27-1,-26 27-15,13-14 0,-13 1 16,0 13-16,14 0 16,-14-1-16,0 1 0,0 0 15,0 0-15,0 52 31,13-25-31,-13-1 16,0 0-16,13 40 16,0-40-1,1 0-15,12 27 16,0-27 0,-12-13-16</inkml:trace>
  <inkml:trace contextRef="#ctx0" brushRef="#br0" timeOffset="201513.8">15200 1072 0,'-13'0'0,"0"0"0,0 0 15,-1 0-15,1 0 16,0 13 0,0 0-16,13 0 15,13 14 1,-13-14-16,0 0 0,13 0 16,-13 1-16,0-1 0,-13 40 15,13-40 1,-13 0-16,13 0 0,-14 1 0,1-1 15,0-13 1,13-13 0,0-1-1,13 1-15,0 0 16,-13 0-16,53-27 16,-26 27-16,26-27 15,-40 40-15,13-13 0,14-27 16,-13 27-1,-14 13-15,-13-13 16,13 13 0,-13-13-1,-13 39 17,0-13-17,13 0-15,0 1 16,-14-14-16,14 13 15,14 0-15,-1-13 16,0 0 0,0 0-1,-13-13 1,14 13 0,-1-13-1,0 26 110,-13 0-94,0 0-15</inkml:trace>
  <inkml:trace contextRef="#ctx0" brushRef="#br0" timeOffset="201917.33">15386 886 0,'-14'53'31,"14"-40"-31,0 27 16,0 26 0,0-52-16,0 38 15,0-38-15,0-1 16,0 0-1,0 0 1,14-13-16,-1 0 31,0 0-31,0 0 32,-13 14-32,27-14 15,-27 13-15,13-13 16,0 0-16,0 13 15,1-13 1,-1-13-16,0 13 0</inkml:trace>
  <inkml:trace contextRef="#ctx0" brushRef="#br0" timeOffset="202513.34">15690 1032 0,'-13'0'16,"-1"13"-16,1 0 16,0 1-16,13-1 0,-13 0 15,13 0 1,0 0-16,0 1 15,13-14 1,0-14 0,0 1-1,1 0 1,-1 0-16,-13 0 16,13 26 30,0 0-30,-13 0-16,13 0 16,-13 1-1,27-28 17,-14 1-17,0 13 1,1-13-1,-1 26 1,0-13 0,0 0-16,-13 13 15,27-13 1,-14 0 0,0-13-1,0 0 1,1 13-16</inkml:trace>
  <inkml:trace contextRef="#ctx0" brushRef="#br0" timeOffset="203041.29">16153 794 0,'0'39'0,"0"-12"16,0-14 0,0 0-16,0 1 0,0-1 0,0 0 15,0 0-15,13-13 0,-13 13 0,0 1 16,0-1-1,0 0-15,0 0 16,-26-13 0,12 0-1,-12 0 1,13 14-16,-1-14 0,1 13 16,0 0-1,0 0 1,26 1-16,13-28 15,-12 14 1,39-13 0,-40 13-16,0-13 0,0 13 0,0 0 15,1-13-15,-1 13 0,0 0 16,0 0 0,1 0-16,-1 0 15,-13 13 1,13-13-16,-13 13 15</inkml:trace>
  <inkml:trace contextRef="#ctx0" brushRef="#br0" timeOffset="203157.62">16351 886 0,'13'-13'0</inkml:trace>
  <inkml:trace contextRef="#ctx0" brushRef="#br0" timeOffset="204018.01">16801 966 0,'0'26'47,"-13"-26"-47,26 13 15,-13 1-15,0-1 16,13-13-16,1 0 15,-1 0 1,0 0 0,-13-13-1,13 13 1,0 13 0,1-13-1,-14 13 1,13-13-16,0 0 15,0 0-15,-13-13 16,14 13 0,-14-13-1,13-1-15,-13 1 16,0 0 0,13 0-1,0 13-15,0-14 16,1 14-16</inkml:trace>
  <inkml:trace contextRef="#ctx0" brushRef="#br0" timeOffset="204431.23">17198 860 0,'-13'0'0,"-1"13"0,1 0 16,0-13-1,-13 27-15,26-14 16,-14 0 0,14 0-16,0 1 15,-13-14 1,40-14 31,-14 1-16,0 13-15,0 13-1,0-13 1,-13 14 0,14-14-16,-1 0 0,-13 13 15,13-13 1,-13 13-16,-13 0 15</inkml:trace>
  <inkml:trace contextRef="#ctx0" brushRef="#br0" timeOffset="204920.85">17714 820 0,'-13'13'16,"13"1"-1,0-1-15,0 0 0,0 14 16,0-14-16,13 0 0,-13 0 15,0 14 1,0-14-16,0 0 0</inkml:trace>
  <inkml:trace contextRef="#ctx0" brushRef="#br0" timeOffset="205161.34">17714 833 0,'13'-39'16,"0"39"-16,1 0 0,-14-13 16,39 26-1,-26 0-15,1 0 16,-14 14 0,0-14-16,-27 13 15,14-12 1,0-1-16,0-13 15,13 13-15,-14-13 0</inkml:trace>
  <inkml:trace contextRef="#ctx0" brushRef="#br0" timeOffset="205633.15">17912 900 0,'0'13'0,"14"0"15,-14-39 16,13 12-15,-13 1 0,0 0 15,26 26 16,-13-13-32,1 0 1,-1 0 0,0 0-16,0 0 15,1 0 1,-1 13 0,0-13-1,0 0-15</inkml:trace>
  <inkml:trace contextRef="#ctx0" brushRef="#br0" timeOffset="-201030.57">17410 900 0,'-14'-14'16,"1"14"-1,0 0 1,0 14-16,-1-14 0,1 13 15,0-13 1,13 13-16,-13-13 0,0 13 0,-1 0 16,14 1-1,0-1 1,0 0-16,14-13 16,-14 13-1,13-13 1,-13 14-16,-13-1 47,-1 0-32,1-13-15,13 13 16,-13-13-16,13 14 0</inkml:trace>
  <inkml:trace contextRef="#ctx0" brushRef="#br0" timeOffset="-200421.51">16880 1336 0,'106'-66'31,"-40"40"-31,-26 12 16,0 14-16,-14-13 0,14 0 0,-27 13 0,14-13 15,-1 13-15,-13-14 0,1 14 0,-1 0 16,13-13-16,-13 13 16,1 0-1,-1 0-15,-13-13 0,13 13 16,-39 13 31,26 0-32</inkml:trace>
  <inkml:trace contextRef="#ctx0" brushRef="#br0" timeOffset="-199654.38">17132 1416 0,'13'26'31,"-13"-13"-31,13 0 16,-13 27-1,0-27-15,13 1 0,-13-1 0,0 0 16,14 0-16,-14 1 0,0 12 16,13-13-16,-13 0 15,0 1-15,0-1 16,0 0-16</inkml:trace>
  <inkml:trace contextRef="#ctx0" brushRef="#br0" timeOffset="-199267.14">17079 1640 0,'26'14'16,"-26"-1"0,27 27-1,12 12-15,-39-38 16,14-14-16,-1 13 0,0 0 16,0-13-16,-13 13 0,14-13 15,-1 0-15,0-13 16,0 0-16,1-14 15,-1 14 1,-13-13-16,13 26 16,0-27-1,-13 14-15,13 0 16,1 13-16</inkml:trace>
  <inkml:trace contextRef="#ctx0" brushRef="#br0" timeOffset="-198865.4">17410 2011 0,'0'26'16,"0"-12"-16,0-1 0,13 13 31,-13 1-31,0-14 16,0 0-16,0 0 15</inkml:trace>
  <inkml:trace contextRef="#ctx0" brushRef="#br0" timeOffset="-198634.37">17264 2037 0,'0'-13'0,"0"0"16,27 0-16,-14 13 16,-13-14-16,26 14 15,-13-13-15,14 13 16,-14 0-16,14 13 16</inkml:trace>
  <inkml:trace contextRef="#ctx0" brushRef="#br0" timeOffset="-198419.48">17357 2209 0,'26'0'0,"1"-13"15,-14 13 1,0 0-16,0 0 0,0-13 16,27 0-1,-27 13-15,1 0 0,-1-14 0</inkml:trace>
  <inkml:trace contextRef="#ctx0" brushRef="#br0" timeOffset="-198079.25">17793 1998 0,'0'-27'0,"-13"14"16,0 13-1,0 0 1,-1 0-16,14 13 16,0 0-16,-13 1 15,26 25-15,-13-25 16,0 12-16,14-13 0,-14 0 0,13 1 16,-13 12-16,26 14 15,-13-27-15,14 40 31</inkml:trace>
  <inkml:trace contextRef="#ctx0" brushRef="#br0" timeOffset="-197894.38">17634 2196 0,'0'0'16,"14"-13"0,-1 13-16,13-13 15,-12 13-15,12-14 0,-13 14 0,40-13 32</inkml:trace>
  <inkml:trace contextRef="#ctx0" brushRef="#br0" timeOffset="-168502.16">13824 225 0,'-13'-27'16,"0"27"0,0 14-16,0-14 0,-1 0 0,-12 13 15,-1 0 1,14 0-16,0 1 0,-14-14 15,1 26-15,13-13 0,0 1 16,-1 12-16,1-13 16,0 0-16,13 14 0,-13 13 15,-1-14-15,14 40 0,0-26 16,0 0-16,0-1 16,0 41-16,0-27 0,0-14 0,0 14 15,14 13-15,-14 67 16,13-1-16,0-53 15,0 54-15,1 12 16,12-13-16,0-26 16,14-26-16,13-14 15,0-13-15,-27-40 16,41 27-16,-28-27 16,-12 0-16,26-13 0,13 0 15</inkml:trace>
  <inkml:trace contextRef="#ctx0" brushRef="#br0" timeOffset="-167657.15">17912 106 0,'27'13'0,"-14"-13"16,0 0-16,14 0 0,-14 0 16,0 0-16,0 0 15,1 0-15,-1 13 0,13 1 16,-12-1-16,12 0 0,-13 13 0,0 1 16,14-1-16,-14 14 0,0-13 15,14-1-15,-14 14 0,0-1 16,0 1-16,14 53 0,-14-54 15,0 1-15,14 13 0,13 53 16,-14-14-16,0-39 0,1-13 16,-14 0-16,0-1 0,14 1 15,-1 26-15,-12-26 0,-1-14 16,0 1-16,0 12 0,-13-25 16,13 12-16,-13-13 0,-13 14 15,13-1-15,-13-12 16,-13 12-16,-1 0 0,1 1 0,-1-14 15,1 14-15,-54 12 0,54-25 16,-14-1-16,0 0 0,1 0 16,-27 0-16,26 1 15,14-1-15,-1-13 0,1 13 0,-1-13 0,14 13 16</inkml:trace>
  <inkml:trace contextRef="#ctx0" brushRef="#br0" timeOffset="-163570.77">18164 6152 0,'-27'66'0,"27"-27"0,-13 14 16,0 80-16,13-54 0,-13-13 16,13 14-16,-14-14 0,14 0 0,-13 0 15,13 0-15,0-13 16,-13 0-16,13-13 0,0-1 0,0 1 0,0-14 15,0-12-15,0-1 0,0 13 0,0-12 16</inkml:trace>
  <inkml:trace contextRef="#ctx0" brushRef="#br0" timeOffset="-162666.37">18045 6019 0,'238'-26'0,"-172"26"16,0 0-16,0-13 0,14 13 0,12-14 16,1 14-16,-1-13 0,27 0 0,14 0 15,-1-1-15,0 1 0,14 0 16,-14 13-16,14-13 0,-1 0 16,14-1-16,-14 1 0,1 13 0,13-13 15,-14 0-15,1 13 0,-1-14 0,1 1 16,-1 13-16,-12-13 0,-1 13 15,80-13-15,-107-1 0,94 14 16,-107-13-16,1 13 0,79-13 16,-93 13-16,1-13 15,-1 13-15,0 0 0,-12-13 0,-14 13 16,52-14-16,-52 14 0,-13 0 16,0 0-16,-14 0 0,1-13 0,-1 13 15,-13 0-15,1 0 0,-1 0 16,0 0-16,0 0 0,0-13 15,1 13-15,-1 0 16,0 13 0,-13 0-1,0 1 1,0-1-16,0 0 16,0 0-16,0 14 0,0-14 0,-13 13 15,13 1-15,0 13 0,0-1 0,0 1 16,13 13-16,-13 0 0,0 0 15,0 13-15,0 0 0,13-13 16,-13 13-16,14-13 0,-14 13 0,13-26 16,-13 13-16,13 39 0,0-39 15,0-13-15,-13 0 0,14 39 16,-1-53-16,-13 1 0,13-1 16,-13 1-16,13 26 0,1-40 15,-14 13-15,0-12 0,0 12 16,13-13-16,-13 1 0,0-1 0,0 0 15,13 0-15,-13 0 0,0 1 0,0-1 16,0 0-16,13 0 16,-13 1-16,0-1 15,0 0-15,0 0 16,-13-13 0,0 0-16,-27 13 15,0-13-15,-12 14 0,-28-1 16,1-13-16,-14 13 0,-185 27 15,133-27-15,-14 14 0,-13-14 16,0 13-16,-13 1 0,-13-1 0,-239 27 16,239-40-16,-54 14 15,-198 12-15</inkml:trace>
  <inkml:trace contextRef="#ctx0" brushRef="#br0" timeOffset="-160577.29">2117 7779 0,'-14'13'31,"28"-13"-31,-1 13 16,27 0-1,-27-13-15,13 0 0,1 14 16,-14-14-16,40 0 15,-27 0-15,14 0 0,0-14 0,13 14 16,0 0-16,-14-13 0,14 0 16,27 0-16,-28 0 15,-12 13-15,-13-14 0,12 1 0,-12 13 16,-14-13-16,13 0 0,1 13 0,-14-14 16,0 14-16,14-13 0,-14 0 15,0 13-15,0-13 0,1-1 0,-1 1 16,-13 0-16,13 13 0,0-13 15,1 0-15,-14-1 0,13 1 0,-13 0 16,13 0-16,-13-1 0,13 1 16,-13-13-16,0 12 0,14-12 15,-14 13-15,0-14 16,-14 14-16,14 0 0,0 0 16,0-1-16,-13-12 0,13 13 15,-13-1-15,13 1 0,-13 0 0,-1 0 16,1 13-16,13-13 0,-13-1 0,0 1 15,-1 13-15,1-13 0,0 0 16,0 13-16,0-14 0,-1 14 0,1-13 16,0 0-16,0 13 0,-14-13 15,14 13-15,0-13 0,-14 13 16,14-14-16,-13 14 0,-14-13 16,13 0-16,1 13 0,0-13 0,12 13 0,-12-14 15,-1 14-15,1-13 0,-1 13 16,1-13-16,13 13 0,-14-13 15,14 13-15,-13 0 0,12-14 0,1 14 16,0 0-16,0 0 16,-1-13-16,1 13 0,0 0 0,-13 0 0,-1 0 15,14 0-15,0 0 0,-1 0 16,1 0-16,-13 0 0,12 0 16,1 0-16,0 0 0,0 0 0,-14 0 15,14 0-15,0 0 0,0 0 16,-14 0-16,14 0 0,0 0 0,0 0 15,-14 0-15,14 0 0,0 0 0,-1 0 16,-12 0-16,13 0 0,-1 0 16,-12 0-16,13 13 0,-14-13 15,14 0-15,-13 0 0,12 0 16,-12 14-16,13-14 0,-14 0 0,14 0 0,-13 13 16,12-13-16,-12 0 0,-1 0 15,14 0-15,-13 13 0,13-13 0,-14 0 16,1 0-16,12 13 0,-12-13 15,-1 0-15,14 0 0,-26 14 16,12-14-16,-13 13 0,14-13 16,13 13-16,-1-13 0,-12 13 15,13-13-15,-14 0 0,14 14 16,0-14-16,-14 13 0,14 0 0,0-13 16,0 13-16,-1 0 0,-12-13 0,13 14 15,0-1-15,-1 0 0,1 0 16,0 14-16,0-14 0,-14 13 15,27-12-15,-13-1 0,13 0 16,-13 14 0,-1-1-16,1 1 0,13-1 15,0-13-15,-13 14 0,13 12 16,0-12-16,0 13 16,0-14-16,0 0 0,13 1 0,-13-1 15,13-12-15,-13 12 0,27 14 16,-14-14-16,14 1 0,-1-14 15,14 13-15,-1-12 0,-12-1 16,13 0-16,-1-13 0,41 13 16,-54-13-16,14 0 15,26 14-15,-40-28 0,41 14 16,-14 0-16,-27-13 0,14 13 0,-14 0 16,1-13-16,-1 13 15,0 0-15,27-13 0,-26-1 0,-14 14 16,27 0-16,-27 0 0,0 0 15,0 0-15,1 0 16,-1 0-16</inkml:trace>
  <inkml:trace contextRef="#ctx0" brushRef="#br0" timeOffset="-158693.33">18706 767 0,'172'-106'15,"-146"80"-15,94-27 16,-94 40-16,14 0 0,-14-1 0,1 1 0,-14 13 15,0-13-15,0 13 0,1-13 16,-1 13-16,-13-14 16</inkml:trace>
  <inkml:trace contextRef="#ctx0" brushRef="#br0" timeOffset="-158373.93">18878 476 0,'-106'146'16,"93"-120"-16,0 14 0,-1-14 0,1 14 15,0-13-15,13-1 0,-13-13 0,13 14 16,0-14-16,0 13 0,0-12 0,0-1 15,0 0-15,26 27 16,-13-40-16,1 13 16,-1-13-16,0 0 0,0 0 0,1 0 15,12 0-15,-13-13 0,14 13 16,-1-14-16,14 1 0,-14 0 0,41-13 16,12-14-16,-53 27 15,14-14-15</inkml:trace>
  <inkml:trace contextRef="#ctx0" brushRef="#br0" timeOffset="-137956.22">714 3307 0,'-53'80'0,"40"-27"16,13 13-16,0 26 0,0 27 0,13 14 15,-13 12-15,14 27 0,25 225 16</inkml:trace>
  <inkml:trace contextRef="#ctx0" brushRef="#br0" timeOffset="-136767.25">1085 2566 0,'-53'80'0,"53"-54"0,0 14 0,0 0 0,13 26 16,0-13-16,1 13 15,-1 0-15,13 13 0,1 14 0,-1 0 16,27 79-16,-40-93 0,14 0 16,-14 14-16,0-14 15,14 67-15,-14-67 0,-13-13 0,0-13 16,0-13-16,0 13 0,0-13 0,0-14 15,0 0-15,0 1 0,-13-14 16,13 0-16,0 1 0,0-1 16,-14-40 15,41 41-15,-1-1-16,1 13 0,13 27 0,39 80 15,-39-41-15,-14 14 16,14 0-16,-14 13 0,14 119 15,0 132-15,-27-145 16,-13-132-16,0-1 16,0 1-16,0-14 0,-13 14 0,13-14 15,0 1-15,0-14 0,0 0 0,0 0 16,-14 53-16,14-66 16</inkml:trace>
  <inkml:trace contextRef="#ctx0" brushRef="#br0" timeOffset="-128478.36">13216 10186 0,'40'0'16,"-27"0"0,13 0-16,1 0 0,-1 0 15,1 0-15,12 0 0,14 0 0,0 0 16,0 0-16,26 14 0,1-14 0,-14 0 16,13 13-16,1-13 15,-1 0-15,1 0 0,92 0 0,-80-13 16,1 13-16,-14 0 0,14 0 15,-1-14-15,1 14 0,-14-13 0,1 0 16,-1 13-16,67-13 0,-94 0 16,1 13-16,0 0 0,-13-14 15,0 14-15,-14 0 0,14 0 16,-27 0-16,14-13 0,-14 13 0,0 0 16,0 0-16,0 0 0,1 0 15,-1 0-15</inkml:trace>
  <inkml:trace contextRef="#ctx0" brushRef="#br0" timeOffset="-125697.04">21101 10028 0,'26'13'31,"-13"-13"-31,0 0 0,14 0 16,-14 0-16,14 0 0,-1 0 15,14 0-15,-14 0 0,27 0 16,0 0-16,-13 0 0,13-13 0,0 13 0,13 0 15,-13 0-15,0 0 0,13 0 16,-13 0-16,0 0 0,13 0 16,-13 0-16,13 0 0,-13 0 0,26 0 15,-13 0-15,-13 0 0,0 0 16,13 13-16,-13-13 0,0 0 0,0 0 16,0 0-16,13 0 0,-13 0 15,0 0-15,0 0 0,0 0 0,0 0 16,-1 0-16,1 0 0,-13 0 0,13 0 15,-13 0-15,-1 0 0,1 0 16,0 13-16,-14-13 0,14 0 0,0 0 16,12 0-16,-12 0 0,-13 0 0,12 0 15,-12 0-15,12 0 0,-12 0 16,-1 0-16,1 0 0,-1 0 0,1-13 16,-1 13-16,-13 0 0,14 0 15,-1 0-15,-12 0 0,12-13 16,-13 13-16,14 0 0,-14 0 0,13-14 15,-12 14-15,-1 0 0,13-13 0,-12 13 16,-1-13-16,13 13 0,-13 0 16,14-13-16,-14 13 0,0-13 0,14 13 15,-14 0-15,14 0 0,-14-14 0,13 14 16,-13 0-16,1-13 16,12 13-16,-13 0 0,1-13 0,-1 13 15,0 0-15,0-13 0,1 13 0,-1 0 16,13-14-16,-13 14 15,1-13-15,-1 13 0,0 0 0,0-13 16,1 0-16,-1 13 0,-13-14 16,13 14-16,0-13 0,-13 0 0,13 0 15,-13 0-15,0-1 0,14 1 16,-14 0-16,0 0 0,-14-1 16,14 1-16,0 0 0,0 0 15,-13 0-15,0-1 0,13 1 16,-13 0-16,0 0 0,-1-1 15,1 1-15,0 0 0,0 0 0,-1-1 16,-12 1-16,13 13 0,0-13 0,-14 0 16,14 0-16,-14-1 0,1 14 15,13-13-15,-14 0 0,1 13 16,13-13-16,-14-1 0,1 14 0,12-13 16,-12 13-16,13-13 0,-14 13 0,1-13 15,-1-1-15,14 14 0,-13 0 16,-1-13-16,14 13 0,-14-13 0,1 13 15,13 0-15,-14-13 0,1 13 0,13 0 16,-14 0-16,1-13 0,-1 13 16,1 0-16,13 0 0,-14-14 0,-13 14 15,14 0-15,13-13 0,-14 13 0,1 0 16,-1 0-16,1-13 16,-14 13-16,14 0 0,-1 0 0,1 0 15,-14-13-15,14 13 0,-14 0 0,0 0 16,1-14-16,-14 14 0,26 0 15,-12 0-15,-1-13 0,0 13 0,1 0 16,12 0-16,-13 0 0,1-13 0,-14 13 16,13 0-16,-13 0 0,13 0 15,-12 0-15,-1-13 0,13 13 0,-13 0 16,13 0-16,1 0 0,-14 0 16,13 0-16,0 0 0,1 0 15,12-13-15,-26 13 0,27 0 0,-14 0 16,-13 0-16,14 0 0,12 0 0,-13 0 15,1 0-15,12 0 0,-12 0 16,12 0-16,-13 0 0,14 0 0,-14 0 16,1 0-16,12 0 0,-13 0 15,14 0-15,0 0 0,-1 0 0,1 0 16,-1 0-16,1 0 0,-14 0 0,14 0 16,-1 0-16,1 0 0,-1 0 15,1 13-15,-1-13 0,1 0 0,-1 0 16,1 0-16,-1 0 0,1 0 0,0 0 15,-1 0-15,14 0 0,-14 13 16,1-13-16,-1 0 0,14 0 16,-13 0-16,13 13 0,-14-13 0,14 0 15,0 0-15,-1 0 0,1 0 16,0 13-16,0-13 0,-1 0 0,1 0 16,0 0-16,0 14 0,0-14 15,-1 13-15,1-13 0,0 0 16,0 13-16,-1-13 0,1 13 0,0 1 15,0-14-15,0 13 0,-1 0 16,1 0-16,0-13 16,0 13-16,-1 1 0,14-1 0,-13-13 15,0 13-15,13 0 0,-13 1 16,13-1-16,-14 0 0,14 0 16,-13 1-16,13-1 0,0 13 0,0-13 15,0 1-15,0-1 0,0 13 16,0-12-16,13-1 0,-13 13 0,14-12 15,-1 12-15,0 0 0,0 1 0,14-14 16,-14 14-16,14-1 0,-14 0 16,13-12-16,-13 12 0,14-13 0,-1 1 15,1-1-15,-1 0 0,-13 0 0,14 1 16,-1-14-16,1 13 0,-14-13 16,14 0-16,-1 13 0,-13-13 15,14 0-15,-14 0 0,13 0 0,-12 0 16,-1 0-16,0 0 0,0-13 15,14 13-15,-14 0 0,-13-13 0,13 13 0,0-14 16,1 14-16,-14-13 0</inkml:trace>
  <inkml:trace contextRef="#ctx0" brushRef="#br0" timeOffset="-123575.78">11933 7713 0,'-14'-14'16,"41"14"-1,-14 0-15,0 0 0,14 0 16,-14 0-16,0-13 0,14 13 0,-1 0 16,1 0-16,-14 0 0,13 0 15,1 0-15,-14 0 0,14 0 0,-14 0 16,0 0-16,13 0 0,-12 0 0,-1 0 16,0 0-16,0 0 15,1 0-15,-1 0 16,0 0-1,-13-13-15</inkml:trace>
  <inkml:trace contextRef="#ctx0" brushRef="#br0" timeOffset="-123271.08">12224 7567 0,'26'0'0,"-13"13"16,1-13-16,-1 14 0,0-14 0,0 13 0,53 26 15,-52-25 1,-1-1-16,13 27 15,-12-27-15,-1 13 0,-13-12 0,0 12 16,0-13-16,0 14 0,-13 12 16,-1-12-16,1-1 0,0 1 15,-14-1-15,27 1 0,-26-14 0,13 0 16,0 0-16,-1 1 0,1-14 16,0 0-16</inkml:trace>
  <inkml:trace contextRef="#ctx0" brushRef="#br0" timeOffset="-122622.18">13282 7527 0,'-40'-13'0,"27"26"0,0-13 16,0 0-16,-1 0 0,-25 14 15,39-1-15,-13-13 16,-1 13-16,1-13 0,13 13 15,-13 1-15,26-1 16,27 13 0,-27-13-16,0-13 15,0 14-15,1-1 0,12-13 0,-13 13 16,1 0-16,-1-13 0,0 14 16,0-14-16,-13 13 0,14-13 15,-14 13-15,0 0 0,0 1 0,-14-1 16,-12 26-1,-1-25-15,14-1 0,0-13 16,0 13-16,-14 0 0,14-13 0,0 14 16,-14-14-16,14 0 0,0 13 15,0-13-15,-1 0 0,14-13 47,14-1-47,-14 1 0</inkml:trace>
  <inkml:trace contextRef="#ctx0" brushRef="#br0" timeOffset="-122419.33">13494 7580 0,'13'0'15,"0"27"-15,-13-14 16,0 0-16,13 0 0,-13 1 15,0-1-15,0 0 0,0 0 0,0 1 0,14-1 16,-14 0-16,0 0 0,0 1 16,0-1-16</inkml:trace>
  <inkml:trace contextRef="#ctx0" brushRef="#br0" timeOffset="-122255.8">13467 7514 0,'-13'-13'0,"0"13"16</inkml:trace>
  <inkml:trace contextRef="#ctx0" brushRef="#br0" timeOffset="-120680.1">24342 9393 0,'26'0'15,"-26"-14"1,-13-12 0,13 13-16,0 0 0,0-1 15,-13-39-15,13 27 16,-14 13-16,14-14 0,0 1 0,-13 13 16,13-14-16,0-26 15,0 40-15,0 0 16,0 0-1,27 26 1,-27 0-16,13-13 16,0 13-16,0 0 0,1 14 15,12-1-15,-26-12 16,13-1-16,1 0 0,-14 0 0,0 1 16,13-1-16,-13 0 15,-13 0 1,13 0-16,-14-13 0,14 14 0,-26-14 15,13 0-15,-27 13 16,27-13-16,-14 0 0,14 0 0,0 0 16,0 0-16,-1 0 0,1 0 15,-13 0-15,12-13 16,1 13-16,13-14 16,27-12-1,-27 13-15,13 0 16,13-14-16,-12 14 0,-1 0 0,13-1 15,-13 1-15,1 0 0,-1 0 16,13 13-16,-12-14 0,12 1 16,-13 13-1,1 13-15,-14 14 16,-14-14 0,14 14-16,0-14 0,-13 13 0,-13 27 15,12-26 1,14-14-16,-13 0 0,0 0 0,13 1 15,-13-1-15,-1 13 16,14-13 0</inkml:trace>
  <inkml:trace contextRef="#ctx0" brushRef="#br0" timeOffset="-109268.05">476 10927 0,'13'14'16,"-13"-1"-1,14 0-15,-14 0 0,26 53 31,-13-52-31,1 12 0,-14-13 16,0 0-16,13-13 0,0 40 16,-13-27-1,13 1-15,-13-1 0,14 0 16</inkml:trace>
  <inkml:trace contextRef="#ctx0" brushRef="#br0" timeOffset="-108953.14">728 10835 0,'13'13'31,"13"27"-15,-26-27-16,14 0 0,-1 14 15,0 12 1,0-12-16,0-14 0,-13 0 0,14 0 15,-14 1-15,0-1 0,13-13 0,-13 13 16</inkml:trace>
  <inkml:trace contextRef="#ctx0" brushRef="#br0" timeOffset="-108718.29">622 11126 0,'-13'-14'31,"26"1"-31,0 0 16,13 0-1</inkml:trace>
  <inkml:trace contextRef="#ctx0" brushRef="#br0" timeOffset="-108370.56">952 10901 0,'14'13'16,"-14"0"-16,13 14 15,13-1 1,27 1 15,-13-27-31,-27 0 0,14-14 16,-27 1-1,0 0-15,0 0 16,0 0-16,-14 13 0,-12-40 31,13 40-31,0-13 0,-1 13 0,1 0 16,0 0 0,0 0-16,-1 13 0,1 13 15,0-12-15</inkml:trace>
  <inkml:trace contextRef="#ctx0" brushRef="#br0" timeOffset="-107712.27">781 11655 0,'0'-13'0,"0"52"16,13-25-1,-13-1-15,0 0 0,13 0 0,0 53 16,0-39 0,-13-1-16,14 1 0,-14-14 0,13 13 15,-13-12-15,0-1 0,13 13 0,-13-12 16,13-1-16,-13 0 15,0 0 1</inkml:trace>
  <inkml:trace contextRef="#ctx0" brushRef="#br0" timeOffset="-107454.03">873 11549 0,'13'13'15,"1"1"-15,-14-1 16,13 0-16,0 0 0,0 0 0,0 14 16,1-14-16,-1 14 0,0-1 0,0-13 15,1 14-15,-1-14 0,0 0 16,0 14-16,-13-14 0,14 0 0,-1-13 15,0 27-15,-13-14 0,13-13 16</inkml:trace>
  <inkml:trace contextRef="#ctx0" brushRef="#br0" timeOffset="-107222.56">913 11906 0,'26'-66'0,"14"26"0,-27 40 15</inkml:trace>
  <inkml:trace contextRef="#ctx0" brushRef="#br0" timeOffset="-106789.27">1217 11655 0,'0'0'16,"-26"13"-1,26 0 1,0 1-16,0-1 15,0 0-15,0 0 16,0 1-16,0-1 16,13-13-1,13-13 1,-12-1-16,12-12 31,-13 26-31,0-13 16,1 13-1,-1 13-15,0-13 16,0 0-16,1 13 0,-1-13 16,13 0-1</inkml:trace>
  <inkml:trace contextRef="#ctx0" brushRef="#br0" timeOffset="-105977.29">807 10438 0,'26'-13'0,"-12"13"32,39 13-17,-53 0-15,52 40 16,-25-27-16,-14 14 15,14-13-15,-14 12 0,13 1 0,1-14 16,12 54-16,-12-54 0,13 14 16,-27-14-16,13 14 0,1-13 15,12-1-15,-12 0 0,-1 1 0,1-1 16,-1-12-16,1 12 0,-1 0 0,1 1 16,-1-14-16,1 14 0,-1-1 15,1 1-15,-1-14 0,-13 13 16,0-13-16,1 1 0,-1 12 0,0-13 0,0 1 15,1 12-15,-1-13 0,-13 1 16,13-1-16,-13 0 0,13 0 16,-13 14-16,13-14 0,-13 0 0,0 0 15,0 1-15,14-1 16,-14 27-16,0-27 0,0 0 16,-14 0-16,14 0 0,-13 1 15,13-1-15,-13 0 16,0 0-16</inkml:trace>
</inkml:ink>
</file>

<file path=ppt/ink/ink18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26:28.221"/>
    </inkml:context>
    <inkml:brush xml:id="br0">
      <inkml:brushProperty name="width" value="0.05292" units="cm"/>
      <inkml:brushProperty name="height" value="0.05292" units="cm"/>
      <inkml:brushProperty name="color" value="#0070C0"/>
    </inkml:brush>
  </inkml:definitions>
  <inkml:trace contextRef="#ctx0" brushRef="#br0">8493 4670 0,'27'13'15,"25"-26"1,-25 13-16,-1 0 0,1 0 16,-1 0-16,1-13 0,-1 13 15,14 0-15,-14-14 0,1 14 16,52-13 0,-66 0-16,1 13 0,12 0 15,-13 0-15</inkml:trace>
  <inkml:trace contextRef="#ctx0" brushRef="#br0" timeOffset="263.14">8506 4776 0,'27'0'31,"39"0"-15,-40-14-16,14 14 0,132-39 31,-132 26-31,-1 13 0,1-14 16,26 1-16,-39 13 0,26-13 15,-40 13 1,0 0-16,-13-13 0,27 13 16,-14 0-16</inkml:trace>
  <inkml:trace contextRef="#ctx0" brushRef="#br0" timeOffset="5784.34">14076 2844 0,'-13'0'0,"39"0"31,1 0-15,-1 0-16,80-26 15,-53 13-15,0-1 0,0 1 0,13 0 0,0 0 16,79-14-1,-78 14-15,-1 0 0,0 0 0,145-14 16,-171 27-16,13-13 0,0 13 16,0 0-16,53-13 15,-80 13-15,27-14 16,-40 14-16,1 0 16,-1 0-16,0 0 15,0 0-15,-26 14 31,-27-1-15</inkml:trace>
  <inkml:trace contextRef="#ctx0" brushRef="#br0" timeOffset="6107.01">14526 2937 0,'79'-27'0,"-53"27"0,94-26 15,-68 26-15,1-13 0,146-14 16,-93 27 0,-53-13-16,13 13 0,-13-13 15,132 0 1,-159 13-16,1 0 0,-1 0 15,1 0-15,-14 0 0,13 0 0,-12 0 16,-1 0-16,0 0 0,0 0 0,0 0 16,1 0-1,-1 13 1,-26 0 0,-14 0-1</inkml:trace>
  <inkml:trace contextRef="#ctx0" brushRef="#br0" timeOffset="8188.14">2051 3532 0,'39'0'0,"-26"0"16,1 0-16,-1 0 0,13 0 0,40 0 15,-39 0-15,13 0 16,-14 0 0,186 0-16,-159 0 0,0 0 15,119 0 1,-119 13-16,-1-26 0,15 26 0,157-13 16,-157 0-16,131 0 15,-119 0 1,146 0-16,-145 0 15,-14 0-15,-13 0 0,119 0 16,-119 0-16,0 0 16,-1 0-16,41-13 15,-40 13 1,0 0-16,-40-13 0,0 13 0,1 0 16,25 0-16,-25 0 31,-1 0-31,0 0 15,0 0-15,0 0 32,1 0-17</inkml:trace>
  <inkml:trace contextRef="#ctx0" brushRef="#br0" timeOffset="9080.09">6773 3585 0,'40'0'0,"-27"0"15,14 0-15,-1-13 0,120 0 16,-80-1-16,0 1 16,132-13-1,-52 12-15,-93 1 0,13 13 0,40-13 16,-53 13 0,0 0-16,-14 0 0,1-13 0,-13 13 0,25 0 31,-25 0-31,-14 0 0,14 0 0,-14 0 15,26 0-15,-25 0 16,-28 13 15,-25 0-15,26-13-16,-14 13 0,14-13 16</inkml:trace>
  <inkml:trace contextRef="#ctx0" brushRef="#br0" timeOffset="9459.66">6972 3797 0,'66'-13'15,"-26"-1"-15,-1 1 0,1 0 0,145-40 16,-132 40-16,13-1 0,53-12 15,-79 13-15,13 0 16,0-1-16,-13 14 0,-1-13 0,67 0 16,-93 0-1,40 13 1,-40 0-16,1-14 0,-1 14 16,0 0-16,0 0 0,1 0 15,-1 0 1,0-13-1,0 13 1,0 0 31</inkml:trace>
  <inkml:trace contextRef="#ctx0" brushRef="#br0" timeOffset="10783.15">8268 9459 0,'0'40'16,"0"-27"-16,0 13 0,0-13 0,13 40 15,-13-13-15,0 0 16,14 92 0,-14-106-16,13 1 0,-13-1 0,0 1 15,0 13 1,0-27-16,0 0 0,0 0 0,0 14 15,0-14 1</inkml:trace>
  <inkml:trace contextRef="#ctx0" brushRef="#br0" timeOffset="11075.55">8308 9472 0,'-27'13'0,"14"1"0,0-1 15,0 0-15,0 0 0,13 14 0,-14-14 16,1 0-16,0 14 0,-14 26 15,14-27-15,0 0 16,0 1-16,-1-14 0,1 14 16,-26 12-16,39-26 15,-14 1-15,1-1 16</inkml:trace>
  <inkml:trace contextRef="#ctx0" brushRef="#br0" timeOffset="11307.27">8176 9604 0,'26'0'0,"-13"14"0,1-1 0,12 0 15,-13-13-15,0 13 16,1-13-16,-1 0 0,40 14 15,-40-14-15,0 0 16,40-14-16,-40 14 16,27 14-1</inkml:trace>
  <inkml:trace contextRef="#ctx0" brushRef="#br0" timeOffset="11875">8096 10954 0,'0'-13'15,"0"39"17,13-13-32,-13 0 0,0 14 15,0-14-15,14 14 0,-1 65 16,0-65-1,-13-1-15,13 1 0,-13-1 0,14 0 0,-14-12 16,13-1-16,-13 13 0,26 1 16,-12-14-16,-1-13 15,13 13-15,-13-13 16,27-13 0,-27 13-16,1 0 0,-1-13 15,13 0-15,-26-1 16,14 14-1</inkml:trace>
  <inkml:trace contextRef="#ctx0" brushRef="#br0" timeOffset="12132.27">7951 11258 0,'0'-26'15,"13"12"-15,13 1 16,-12 0-16,-1 13 0,0-13 16,14-1-16,-1 1 15,0 13-15,-12-13 0,39 0 16,-40 13-16,13 0 15,-12 0-15</inkml:trace>
  <inkml:trace contextRef="#ctx0" brushRef="#br0" timeOffset="12579.59">8480 11112 0,'13'27'31,"0"-14"-31,-13 0 16,14 14-16,-1-14 15,-13 0-15,0 14 0,13 12 16,-13-25-16,0-1 0,0 0 16,13-13-1,-13 27-15,0-54 47,0 14-47,0-40 16,13 13-16,1 1 15,-14 25-15,13-25 16,0 39-16,-13-14 16,13 1-16,1 13 15,-14-13-15,13 13 16</inkml:trace>
  <inkml:trace contextRef="#ctx0" brushRef="#br0" timeOffset="13384.14">8771 11007 0,'-13'13'15,"13"0"1,0 0-16,0 1 0,0-1 16,13 26-1,-13-25-15,0-1 0,13 0 0,14 14 16,-14-27 0,-13 13-16,13-13 0,0 0 0,1 13 15,12-13-15,-13-13 16,0 13-16,1-13 15,-1 13-15,0-14 0,0 1 16,27-40 0,-27 40-16,-13-13 15,14 12-15,-1-25 16,-13 25-16,0 1 16,0-13 15,13 26-31,-26 26 47,13 1-16,13 26 0,-13-40-31,26 26 0,-12-39 16,-1 0-16,-13 14 0,13-14 0,0-14 15,1 14-15,12-13 16,-13 13-16,1-13 0,12-13 16,14-27-1,-27 39-15,-13 1 0,13-13 16,-13-14 0,0 27-16,0 0 15,-13-1-15,-14 28 16,14 12 15,13 14-31,0-27 16,13 0-16,-13 0 0,14 1 15,-14-1-15,13-13 0,0 13 0,14 0 16,-14-13-16,0 0 16,0 0-16,14 0 15,-14-13-15,0 13 0,14 0 16,-14-13-1</inkml:trace>
  <inkml:trace contextRef="#ctx0" brushRef="#br0" timeOffset="14413.43">10028 10993 0,'39'-13'15,"-25"0"-15,12 13 0,-13-13 0,14 13 16,92-27 0,-79 14-16,-1 0 0,14 0 15,66-14-15,-79 14 16,-14 13-16,40-13 16,-39-1-16,-14 14 0,0 0 15,1-13-15,-1 13 0,0 0 16,-39 0 15,12 13-15</inkml:trace>
  <inkml:trace contextRef="#ctx0" brushRef="#br0" timeOffset="14823.95">10160 10795 0,'-13'13'0,"0"-13"15,13 13-15,-14 1 0,14-1 0,-13 0 16,0 0-16,0 1 0,-1-1 16,14 13-16,-13-12 0,0 12 0,-14 27 15,14-40-15,0 0 16,13 1-16,-13 25 16,13-26-16,0 1 0,-13-14 15,26 13-15,-13 0 16,13 14-1,0-14-15,0-13 0,1 0 0,-1 0 0,0 13 16,0-13-16,1 0 0,-1 0 16,13 0-16,-12 0 0,-1-13 15,0 13-15,13 0 0,-12 0 0,-1-13 16,0 13-16,0 0 0</inkml:trace>
  <inkml:trace contextRef="#ctx0" brushRef="#br0" timeOffset="15934.48">11748 10808 0,'13'-13'32,"0"-13"-17,0 26-15,-13-27 0,13 14 0,-13 0 16,14-1-16,-14 1 0,0 0 15,0 0-15,0-14 0,0 14 0,0 0 16,0 0-16,0-1 0,-14 1 0,14 0 16,0 0-16,-13-1 15,0 14 1,-13 27 0,26-14-1,-14 0-15,14 1 0,0-1 0,14 40 16,-1-40-1,-13 0-15,26 14 16,27-1 0,-13-26-1,-1-13 1,-25 0-16,25-14 16,-39 14-16,14 13 0,-14-13 15,13-1-15,-13 1 0,0 0 16,0 0-16,13 0 0,-13-1 0,0 1 15,0 0-15,0 0 16,0-1 0,0 1-1,13 26 17,14 14-17,-14-14-15,0 0 16,14 14-1,-14-14-15,0 0 0,0 0 0,1-13 16,-14 14 0,13-14-16,0-14 47,-13 1-32,0 0-15,0 0 0,0 0 16,13-14-1,1 14-15,-1 0 16,0-1-16,0 14 16,0-13-1,1 13-15,-1 0 16,0 13-16,0-13 16,-13 14-16,14-1 15,-1 13-15,-13-12 16,13-1-16,-13 0 0,0 0 0,0 0 15,13 1 1,-13-1-16</inkml:trace>
  <inkml:trace contextRef="#ctx0" brushRef="#br0" timeOffset="16085.12">12303 10332 0,'-13'0'16,"0"0"-16,-1 13 16</inkml:trace>
  <inkml:trace contextRef="#ctx0" brushRef="#br0" timeOffset="16719.03">12581 10200 0,'0'0'0,"0"26"31,13 14-15,-13-14-16,13-12 0,-13 12 0,0 0 15,0 1-15,14-1 0,-14 1 16,0-14-16,13 14 0,-13-14 0,13 0 16,-13 0-16,13 0 0,-13 1 0,14-1 15,-1 0 1,-40-26 31,14 13-47,0 0 0,-40 0 15,40 0 1,-1 0-16,1 13 0,0-13 0,0 13 16,-14 14-1,14-27-15,13 13 0,0 0 16,27 0 0,-14-13-1,0 0-15,0 0 0,14 0 16,-14-13-16,0 13 0,14-13 0,-1 0 15,-13 0-15,1-1 0,12 1 0,-13 0 16,0-14-16,-13 14 0,27-26 16,-27 25-16,0 1 15,0 0-15,0 0 16,0-1 0,-27 28-1,27-1-15,0 0 16,0 0-16,0 1 15,0-1-15,14 0 16,-1 0-16,0-13 16,14 13-1,-14-13-15,13 0 16,1 0 0,-14-13-16,13 13 15</inkml:trace>
  <inkml:trace contextRef="#ctx0" brushRef="#br0" timeOffset="17207.74">12951 10385 0,'14'53'16,"-1"-27"-16,0-12 15,-13-1-15,0 0 0,13 0 16,-13 0 0,14 1-16,-1-28 31,0 1-15,-13 0-16,13 0 15,0 0-15,1 13 16,-1 0-1,13 13 1,-26 0-16,14-13 16,-1 0-16,13 13 15,-13-13-15,1-13 0,-1 13 16,0 0-16,14-13 0,-14 13 0,0-13 16</inkml:trace>
  <inkml:trace contextRef="#ctx0" brushRef="#br0" timeOffset="17575.08">13481 10292 0,'13'-53'16,"-13"40"-16,-13 0 16,13 0-16,-14 13 15,-12 13 1,13 13 0,-1-12-16,1-1 0,13 0 15,-13-13-15,13 27 0,0-14 0,0 0 16,0 0-16,0 0 0,0 1 15,13-1 1,14 0-16,-14-26 31,0 0-31,0 13 16,-13-14-16,14 14 0,-14-13 16,13 13-16,0 13 31,0-13-16,-13 14-15,13-14 16,1 0-16,-1 0 16,0 0-1,14-14 1</inkml:trace>
  <inkml:trace contextRef="#ctx0" brushRef="#br0" timeOffset="18023.18">12898 11179 0,'0'-14'0,"-13"41"32,13 13-32,0-27 0,13 13 15,-13 1-15,14 52 16,-14-52-16,13 12 0,-13-26 0,0 14 16,13-1-16,-13-12 0,13 39 15,-13-40-15,0 0 16,0 0-16,14 0 15</inkml:trace>
  <inkml:trace contextRef="#ctx0" brushRef="#br0" timeOffset="18247.9">12819 11271 0,'40'-53'0,"-14"40"16,-13 13-16,54-26 16,-41 12-16,14 1 0,-14 13 15,-13 0-15,14 0 16,-14 0-16</inkml:trace>
  <inkml:trace contextRef="#ctx0" brushRef="#br0" timeOffset="18428.29">12832 11496 0,'40'-13'0,"-27"0"0,0-1 16,14 1-16,-1 0 16,-12 13-16,12-13 0,-13 13 15,14-13-15,-14-1 0</inkml:trace>
  <inkml:trace contextRef="#ctx0" brushRef="#br0" timeOffset="19747.08">13322 11284 0,'-66'14'0,"52"-1"16,1-13-16,0 13 16,0 0-16,-1 1 0,1-1 0,0 0 15,0 14 1,13-14-16,0 13 15,13-26-15,0 0 16,0 0 0,1 0-16,-1 0 0,0-13 15,0 0 1,1 0-16,-14-1 0,13 1 0,-13 0 16,13 0-16,-13-1 0,0 1 15,0 0-15,0 0 16,0-1-16,13 41 62,-13-14-62,14 14 16,-14-14 0,26 13-1,-13-26-15,14 14 16,-14-14-1,0 0 1,0-14-16,1 14 0,-14-13 0,13 0 16,0 0-16,0-27 15,-13 27-15,14-1 0,-14-12 16,0 13-16,13 0 0,-13-40 16,0 39-16,0 1 15,0-27 1,-13 27-16,13-13 15,0 13 1,-14-1-16,14 1 16,0 40 15,0-1-15,0-13-16,0 0 15,14 1-15,-14-1 0,13 13 16,-13-12-16,0-1 15,13 0-15,-13 0 0,13 1 16,0 12-16,1-13 16,-14 0-16,26-13 31,-13 0-15,1-26-1,-14 13-15,13-14 16,0 27-16,-13-13 15,13 0 1,-13 0-16,13 13 0,1-14 16,-1 14-1,0 14-15,14-1 16,-27 0 0,13-13-16,-13 13 0,0 1 15,0-1-15,0 13 16,0-13-1,13 1-15,0-14 32,1 0-32,-1-27 15,0 1-15,0 13 16,0-1-16,1 1 0,-14 0 16,13 0-16,0-1 0,-13 1 0,0 0 15,13 13-15,-13-13 0,-13 39 47,13-13-31,0 1-1,13-1-15,-13 0 16,14-13-16,-1 0 0,0 0 16,14 0-1,-14 0 1,0 0-16,-13 13 0</inkml:trace>
  <inkml:trace contextRef="#ctx0" brushRef="#br0" timeOffset="20063.11">12898 11972 0,'27'-13'15,"-1"0"-15,-12 0 0,25-1 0,1 1 16,13-13-16,0-1 0,0 1 0,0-1 16,119-52-1,-133 53-15,14 12 0,-13-12 0,0 13 16,52-40-1,-79 40-15,1 13 0,-1-14 0,13 14 16,-52 27 15,13-27-15</inkml:trace>
  <inkml:trace contextRef="#ctx0" brushRef="#br0" timeOffset="20300.02">13018 12025 0,'-27'0'0,"67"0"0,-27-13 0,27 0 15,-1 0-15,1-1 0,13 1 16,13-13-16,-13-1 0,0 1 0,0 13 16,13-14-16,-13 1 0,0 12 15,0-12-15,66-14 16,-106 27-16,13 0 0,-12 0 15,-1 13-15,0 0 0,0-14 0</inkml:trace>
  <inkml:trace contextRef="#ctx0" brushRef="#br0" timeOffset="24815.13">11417 7964 0,'0'-13'0,"0"0"16,0-1-1,-13 14 17,-1-13-17,1 13-15,0 0 0,0 0 0,-1 0 16,1 0-16,0 0 0,-14 0 16,14 13-16,-13-13 0,13 0 0,-14 0 15,14 14-15,-14-14 0,1 13 16,13 0-16,-1-13 0,-12 13 0,-14 40 15,27-40 1,0 14-16,0-14 0,-1 27 0,14-14 16,-13 1-16,0 12 0,13-12 15,0 12-15,0 1 0,0 0 0,0 0 16,0-1-16,13 1 0,0 0 0,1-1 16,-14 1-16,13 0 0,0-14 15,40 80 1,-27-66-16,-12-14 0,-1 1 0,13-1 15,1 0-15,-1 1 0,1-1 16,-1-12-16,1-1 0,-1 13 0,1-26 0,-1 14 16,1-1-16,-1-13 0,0 13 15,1-13-15,-1 0 0,14 0 16,-13 13-16,-1-26 0,14 13 0,-14 0 16,1 0-16,-1-13 0,1 13 0,-1-13 15,0-1-15,-12 1 0,12 0 16,-13 13-16,14-13 0,-14-1 0,0 1 15,0 0-15,1 0 0,-14-14 16,13 14-16,0 0 0,0-27 16,-13 14-16,0 12 0,0 1 15,0-13-15,0 12 0,0-38 16,0 25 0,0 14-16,0 0 0,-13-14 0,13 14 15,0 0-15,0-14 0,-26-26 16,26 40-16,-14 0 15,14-14-15,0 14 0,-13 0 0,0-13 16,0-14 0,13 27-16,0-14 0,-13 14 0,13 0 0,-14-1 15,14-12-15,-13 13 0,13 0 0,-13-14 16,13 14-16,-27-27 16,14 27-16,0-14 15,13 14-15,-13 0 0,0 0 0,-1 0 16,1-1-16,0 1 0,0 0 15,-1 0-15,1-1 0,0 14 0,0-13 16,-1-13-16,1 26 0,0-13 16,0-1-16,0 14 0,-1-13 15,1 13-15,-13-13 0,12 0 16,-12 13-16,13 0 0,-1-14 16,1 14-16,-26 0 15,12 0-15,14 0 0,0 0 16,-14 0-16,14 14 0,0-14 0,-1 0 15,-12 0-15,13 13 0,0-13 16,-1 0-16,1 13 0,0 0 16,0 1-16,-1-1 0,14 0 15,0 0 1</inkml:trace>
  <inkml:trace contextRef="#ctx0" brushRef="#br0" timeOffset="27426.24">17515 7699 0,'40'-13'31,"-13"13"-15,-14-13 0,0 13-16,13 0 0,-12 0 0,-1 0 15,0 0-15,27 0 16,-27 0-16,0 0 0,1 0 15,12 0 1,-13 0-16,-13 13 0,0 0 16</inkml:trace>
  <inkml:trace contextRef="#ctx0" brushRef="#br0" timeOffset="27725.53">17582 7898 0,'-14'13'16,"80"-13"0,-52 0-16,-1 0 15,27-13-15,-27 13 16,27-13-16,-27 13 15,26 0-15,-25 0 16,-14-14-16,13 14 0,0 0 0,0 0 16,-13 14 15,0-1 0</inkml:trace>
  <inkml:trace contextRef="#ctx0" brushRef="#br0" timeOffset="28855.32">17555 8361 0,'13'0'15,"1"0"1,12 13 0,-13-13-16,14 13 15,-14-13 1,0 14-16,0-14 0,1 13 16,-1-13-16,0 0 15,-13 13-15,27-13 16,-27 13-16,13-13 31,-13 13-31,-13 1 16,-1 12-1,1-13 1,0-13-16,0 14 0,-1-1 0,-39 26 16,27-12-1,0-1 1,-1-12-1,14-1 1,0-13-16,13 13 16,-14-13-1,41-13 17</inkml:trace>
  <inkml:trace contextRef="#ctx0" brushRef="#br0" timeOffset="29205.15">17992 8374 0,'13'0'31,"13"-13"-15,-12 13-16,-1 0 15,13 0 1,-12 0-16,-1 0 0,0 0 16,0-13-16,0 13 15,1 13 1,-14 0 0</inkml:trace>
  <inkml:trace contextRef="#ctx0" brushRef="#br0" timeOffset="29437.77">17965 8546 0,'0'13'0,"13"-13"32,27 0-17,-27-13-15,1 13 0,-1 0 0,0 0 16,0 0-16,27-13 15,-27 13-15,0 0 16,1-13-16,-1 13 0,0 0 16,0 0-1,-13 13 1</inkml:trace>
  <inkml:trace contextRef="#ctx0" brushRef="#br0" timeOffset="30411.21">17859 9022 0,'-13'27'16,"0"-27"-1,-27 53 1,27-40-16,-13 27 16,-1-27-16,14 0 0,0 0 0,-1 1 15,-12-1-15,13 0 0,-14 13 16,14-26-16,13 14 0,-13-1 16,0-13-16,-1 13 15,14 0-15,-13-13 16,26 14-1,1-14-15,25 13 16,-26-13-16,1 0 0,-1 13 0,0-13 16,0 0-16,14 0 15,-14 0-15,40 0 16,-40 0-16,0 0 0,1 0 0,-1 0 16,0 0-1,0 0-15,1 0 16,-1 0-1,0 0 1,0 0-16</inkml:trace>
  <inkml:trace contextRef="#ctx0" brushRef="#br0" timeOffset="30771.38">18203 9128 0,'14'-13'0,"25"0"15,-26 13-15,1 0 16,-1 0-16,0-14 0,0 14 15,14 0 1</inkml:trace>
  <inkml:trace contextRef="#ctx0" brushRef="#br0" timeOffset="30973.31">18243 9234 0,'40'-13'16,"-27"13"-1,13 0 1,-12-13-16,-1 13 0,0 0 16,0-14-16,1 14 0,-1 0 0</inkml:trace>
  <inkml:trace contextRef="#ctx0" brushRef="#br0" timeOffset="32323.02">18031 7355 0,'14'-53'0,"-14"27"16,-27-14 0,14 27-16,0 0 0,-1 0 15,-12 13-15,0-14 0,-1 1 0,-13 0 0,14 13 16,-14 0-16,1 0 16,12 0-16,-66 13 0,41-13 0,12 13 15,-13 1-15,0-1 0,0 13 16,-13-12-16,13 12 0,0 14 0,13-14 15,-12 14-15,12 0 0,-13-1 16,13 1-16,1 13 0,-1-13 16,13 12-16,-12 1 0,12 14 0,1-15 15,-14 15-15,14-14 0,-1 13 0,1 0 16,-1 13-16,1-13 0,13 0 0,-14 14 16,14-14-16,0 0 0,-1 0 15,1 0-15,13 1 0,-13-1 0,13 0 16,0 0-16,0 0 0,0 0 0,0-13 15,13 13-15,-13 1 16,13-15-16,1 15 0,12-1 0,1-13 16,-1 0-16,1-1 0,-1 1 0,14 0 15,-1 0-15,1 0 0,0-13 16,13 13-16,0-14 0,-1 1 0,1 0 16,14-14-16,-1 14 0,-13-14 0,13 1 15,0-1-15,0 1 0,13-14 16,-12 13-16,-1-12 0,0-1 0,13 0 15,-13 0-15,1 1 0,12-14 0,-13 0 16,13 0-16,-26 0 16,27 0-16,-1 0 0,-13-14 0,0 1 0,14 0 15,-14 0-15,13-1 0,1-12 16,-14 0-16,13-1 0,-13 1 16,0-1-16,1 1 0,-14-1 0,-1-12 15,1 12-15,40-39 0,-53 26 16,-14 14-16,1-14 0,-1 14 15,-13-14-15,14 0 0,-14 1 0,-13-1 16,13 0-16,0-13 0,-13 14 0,0-14 16,0 13-16,0-13 0,0 0 15,0 0-15,0 0 0,-13 0 16,0 1-16,13-1 0,-13-14 0,-1 15 0,1-1 16,0 0-16,0 0 0,0 0 15,-14-13-15,14 13 0,0 0 0,-14 0 16,14-13-16,-13 13 0,-1 0 15,1 0-15,-1-13 0,1 13 0,-1 0 16,1 0-16,-14 0 0,-39-53 16,39 67-16,0-14 0,1 13 15,-1-13-15,0 14 0,1-1 0,-14 0 16,13-13-16,-13 27 0,13-14 16,-13 0-16,1 1 0,-1 12 0,-14 1 15,15-1-15,-1-12 0,-14 12 16,15 14-16,-15-13 0,15 12 0,-15 1 15,1 0-15,0 0 0,0-1 0,0 14 16,13 0-16,-13 0 0,0 0 0,-14 0 16,14 14-16,-13-14 15,13 13-15,-1 0 0,1-13 0,0 13 16,0 1-16,0-1 0</inkml:trace>
  <inkml:trace contextRef="#ctx0" brushRef="#br0" timeOffset="62683.09">20241 4379 0,'0'13'0,"0"0"16,0 14 15,0-14-15,0 0-1,13-39 17,0-1-17,-13 1-15,0-27 16,0 26-16,0-39 16,0 27-1,0-1-15,0 27 0,0 0 16,-13-1-16,13 1 0,0 0 15,0 39 17,0-12-32,0-1 0,0 26 15,13-25-15,-13-1 16,66 40 0,-53-53-1,14 13-15,-14-26 16,0 13-16,1 0 0,-1-13 0,0-1 15,0-12-15,1 13 0,-1-14 0,-13 1 16,13 13-16,-13-14 0,13-26 16,-13 40-1,13-14-15,-13 41 32,14 39-32,-1-40 15,-13 0-15,13 14 0,-13-14 0,27 26 31,-1-12-31,-26-14 0,13 0 0,1 1 16,-1-14-16,0 0 16,13 0-1,-12 0-15,-1 0 0</inkml:trace>
  <inkml:trace contextRef="#ctx0" brushRef="#br0" timeOffset="62945.24">20876 4035 0,'-14'0'0,"28"-13"15,12-14 1,-13 27-16,1-13 0,12 13 16,-13-13-16,0 13 15,1 0-15</inkml:trace>
  <inkml:trace contextRef="#ctx0" brushRef="#br0" timeOffset="63216.25">21021 4167 0,'27'-13'0,"-14"0"15,0 13-15,0-13 0,27-1 16,-27 14-16,0-13 16,1 13-16,-1-13 0</inkml:trace>
  <inkml:trace contextRef="#ctx0" brushRef="#br0" timeOffset="63441.14">21299 3823 0,'26'-39'0,"-12"25"0,-1 14 15,13 14 1,-12-1-16,-1 0 15,0 13-15,0-12 0,-13 12 0,13 14 16,1-14-16,-14-12 16,13 12-16,-13 0 0,13-12 0,-13-1 15,13 13-15,-13-12 0,14-1 16</inkml:trace>
  <inkml:trace contextRef="#ctx0" brushRef="#br0" timeOffset="63583.56">21616 4326 0,'14'-13'16,"-1"-1"-16,-13 1 31</inkml:trace>
  <inkml:trace contextRef="#ctx0" brushRef="#br0" timeOffset="64183.96">21127 4762 0,'66'0'0,"-53"-13"0,27 0 0,0 0 16,13 0-16,0-14 0,-1 1 0,1-1 15,0 1-15,0-14 0,0 14 16,13-14-16,-13 13 0,-13-12 0,13-1 15,-13 0-15,-1 14 0,-12-27 0,12 13 16,14-52-16,-40 39 16,1 0-16,-1 13 0,-13-13 0,13 0 15,-26-79-15,13 66 16,-13 0-16,-14 0 0,1 13 16,-14 0-16,-13 13 0,0 0 0,-13 1 15,0 12-15,-13 14 0,-1 0 0,-26 0 16,14 13-16,-27 13 0,-14 13 15,14 1-15,-13-1 0,0 27 0,0 0 16,12 0-16,-104 79 0,118-52 16,13-1-16,0 0 15,-65 93-15,92-79 0,13-14 16,-13 67-16,39-80 0,27 0 16,13-13-16,1 0 0,25 0 0,1-13 15,13-1-15,13-12 0,40-1 16,0 1-16,26-14 0,-39-13 0,12 0 15,28 0-15,-1-13 0,80-14 16,-133 14-16,14 0 0,-14-14 16,-13 1-16,0 13 0,-13-14 0,-13 1 15,0-1-15,-14 14 16</inkml:trace>
  <inkml:trace contextRef="#ctx0" brushRef="#br0" timeOffset="66883.12">20532 5027 0,'39'199'16,"-39"-147"-16,14-25 16,-14-1-16,0 1 0,0-1 0,0-12 15,0 12-15,0-13 0,0 27 16,0-27-16,0 0 0,-14 1 15</inkml:trace>
  <inkml:trace contextRef="#ctx0" brushRef="#br0" timeOffset="67090.28">20518 5120 0,'-39'79'0,"26"-66"15,-1 14-15,14-14 0,-13 13 16,0 1-16,0-14 0,-1 27 16,1-27-16,13 0 0</inkml:trace>
  <inkml:trace contextRef="#ctx0" brushRef="#br0" timeOffset="67245.74">20466 5106 0,'26'-13'16,"-13"13"-16,0 0 0,1 13 0,-1-13 16,0 0-16,14 0 0,-14 0 15,13 0-15,-12 0 0,12 0 16,-13 14-16,27-1 0</inkml:trace>
  <inkml:trace contextRef="#ctx0" brushRef="#br0" timeOffset="67985.39">20399 6297 0,'0'40'15,"14"-14"-15,-14-13 16,13 1-16,0-1 16,0-13-1,-13-13 1,0-1-16,14 1 16,-14 0-16,13 13 15,-13-13-15,13 0 0,0-1 16,0 14-1,1 0 1,-1 14-16,0-1 16,0-13-16,-13 13 0,14 0 15,-1-13 1,0 0 15,-13-26-15,13 13-16,1-1 0,-1 14 15,-13-13-15,13 13 0,0-13 16,0 13-16,1 0 16,-1 0-16,0 0 0,0 13 15,1-13-15,-1 0 16,-13 13-16,13-13 0,0 0 0,0 0 16,1 14-16,-1-14 15</inkml:trace>
  <inkml:trace contextRef="#ctx0" brushRef="#br0" timeOffset="68700.41">20929 6271 0,'13'-53'0,"-26"39"16,13 1 0,-14 13-16,1 13 15,0 1 1,13-1-1,0 0-15,0 0 0,0 1 16,13-1-16,0 0 0,1 0 16,-1-13-16,0 0 15,13 0-15,-12 0 0,12-13 16,-13 13-16,1-13 0,12 13 16,-13-13-16,1 13 0,-1-14 0,0 1 15,0 13-15,0-13 0,-13 0 0,14 13 16,-14-14-16,13 1 15,-13 0-15,-13 0 16,-1 13 0,1 0-1,0 0 1,13 13-16,-13-13 0,13 13 16,-13 14-1,13-14 1,13-13-16,-13 13 15,13-13-15,0 0 16,0 0 0,-13-13-16,14 13 0,-1-13 15,0-1 1,0 14-16,1 0 16,-1 0-1,0 0 1,0 0-16,-13 14 0,13-14 15,1 0 1,-1 0 0,13 0-16,-12-14 0,-1 14 15,0-13-15,0 13 0,1-13 16,-1 0-16,0 13 0</inkml:trace>
  <inkml:trace contextRef="#ctx0" brushRef="#br0" timeOffset="68875.38">21669 6006 0,'40'-26'15,"-27"26"1,1 0-16</inkml:trace>
  <inkml:trace contextRef="#ctx0" brushRef="#br0" timeOffset="69030.46">21683 6112 0,'13'0'15,"0"-13"-15,27-1 16,-14 1-1,-13 0-15,14 13 0,-14-13 0,14-1 0,-14 14 16,13-13-16,-12 13 0</inkml:trace>
  <inkml:trace contextRef="#ctx0" brushRef="#br0" timeOffset="69632.39">22503 6046 0,'26'-27'16,"-26"14"-16,13 0 0,-13 0 16,0-14-16,0 14 0,0-14 0,0-12 15,0 26-15,0-14 0,0 14 16,0-14-16,-13 14 0,13 0 16,0 0-16,0-1 0,0 1 15,-13 40 16,26 12-15,-13-25-16,0-1 0,13-13 0,-13 13 16,14 0-16,-1 1 15,0-14-15,0 0 16,1-14-16,-1 14 0,-13-13 16,26-13-1,-26 12-15,14-12 0,-14 13 16,13-1-16,-13 1 0,0 0 15,13 39 17,0-12-32,-13-1 0,0 27 31,13-40-31,-13 13 0,0 0 0,14 0 16,-1 1-1,0-14-15,0 0 16,1-14-16,-1 1 15,0 13-15</inkml:trace>
  <inkml:trace contextRef="#ctx0" brushRef="#br0" timeOffset="69872.5">22913 5755 0,'0'26'0,"0"-13"15,13-13 1,-13 14-16,13-14 0,1 0 15,-1-14-15,0 14 16,0-13-16,1 13 0,-14-13 16,13 0-16,-13-1 15,0 1-15,-13 0 16,-1 0-16,1 13 0,13-13 16,-13 13-16,0 0 0,-1 0 15,1 0-15,0 13 0,0-13 0,-14 13 16,14 0-16,-27 0 0,1 14 15</inkml:trace>
  <inkml:trace contextRef="#ctx0" brushRef="#br0" timeOffset="70741.02">8599 9075 0,'26'-26'0,"-12"13"0,-1-1 16,0 1-16,0 0 0,14 0 0,-14-1 15,0 1-15,0 13 0,1-13 16,-1 13-16</inkml:trace>
  <inkml:trace contextRef="#ctx0" brushRef="#br0" timeOffset="70921.22">8559 9260 0,'53'-26'16,"-40"13"-1,14 0-15,-14-1 0,66-39 16,-65 40-16,-1 0 16,27 0-16,-27-1 15</inkml:trace>
  <inkml:trace contextRef="#ctx0" brushRef="#br0" timeOffset="71660.7">13494 8903 0,'66'-79'16,"-53"66"-16,0-1 0,1 1 0,-1 0 15,0 13-15,0-13 0,0-1 0,1 1 16,-1 13 0</inkml:trace>
  <inkml:trace contextRef="#ctx0" brushRef="#br0" timeOffset="71816.49">13600 8916 0,'26'-13'16,"-26"0"-16,26 0 0,-12 0 0,52-40 31,-26 39-31,-14 1 16</inkml:trace>
  <inkml:trace contextRef="#ctx0" brushRef="#br0" timeOffset="73385.58">23151 6046 0,'13'-14'0,"1"1"0,-1 0 0,0 0 15,0 0-15,14-27 16,-14 27-16,0-1 0,27-38 16,-40 38-16,13-12 15,-13-27 1,0 40-16,-13-1 0,13-12 0,-13 0 16,-1 12-16,-39-65 15,27 52-15,0 14 0,12-13 16,1 13-16,-13-1 0,12 1 15,1 13-15,-13-13 0,12 0 0,-12 13 16,13-14-16,-14 14 0,14 0 0,-13 0 16,12 0-16,-12 0 0,13 0 15,-14 0-15,14 0 0,-40 14 16,27-1-16,-14 0 0,13 0 0,-52 27 16,53-27-1,-14 14-15,13-14 0,1 13 0,-14 14 0,14-13 16,-1-1-16,1 14 0,0-14 15,12 14-15,1-14 0,0 14 16,0-14-16,13 14 0,0-13 0,0-14 16,13 26-16,0-12 0,14-1 0,12-12 15,1 12-15,-14-13 0,27 1 16,-13-1-16,13-13 0,-13 13 0,12-13 16,1 0-16,0 0 0,0-13 15,-13 13-15,13-13 0,-13 13 0,-1-14 16,-12 14-16,-1 0 0,1-13 0,-14 13 15,0-13-15</inkml:trace>
  <inkml:trace contextRef="#ctx0" brushRef="#br0" timeOffset="84791.16">18190 10689 0,'0'66'0,"13"-52"0,-13 12 15,0 0-15,0 1 0,14 13 16,-14-1-16,0-12 0,13 52 15,-13-66 1,13 27-16,-13-14 0,0-12 0,0-1 16,13 0-16</inkml:trace>
  <inkml:trace contextRef="#ctx0" brushRef="#br0" timeOffset="84996.68">18362 10769 0,'0'-14'0,"0"41"31,13-1-31,-13-13 0,14 1 0,-14 12 16,13-13-16,0 14 0,-13-1 16,13-12-16,-13 12 0,13-13 0,-13 0 15,14 1-15,-14-1 0,0 0 16,13 0-16,-13 1 0,0-1 0</inkml:trace>
  <inkml:trace contextRef="#ctx0" brushRef="#br0" timeOffset="85449.16">18203 11086 0,'0'-26'0,"14"12"0,-1 14 16,0-13-16,13 0 0,-12 13 15,12-13-15,1-1 0,-1 1 0,-13 0 16,14 13-16,-14-13 0,13 0 16,-12 13-16,-1-14 0,0 14 0,0 0 15,-13-13-15,14 13 16,-1 13-1,0 1 1,0-1 0,-13 0-16,14-13 15,-1 0-15,-13 13 0,13-13 16,0 0-16,0-13 0,1 13 16,-1 0-16,0-13 0,-13 0 15,13-1 1,-26 1-1,13 0-15,-13 0 0,0 13 0,-1-14 0,-12 1 16,13 0-16,0 13 16,-1-13-16,1 13 0,0 0 15,0 0-15,-1 0 0,1 0 16</inkml:trace>
  <inkml:trace contextRef="#ctx0" brushRef="#br0" timeOffset="85843.97">18534 10557 0,'-40'-93'15,"14"67"-15,13-1 16,-1 14-16,14 0 0,-13 0 15,13-1-15,-13 14 0,0-13 0,13 0 16,-13 13-16,13-13 0,-14 13 16,14-13-1,-13 26 1,13 0 0,-13-13-16</inkml:trace>
  <inkml:trace contextRef="#ctx0" brushRef="#br0" timeOffset="86235.28">18402 10319 0,'-27'26'31,"14"1"-31,0-14 0,13 0 15,-13 14-15,13-14 0,-14 0 0,14 0 16,-13 1-16,13-1 16,-13 0-16,13 0 15,0-39 17,0 13-32,0-1 15,0-12-15,0-1 0,13 1 16,0 13-1,-13-1-15,14 1 0,-1 13 16,0-13-16,0 13 0,1 0 16,-1 0-16,0 0 0,0 13 15,0-13-15,1 0 0,-1 0 0,13 0 16,-12 13-16,-1-13 16,0 0-16,0 0 0,1 0 15,-1-13-15,0 13 16</inkml:trace>
  <inkml:trace contextRef="#ctx0" brushRef="#br0" timeOffset="92541.12">20029 7395 0,'0'-26'15,"0"52"17,13 14-17,-13-14-15,0 27 16,13-40-16,-13 1 15,0 12-15,0-13 0,0 14 0,0-14 16,0 0-16,0 0 0,14 27 16</inkml:trace>
  <inkml:trace contextRef="#ctx0" brushRef="#br0" timeOffset="92715.4">20122 7779 0,'-14'13'31</inkml:trace>
  <inkml:trace contextRef="#ctx0" brushRef="#br0" timeOffset="93243.61">20426 7461 0,'26'-26'16,"14"13"0,-27 13-16,0 0 0,1 0 15,-1 0-15,0 0 0</inkml:trace>
  <inkml:trace contextRef="#ctx0" brushRef="#br0" timeOffset="93420.33">20426 7594 0,'-13'13'15,"52"-26"-15,-25-1 0,-1 14 0,0 0 16,0-13-16,14 13 0,-14 0 0,0-13 16,0 13-16,1 0 0</inkml:trace>
  <inkml:trace contextRef="#ctx0" brushRef="#br0" timeOffset="95965.25">20518 8057 0,'-39'26'16,"26"-13"-16,-27 27 0,13-27 15,-26 27-15,27-14 16,13-12-16,-27 12 0,27-13 15,-14 14-15,14-14 16,13 0-16,-13-13 0,13 13 0,-13-13 16,13 14-16,0-1 15,13 0 1,0-13-16,0 0 0,1 0 16,-1 13-16,0-13 0,0 0 15,14 0-15,-14 0 0,0 0 0,14 0 16,-14 0-16,13 0 0,-12 0 15,12 0-15,-13 0 0,1 0 0,-1 0 16,0 0-16,0 0 0,14 0 16,-14 0-16,0 0 15,0 0-15,1 0 16,-1 0 0,0 0-1,0 0 1,1 0 31</inkml:trace>
  <inkml:trace contextRef="#ctx0" brushRef="#br0" timeOffset="97977.21">20439 8877 0,'-26'0'0,"39"13"47,40 0-32,-40-13-15,13 0 16,-12 0-16,12 13 0,1-13 0,-14 0 16,13 14-16,-12-14 0,12 0 15,-13 0-15,0 13 0,1-13 0,-1 0 16,0 0-16,0 0 0,1 13 16,-1-13-16,-13 13 0,0 1 15,0 12-15,-13-13 16,13 14-16,-14-14 0,1 13 15,0-12-15,13 12 0,-13-13 16,-1 14-16,1-14 0,0 0 0,13 1 16,-13-1-16,0 0 0,13 0 15,0 0-15,-14-13 0,14 14 16,0-41 15,14 14-31,-14-13 0</inkml:trace>
  <inkml:trace contextRef="#ctx0" brushRef="#br0" timeOffset="99245.45">20809 7422 0,'14'-27'15,"-1"1"1,-13 12 0,0-12-16,0 13 15,0-1-15,-13-38 16,-1 38-16,1-12 0,-13-1 0,13 1 15,-14 0-15,-13-1 0,14 1 16,0-1-16,-1 1 0,1 12 0,-14-12 16,13 13-16,-12 0 0,12-1 0,1 14 15,-1-13-15,1 13 0,-1 0 16,1 0-16,0 0 0,-14 13 16,0 1-16,0-1 0,14 13 0,-14 1 0,1-1 15,-1 1-15,13 12 0,-12 1 16,-27 39-16,39-39 0,1 13 15,13-13-15,-14 13 0,14-1 0,0 1 16,-1-13-16,1 13 16,0 0-16,13 0 0,-13-13 0,13 12 15,0 1-15,0 0 0,0 0 0,0 13 16,13-13-16,0 13 0,0-13 16,14 0-16,-14 13 0,14-13 15,-14 0-15,13 0 0,-13 0 0,14 0 16,-1 0-16,-12-13 0,38 52 15,-25-39-15,-1-13 0,-12-1 16,25 14-16,-12-13 0,-14-13 0,13 12 16,1-12-16,13 12 0,-14-12 0,1-1 15,12 1-15,-12-1 0,12 14 16,-12-14-16,13 1 0,-14-14 0,14 13 16,-14-12-16,14 12 0,0-13 15,-1 1-15,-12-14 0,26 13 16,-27-13-16,0 0 0,1-13 0,13-1 15,-14 1-15,14 0 16,-14-14-16,14 14 0,-14-13 0,1-1 0,-14 14 16,14-13-16,-1 12 0,-13-12 15,0 13-15,1 0 16,-1-27-16,13 0 0,-26 27 16,0 0-16,0-14 0,14 14 0,-14-13 15,0-1-15,0 14 0,0-27 16,0 14-16,0-1 0,13 1 15,-13-14-15,0 14 0,0-1 0,0 1 16,0-1-16,0 1 0,0-1 16,-13-12-16,13-1 0,-14 0 0,14 1 15,-13-14-15,0-27 0,0 41 16,-1-1-16,14 0 0,-13 1 16,13-1-16,-13 0 0,0 0 15,13 1-15,-13-1 0,-1 0 0,1 1 16,0 12-16,0-12 0,-1-1 15,1 13-15,0-12 0,0 12 0,-1-12 16,1 12-16,-13-13 0,13 27 16,-1-13-16,1 13 0,13-1 15,-13 1-15,0 0 0,-1 0 0,1-1 16,13 1-16,-13 0 0,0 13 16,13-13-16,-14 13 0,14-14 0,-13 14 15,13-13-15,0 0 0,0 0 16,13 0-16</inkml:trace>
  <inkml:trace contextRef="#ctx0" brushRef="#br0" timeOffset="99918.43">21286 10147 0,'0'26'16,"0"-13"-16,0 1 0,0-1 16,13 0-16,-13 0 0,0 1 0,13 25 15,-13-25-15,0 12 16,13-26-16,-13 13 0,0 0 15,0 1-15,14-14 16,-14 13 0</inkml:trace>
  <inkml:trace contextRef="#ctx0" brushRef="#br0" timeOffset="100304.4">21206 10253 0,'-13'-40'16,"13"27"-16,0-1 16,0 1-16,0 0 15,13 0-15,-13 0 16,0-1-16,14 14 0,-14-13 0,13 13 16,0 0-16,13-13 15,-12 13-15,-1 0 16,0 0-16,0 0 0,14 13 15,-14-13 1,0 0-16,1 0 0,12 13 16,-13-13-16,0 14 15,1-14-15</inkml:trace>
  <inkml:trace contextRef="#ctx0" brushRef="#br0" timeOffset="100688.72">21299 10689 0,'0'40'15,"0"-27"-15,0 0 0,13 14 16,-13-1-16,13 1 0,-13-1 0,14 1 15,-14-14-15,13 13 0,-13 1 16,13-1-16,-13-13 0,13 27 16,1-27-16,-14 1 0,13-14 15</inkml:trace>
  <inkml:trace contextRef="#ctx0" brushRef="#br0" timeOffset="100899.44">21524 10623 0,'0'-13'16,"13"66"15,-13-27-31,0 1 16,13-14-16,-13 13 0,0 1 0,14-14 15,-14 13-15,0 1 0,13-14 16,-13 27-16,13-27 0,-13 14 15,0-14-15,13-13 0,-13 13 16,0 0-16,0 0 0</inkml:trace>
  <inkml:trace contextRef="#ctx0" brushRef="#br0" timeOffset="101113.53">21299 11046 0,'-13'0'0,"26"-26"16,40-1-1,-13 1 1,-27 13-16,13 0 0,14-1 16,-14 1-16,-12 0 15,12 13-15,-13-13 0,1 13 0,-1-14 0,0 14 16</inkml:trace>
  <inkml:trace contextRef="#ctx0" brushRef="#br0" timeOffset="101480.48">21908 10742 0,'-27'13'16,"14"-13"-16,0 0 0,-1 14 16,14-1-16,-13-13 0,0 13 0,13 0 15,-13-13-15,13 13 0,-14 1 0,14-1 16,0 0-16,14-13 16,25-13-1,-25 13-15,12-13 16,-13-1-16,14 1 15,-14 0-15,0 13 16,0 0-16,14 0 16,-27 13-1,13-13-15,0 0 0,-13 13 0,14-13 16,12 27 0,-13-14-1</inkml:trace>
  <inkml:trace contextRef="#ctx0" brushRef="#br0" timeOffset="104871.86">19143 11112 0,'26'-13'16,"-13"13"-16,40-13 15,-26 0 1,12 13-16,1-13 0,13-1 0,-13 14 0,13-13 16,-14 0-16,27 0 0,-13-1 15,-13 14-15,13-13 0,66-13 16,-79 13-16,-14 13 16,1-14-16,-14 14 0,13 0 15,-13 0-15,1-13 0,-1 13 0,0 0 16,0 0-16,1-13 0,-1 13 15,0 0-15,0 0 16,1 0 0</inkml:trace>
  <inkml:trace contextRef="#ctx0" brushRef="#br0" timeOffset="105177.13">19989 10755 0,'40'-13'31,"-27"13"-31,0 13 0,1-13 0,12 0 16,1 0-16,-1 14 0,0-14 0,1 13 16,13-13-16,-14 13 0,1 0 0,12 0 15,-26 1-15,14 12 0,-1-13 16,-12 1-16,-14-1 0,13 0 0,-26 40 15,13-40 1,0 0-16,-14 1 0,14 12 0,-13-26 16,13 13-16,-13 1 15,13-1-15</inkml:trace>
  <inkml:trace contextRef="#ctx0" brushRef="#br0" timeOffset="105977.62">19804 11761 0,'0'106'16,"13"-93"-16,1 0 0,-14 0 0,13 0 15,26 14 1,-25-14-16,-1-13 0,0 0 0,0 0 16,1 0-16,-1 0 0,0 0 15,0-13-15,0 13 0,1-13 16,-14-14-16,0 14 0,13 0 0,-26 13 15,13-27-15,-14 14 0,14 0 16,-13 13-16,0-13 0,0-1 0,0 14 16,-1-13-16,1 13 0,0 0 15,0 0-15,-1 0 0,1 0 0,0 13 16,-13 1-16,12-14 0,1 13 16,0-13-16,13 13 15</inkml:trace>
  <inkml:trace contextRef="#ctx0" brushRef="#br0" timeOffset="106450.43">19989 11668 0,'13'27'0,"-13"-14"16,14 0-16,-1 14 0,-13-14 0,13 13 0,27 27 15,-27-13-15,0-14 16,1 1-16,-1-14 0,0 13 0,0-12 16,0 12-16,-13-13 0,14 1 15,-1-1-15,-13 0 0,13 0 0,-13 0 16,13 1-16,-13-1 16,14-13-16,-28-13 31,-12-40-16,26 40-15,-13-14 0,-1 1 16,14 12-16,0 1 0,-13 0 16,13-14-16,0 1 15,0 13-15,0 0 0,0-1 16,13 14-16,-13-13 0,14 13 16,-1 0-1,0 0-15,-13 13 16,0 1-16,0-1 15,-13 13 1,13-13-16,0 1 0,-13-14 16,13 13-16,-14 0 0,14 0 15,-13-13 1</inkml:trace>
  <inkml:trace contextRef="#ctx0" brushRef="#br0" timeOffset="106884.33">20214 11734 0,'27'40'32,"-27"-27"-32,26 40 0,-13-40 15,1 27-15,-1-14 0,0 1 16,0-14-16,-13 14 0,13-14 0,1 0 15,-14 0-15,13 1 0,-13-1 16,13-13-16,-13 13 0,13 0 16,-13-39 15,-13-27-15,13 26-16,0 14 0,0 0 0,0 0 15,0-1-15,0-12 0,13 13 16,-13 0-16,14-1 15,-1 1 1,0 13-16,27 13 16,-40 1-16,0-1 15,13-13-15,-13 13 0,0 0 16,0 0-16,-13 14 16,0-14-16,13 0 15,-14-13-15,14 14 0,-13-14 0,0 0 16,0 0-16,-1 0 15</inkml:trace>
  <inkml:trace contextRef="#ctx0" brushRef="#br0" timeOffset="107024.65">20598 11814 0</inkml:trace>
</inkml:ink>
</file>

<file path=ppt/ink/ink18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28:28.809"/>
    </inkml:context>
    <inkml:brush xml:id="br0">
      <inkml:brushProperty name="width" value="0.05292" units="cm"/>
      <inkml:brushProperty name="height" value="0.05292" units="cm"/>
      <inkml:brushProperty name="color" value="#0070C0"/>
    </inkml:brush>
  </inkml:definitions>
  <inkml:trace contextRef="#ctx0" brushRef="#br0">13520 5755 0,'0'-14'0,"-13"14"32,-13 0-17,-1 0-15,1 14 0,-1-1 0,-13 0 0,1 0 16,-120 40-1,-13 0-15,119-40 16,13 1-16,-39 12 16,53-26-16,-1 13 0,-39 1 15,53-14-15,0-14 0,-1 14 16,1-13-16,0-13 16</inkml:trace>
  <inkml:trace contextRef="#ctx0" brushRef="#br0" timeOffset="204.34">12634 5622 0,'-80'119'15,"54"-92"-15,0 13 0,-1 13 16,14-14-16,0-12 0,-1 52 16,14-53-16,0-12 15,14 12-15,-1-13 0,13 14 0,40-1 16,14-12-1,52-1 1,-79-26-16,-13 13 0,13 0 16,79-27-16</inkml:trace>
  <inkml:trace contextRef="#ctx0" brushRef="#br0" timeOffset="996.38">13520 10570 0,'-53'0'16,"14"0"-1,-54 13-15,27 1 0,-357 91 31,317-65-31,26-27 0,1 14 16,0-1-16,-1 1 0,1-1 0,-1-13 16,-92 40-1,133-39-15,-14-14 0,40 0 16,-1 0-16,1-14 16</inkml:trace>
  <inkml:trace contextRef="#ctx0" brushRef="#br0" timeOffset="1228.66">12263 10306 0,'-52'172'0,"25"-106"0,14 0 16,-27 93 0,27-80-16,0 80 0,13-93 0,13 0 15,0 0-15,212 119 31,-159-158-31,14-27 0,12 0 0,1 0 0,13-13 16,13-1-16,225-52 16,-239 40-16,1-1 0,-26 14 15,25-13-15,134-41 16</inkml:trace>
  <inkml:trace contextRef="#ctx0" brushRef="#br0" timeOffset="3664.14">15306 8506 0,'13'27'0,"1"-14"0,-14 0 16,0 14-16,13-14 0,-13 0 0,0 0 15,13 14-15,-13-14 0,13 0 16,-13 1-16,14 12 0,-14-13 0,0 0 16,13 14-16,-13-14 15,13 27 1,-13-27-16,0 14 0</inkml:trace>
  <inkml:trace contextRef="#ctx0" brushRef="#br0" timeOffset="3836.27">15438 9022 0</inkml:trace>
  <inkml:trace contextRef="#ctx0" brushRef="#br0" timeOffset="4123.46">15716 8639 0,'13'-14'31,"1"1"-15,12 13-16,-13-13 0,1 13 15,25-13 1,-25 26-16</inkml:trace>
  <inkml:trace contextRef="#ctx0" brushRef="#br0" timeOffset="4313.04">15703 8811 0,'40'-14'32,"-27"1"-32,13 0 15,1 13-15,-1-13 16,-12 13-16,12-14 0,-13 14 0,0 0 15,1 0-15,-1-13 16,0 13-16</inkml:trace>
  <inkml:trace contextRef="#ctx0" brushRef="#br0" timeOffset="5377.2">15703 9842 0,'26'0'0,"-12"14"16,-1-14-16,0 0 16,0 0-16,14 13 0,-14-13 0,0 0 15,1 0-15,-1 13 0,0-13 16,27 0-16,-27 13 0,0-13 16,0 14-16,1-14 0,-1 13 15,0-13 1,-13 13-16,0 0 0,0 1 15,-13-1-15,0 13 0,-1-13 16,1 1-16,0 12 0,-14-13 16,14 14-16,0-14 0,-13 0 0,12 1 15,-12 25-15,13-26 0,13 1 16,-14-14-16,14 13 0,-13 0 16,13 0-16</inkml:trace>
  <inkml:trace contextRef="#ctx0" brushRef="#br0" timeOffset="6209.68">16047 10901 0,'-13'13'16,"0"0"-1,-27 40 1,27-40-16,-1 1 15,1-1-15,0 0 0,13 0 0,-13 1 16,13-1-16,-14 0 16,14 0-16,0 0 0,14-13 15,-14 14-15,13-14 0,0 13 0,0-13 16,1 0-16,25 13 16,-25-13-16,12 0 0,0 0 15,-12 0-15,12 0 0,-13 0 0,1 0 16,-1 0-16,0 0 0,0 0 15,0 0-15,1 0 0,-1 0 16,0-13-16,0 13 0,-13-13 16</inkml:trace>
  <inkml:trace contextRef="#ctx0" brushRef="#br0" timeOffset="7611.28">15319 4710 0,'67'-14'15,"-54"14"1,0-13-16,0 13 0,0 0 16,1 0-16,-1-13 15,0 13-15,0 0 0,1 0 16,-1 0-16</inkml:trace>
  <inkml:trace contextRef="#ctx0" brushRef="#br0" timeOffset="7832.16">15386 4868 0,'0'14'32,"26"-14"-17,14-14 1,-27 14-16,0-13 15,0 13-15,27-13 16,-27 0-16,1 13 16</inkml:trace>
  <inkml:trace contextRef="#ctx0" brushRef="#br0" timeOffset="8559.34">15399 5173 0,'39'13'16,"-25"-13"-16,-1 0 15,27 0-15,-27 0 16,0 0-16,0 0 0,14 0 0,-1 13 16,-13-13-16,1 0 15,-1 0-15,0 13 16,0-13-16,-13 14 0,0-1 15,0 0-15,0 0 16,-13 0-16,13 1 16,-13-1-16,0 0 0,13 0 0,-14 1 15,1-1-15,0 0 0,13 0 16,-13 1-16,-14 12 0,27-13 16,-13 0-16,0 1 15,0-1-15,-1 0 0,1-13 16</inkml:trace>
  <inkml:trace contextRef="#ctx0" brushRef="#br0" timeOffset="8912.42">15809 5133 0,'26'-13'31,"-12"13"-31,-1 0 16,13-14 0,-13 14-16,1 0 0,-1 0 15,0-13-15,14 13 16,-14 13-1</inkml:trace>
  <inkml:trace contextRef="#ctx0" brushRef="#br0" timeOffset="9113.32">15888 5278 0,'-13'0'16,"39"-13"15,-12 13-31,-1 0 0,0-13 16,0 13-16,14-13 15,-27 0-15,13 13 16</inkml:trace>
  <inkml:trace contextRef="#ctx0" brushRef="#br0" timeOffset="9873.76">15875 5702 0,'-26'39'16,"26"-25"-16,-40 12 0,27 1 15,-14-1-15,1 1 0,-40 39 16,52-53-16,1 13 16,-13-12-16,12 12 0,-12-13 15,26 0-15,-13 1 16,0-1-16,13 0 16,13-13-1,13 13-15,-13-13 16,1 0-16,-1 0 15,0 0-15,14-13 0,-1 13 16,-13 0-16,0 0 0,1-13 0,12 13 16,-13 0-16,1 0 0,-1-13 15,0 13-15,0 0 0,1-14 0,-1 14 16,0 0-16,0-13 16,0 13-16</inkml:trace>
  <inkml:trace contextRef="#ctx0" brushRef="#br0" timeOffset="10136.71">16126 5794 0,'27'-13'0,"-27"0"0,26 13 0,-13-13 16,1 13-16,12 0 16,-13 0-1</inkml:trace>
  <inkml:trace contextRef="#ctx0" brushRef="#br0" timeOffset="10327.29">16166 5940 0,'53'-27'31,"-40"14"-16,40 0 1,-40 0 0,1 13-16,-1 0 0,0 0 0</inkml:trace>
  <inkml:trace contextRef="#ctx0" brushRef="#br0" timeOffset="11049.28">15822 4524 0,'53'-39'16,"-40"39"-16,14-14 0,-1 14 15,1 0-15,-14 0 0,0 14 0,0-1 16,14-13-16,-1 26 15,1 1-15,-14-1 0,27 27 0,-14-13 16,0 0-16,1-1 0,-1 1 0,1 0 16,-14-1-16,14 1 15,12 13-15,-26-27 0,14 14 0,13 0 16,-14-1-16,1-12 0,-1 13 0,0-1 0,1-12 16,-1-1-16,1 1 0,-1-1 15,1 1-15,-1-1 0,-13 1 16,14-1-16,-1 0 0,-12-12 0,12 12 15,-13 1-15,14-14 0,-14 0 16,0 0-16,0 14 0,1-14 0,-14 0 16,26 14-16,-26-14 0,13 0 15,-13 0-15,0 1 0,0-1 16,0 0-16,-13 13 0,13-12 16,-13-1-16,0 0 0,-1 0 15,1 1-15,0-1 0,-13 0 16,-1 0-16,1-13 0,-14 14 0,-13-14 15,13 0-15,-13 0 0,0 0 0</inkml:trace>
  <inkml:trace contextRef="#ctx0" brushRef="#br0" timeOffset="11665.37">15108 4604 0,'-40'13'15,"80"-26"-15,-106 52 16,52-39-16,-12 14 0,13-1 0,-1 0 16,1 0-16,-13 27 15,26-27-15,-14 14 0,14-14 16,0 13-16,-13 1 0,13-1 0,13 1 15,-13 12-15,14 1 0,-14-13 16,13 12-16,0 1 0,0 0 0,1-1 16,-1-12-16,0 13 0,14-1 15,-14-12-15,26 39 0,-25-26 16,12-14-16,-13 14 0,14-1 0,-1 1 16,-12 0-16,12-1 0,-13 1 15,0 0-15,14-1 0,-14 1 16,0 0-16,1 0 0,-1-1 0,0 1 15,0 0-15,1-1 0,-14 1 16,13 0-16,0-1 0,0-12 0,0 12 16,27 14-16,-27-13 0,1-27 15,-1 14-15,13-1 0,14 1 16,-27-14-16,14 0 0,-1 0 16,-13 1-16,14-14 0,-14 13 0,40-13 15,-40 13-15,0-13 16,1 0-16,-1 0 0,0 0 15</inkml:trace>
  <inkml:trace contextRef="#ctx0" brushRef="#br0" timeOffset="27723.79">18217 4617 0,'-27'13'0,"14"0"0,0 1 0,-14 12 16,1-13-16,-1 14 16,-105 105-1,106-105-15,-1-1 16,-39 14-16,39-14 0,1 1 15,13-14-15,-14 0 0,14 0 0,0 1 16,-14 25-16,14-39 16,-13 27-1,12-27-15</inkml:trace>
  <inkml:trace contextRef="#ctx0" brushRef="#br0" timeOffset="28044.37">17661 4895 0,'-40'159'31,"40"-133"-31,13 53 16,1-65-16,-14 12 0,13-13 0,0 1 16,0-1-16,1 0 0,-1 0 0,27 0 15,-14-13 1,0 0-16,-12 0 0,65-13 16,-66 0-16,14 13 0,12-26 15,-12 12-15,-14 14 16,0-13-16,14-13 15</inkml:trace>
  <inkml:trace contextRef="#ctx0" brushRef="#br0" timeOffset="30539.15">19037 8837 0,'26'-13'16,"-13"0"0,-52 26 15,-54 27-15,53-14-16,1 0 15,-14 1-15,0 13 0,0-1 0,0-12 0,0 12 16,-53 28-16,53-28 15,1 1-15,-1-14 0,-66 67 16,79-67-16,13-12 16,1 12-16,0-13 0,-1 1 0,14-1 15,0 0-15,-1 0 0,1 1 16,0-14-16,13 13 0,-13-13 0,13 13 16,-14-13-16,1 13 15,0 0 1</inkml:trace>
  <inkml:trace contextRef="#ctx0" brushRef="#br0" timeOffset="31115.46">18058 9208 0,'-27'39'16,"14"14"0,0-13-16,13-14 0,-13 67 15,13-80 1,0 27 0,0-14-16,0-13 0,0 1 0,0-1 0,0 0 15,13 0-15,-13 1 0,13-1 16,0-13-16,1 13 0,-1-13 0,0 0 15,14 0-15,-14 0 0,13 0 16,1 0-16,-1 0 0,1 0 0,-1-13 16,0 13-16,1 0 0,-14 0 15,14 0-15,-14 0 0,13 0 0,-12 0 16,-1 0-16,13 0 0,-13 13 16</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7.794"/>
    </inkml:context>
    <inkml:brush xml:id="br0">
      <inkml:brushProperty name="width" value="0.025" units="cm"/>
      <inkml:brushProperty name="height" value="0.025" units="cm"/>
      <inkml:brushProperty name="ignorePressure" value="1"/>
    </inkml:brush>
  </inkml:definitions>
  <inkml:trace contextRef="#ctx0" brushRef="#br0">115 0,'-72'75,"66"-68,1 0,0 1,0 0,1 0,0 0,1 1,-6 16,9-22,-1-1,1 1,0 0,0-1,0 1,0 0,0-1,0 1,1-1,0 1,-1-1,1 1,0-1,0 1,0-1,0 0,1 1,-1-1,1 0,-1 0,1 0,0 0,0 0,0 0,0-1,0 1,0-1,0 1,0-1,1 0,-1 0,5 2,-2-2,-1 1,1-1,0 0,-1-1,1 1,0-1,0 0,9-1,-14 1,1 0,0 0,-1-1,1 1,0 0,-1 0,1 0,0-1,-1 1,1 0,0-1,-1 1,1 0,-1-1,1 1,0-1,-1 1,0-1,1 1,-1-1,1 1,-1-1,1 0,-1 0,0 0,0 0,0-1,0 1,-1 0,1 0,-1 0,1 0,-1 0,1 0,-1-1,1 1,-1 0,0 0,0 1,0-1,1 0,-1 0,0 0,0 0,-1 0,-31-20,15 11</inkml:trace>
</inkml:ink>
</file>

<file path=ppt/ink/ink19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29:10.066"/>
    </inkml:context>
    <inkml:brush xml:id="br0">
      <inkml:brushProperty name="width" value="0.05292" units="cm"/>
      <inkml:brushProperty name="height" value="0.05292" units="cm"/>
      <inkml:brushProperty name="color" value="#0070C0"/>
    </inkml:brush>
  </inkml:definitions>
  <inkml:trace contextRef="#ctx0" brushRef="#br0">5001 1296 0,'92'-26'16,"-39"13"-16,13-14 0,0 14 0,1 0 15,12-14-15,0 1 0,27 13 16,-26-14-16,12 14 0,-12-13 0,12 12 0,-13 1 15,1 0-15,-1 13 0,-13-13 16,14-1-16,-27 14 0,0-13 16,-14 13-16,14 0 0,-26-13 0,-1 13 0,1 0 15,-14 0-15,13 0 0,-12 0 16,-1 0-16,-40 13 31</inkml:trace>
  <inkml:trace contextRef="#ctx0" brushRef="#br0" timeOffset="297.94">5252 1574 0,'13'0'16,"53"14"-1,-26-28-15,53 1 16,-27 0-16,13-14 0,173-26 15,12 1 1,-185 38-16,1 1 0,-14-13 16,0 12-16,0 1 0,-13 13 0,40-26 15,-53 26-15,39-14 16,-66 14-16,0-13 16,1 13-16,-1 0 0,0 0 15,0 0-15,-13 13 31,0 1-31,0-1 16</inkml:trace>
  <inkml:trace contextRef="#ctx0" brushRef="#br0" timeOffset="1157.98">14724 1402 0,'331'-39'16,"-239"25"-16,147-25 0,-120 25 16,13-12-16,13 13 0,-12-14 0,25 14 15,-25-13-15,12 12 0,1 1 16,-14 0-16,0 0 0,-39 13 0,0-14 16,-14 14-16,106-13 15,-145 13-15,-14 0 0,-12 0 16,-1 13-16,0-13 0,0 0 0</inkml:trace>
  <inkml:trace contextRef="#ctx0" brushRef="#br0" timeOffset="1438.91">14936 1852 0,'357'-66'0,"-238"39"16,146-39-16,-133 40 0,13-1 0,1 1 16,-1 0-16,-12 12 0,118-39 15,-119 40-15,67-13 16,-120 12-16,1 1 0,-14 0 15,53 0-15,-66 13 0,-27-13 0,1 13 16,-1 0-16,-13 0 0,0 0 16</inkml:trace>
  <inkml:trace contextRef="#ctx0" brushRef="#br0" timeOffset="13622.79">9115 3559 0,'-27'13'0,"67"-26"46,-27 13-46,14-14 0,-14 14 16,14-13-16,12 0 16,1 0-16,-14-1 0,1 1 0,-1 0 0,1 13 15,-1-13-15,-13 0 0,14-1 0,-1 14 16,54-39 0</inkml:trace>
  <inkml:trace contextRef="#ctx0" brushRef="#br0" timeOffset="13958.87">10014 3466 0,'67'-13'15,"-41"0"-15,53-1 32,-65 1-32,12 13 0,-13 0 15,27-13-15</inkml:trace>
  <inkml:trace contextRef="#ctx0" brushRef="#br0" timeOffset="14293.86">11218 3440 0,'80'0'0,"-67"0"0,13 0 15,1-14-15,-1 14 0,1 0 0,12-13 16,41 0-16,-54 13 15,1 0-15,-14 0 0</inkml:trace>
  <inkml:trace contextRef="#ctx0" brushRef="#br0" timeOffset="17167.99">15743 3572 0,'26'26'0,"-13"-26"0,14 0 0,-14 14 15,14-14-15,-1 0 0,80 13 16,-53 0 0,0-13-16,-14 0 0,14 0 0,0 0 0,0 0 15,53 0 1,-53 0-16,0-13 0,-14 13 0,1 0 16,13-13-16,-26 13 0,12 0 0,1-14 15,0 1-15,13 0 0,-14 13 16,-12-13-16,-1-1 0,-13 14 15,14-13-15,-1 0 0,-13 0 16,14-1-16,-1 14 0,-12-13 0,-1 0 16,0 13-16,14-13 0,-14 0 0,13-1 15,-13 1 1,1 13-16,-14-13 0,13 13 0,0-13 16,0-1-1,1 1-15,-1 0 0,-13 0 16,13 13-16,-13-13 0,13-1 15,-13 1-15,14 0 16,-14-14-16,0 14 16,0 0-16,0 0 15,0-27 1,0 27-16,-14 13 0,14-13 0,0-1 16,-13 14-16,13-13 0,0 0 15,-13 0-15,0-1 0,-1-12 16,1 13-16,0-1 15,0 1 1,-1 0-16,1 13 0,0-13 0,13 0 16,-13 13-16,0-14 0,-1 14 0,1-13 15,0 13-15,13-13 0,-13 13 16,-1-13-16,1 13 0,-27-27 16,27 27-16,0 0 0,0-13 15,0 13-15,-1 0 0,1 0 16,0-13-16,-14 13 0,14 0 0,0 0 15,0 0-15,-14 0 0,14 0 0,0 0 16,0 0-16,-1 0 0,-12 0 16,13 0-16,-1 0 0,1 0 15,0 0-15,0 0 0,-14 0 0,14 0 16,0 0-16,-40 13 16,40-13-16,-40 0 15,40 0-15,-1 0 16,1 0-16,-13 0 0,-27 13 31,39-13-31,1 0 0,0 0 0,-13 0 16,12 0-16,1 0 0,-13 0 0,12 13 15,1-13-15,-13 0 0,12 0 16,1 14-16,0-14 0,0 0 16,0 0-16,-1 0 0,1 13 0,0-13 15,0 0-15,-1 0 0,1 0 0,0 0 16,0 13-16,0-13 15,-27 0 1,27 0-16,-54 13 16,54-13-1,-26 0-15,25 0 0,1 0 16,0 0-16,0 0 16,-1 14-16,-25-14 15,25 0-15,1 0 0,0 0 16,0 0-16,0 0 0,-1 0 15,-25 13 1,25-13-16,-12 0 0,13 0 16,0 13-16,-1-13 0,1 0 15,0 0-15,-27 13 16,27-13 0,0 0-16,-1 0 0,1 0 0,0 13 15,0-13-15,0 0 0,-1 14 16,1-14-16,-13 0 0,12 13 0,1-13 15,0 0-15,0 0 0,-1 13 16,1-13-16,-13 13 16,-1 14-1,14-14-15,13 0 16,-13 14-16,13-14 0,0 0 0,-13 0 16,13 1-16,0 12 0,0-13 15,0 14-15,0-14 0,0 14 16,0-14-16,0 0 0,0 13 0,0-12 15,13-1-15,-13 13 0,13-12 0,0-1 16,-13 0-16,14 0 0,-1-13 16,13 13-16,-13 1 0,1-14 0,12 13 15,1-13-15,-1 0 0,1 13 16,-1-13-16,0 0 0,1 0 0,-1 0 16,1 13-16,-14-13 0,14 0 15,-1 0-15,-13 0 0,0 0 16,14 14-16,-14-14 0,0 0 0,1 0 15,-1 0-15,0 13 0,0-13 0</inkml:trace>
  <inkml:trace contextRef="#ctx0" brushRef="#br0" timeOffset="18843.56">22741 2606 0,'13'0'0,"-13"13"0,0 1 0,0-1 16,-13 53 0,0-26-16,-1-14 0,1 14 0,0 0 15,0-14-15,0 14 0,-1-14 16,-12 1-16,13-1 0,-14-13 0,14 14 16,-40 12-1,40-25-15,-27-14 16,27 0-16,0 0 0,-1 0 0,1-14 15,0 14-15,0-13 16,-14 0-16,14 0 0,0 13 16,13-14-16,26 14 31,-12 14-31,-1-14 16,13 0-16,-13 13 0,14 0 0,-1-13 0,27 27 15,-26-27-15,-1 13 16,1-13-16,-1 13 0,1 0 15,-1-13-15,0 0 0,-12 14 0,12-14 0,14 0 16,-27-14 0,0 14-16,14 0 0,-14 0 0,0 0 15,0-13-15,1 13 0</inkml:trace>
  <inkml:trace contextRef="#ctx0" brushRef="#br0" timeOffset="20319.27">22622 2990 0,'-27'13'32,"14"0"-17,0 0 1,0 1-16,-1-1 16,1 0-16,0 0 0,-13 14 15,12-14 1,1 0-16,0 1 0,0-1 0,-1 0 15,1-13-15,0 13 0,-13 14 16,12-14-16,-25 13 16,25-12-1,1-14-15,-27 13 16,40 0-16,-26 0 16,13-13-16,0 0 15,-1 0-15,1 0 16,0-13-1,0 13 1,13-13-16,0 0 0,-14 13 0,14-14 16,0 1-16,0 0 0,0 0 0,0-1 15,14-12 1,-14 13-16,0 0 0,13 13 16,-13-14-16,13 1 15,0 0-15,14 0 16,-14 13-1,0 0-15,0 0 0,1 0 16,-1 0-16,0 0 16,0 0-16,27 0 15,-27 0-15,1 13 0,-1-13 16,13 0 0,-13 13-16,1-13 0,-1 0 0,0 0 0,0 0 15,1 0-15,-1 13 0,0-13 16,0 0-16,0 0 15,1-13-15,-1 13 16,0 0 0</inkml:trace>
  <inkml:trace contextRef="#ctx0" brushRef="#br0" timeOffset="30066.73">6932 2897 0,'-40'13'0,"14"-13"0,26 14 16,-27-14-1,14 0-15,13 13 0,-13-13 16,-13 0-16,26 13 16,-14-13-16,1 0 0,0 0 0,0 13 0,-1-13 15,-25 14 1,26-14-16,-1 0 15,1 0 1,0 0-16,0 0 31,-14 0-15,27-14-16,-13 14 16,13-13-16,-27 0 31,27 0-31,-13-1 0,0 1 15,0 0 1,13 0-16,-13-14 16,13 14-1,-14 0 1,1 0-16,13-1 0,-13 1 16,0-27-1,13 27-15,0 0 16,0 0-16,0 0 0,-14-1 15,14 1 1,0-13-16,0 12 16,0 1-1,-13-13-15,13 12 16,0 1-16,0 0 0,0 0 16,0 0-16,0-1 15,0 1-15,0-13 16,13 12-16,-13-12 31,14 13-31,-14-1 0,13 1 16,0 0-1,-13 0-15,13 0 16,1-1 0,-1 1-16,13 0 15,-26 0-15,13 13 16,27-40-1,-27 40-15,1 0 0,-1-13 16,13-1-16,-12 14 16,-1-13-16,0 13 0,27-13 15,-27 0-15,27 0 16,-27 13-16,13-14 0,-13 14 16,54-13-16,-54 13 15,53-13-15,-40 13 16,-12-13-16,25 13 15,28-14 1,-28 14-16,-26 0 0,1 0 16,65-13-1,-13 0 1,-13 13 0,-26 0-16,-1-13 0,-13 13 15,14 0-15,-14 0 0,0-13 0,0 13 16,27 0-16,0-14 15,-14 14-15,-13 0 16,1-13-16,12 13 0,40-13 31,-52 13-31,118-13 16,-119 13 0,0 0-16,53 0 15,-52 0-15,12-14 16,1 14-16,39 0 15,-53 0-15,66-13 16,-52 13-16,-1 0 0,54-13 16,-54 13-16,1 0 15,78-13 1,-12 13 0,-67-14-16,-12 14 15,12 0-15,1 0 0,-14 0 0,13 0 16,14 0-1,-27 0-15,0-13 0,14 13 0,52 0 32,-52 0-32,-14 0 0,0 0 0,14 0 15,-1 0 1,27 0-16,-27 0 0,-12 0 16,39 0-16,-40 0 15,13-13-15,-12 13 0,38 0 16,-38 0-1,25 0-15,-25 0 16,-1 0-16,66-13 16,-66 13-16,1 0 15,-1 0-15,27 0 16,-14 0-16,-13 0 0,0 0 16,1-13-16,-1 13 15,53 0-15,-53-14 16,27 14-1,-27 0-15,27 0 16,-27-13-16,14 13 16,-14 0-16,13 0 15,-13 0-15,1 0 0,12 0 16,-13 0-16,14 0 16,26 0-1,-40 0-15,0 0 0,0-13 16,1 13-16,-1 0 15,0 0-15,0 0 0,27 0 16,-27 0-16,1 0 0,-1 0 31,26 0-31,1 0 16,-13 0 0,-14 0-16,27 0 15,-27 0-15,26 0 16,-25 0-16,-1 0 0,0 0 15,27 0 1,-27 0-16,0 0 0,1 0 16,-1 0-16,13 0 15,-13 0-15,27 0 16,-27 0-16,14 0 0,-1 0 16,-13 0-16,14 0 0,-1 0 15,1 0-15,26 0 16,-27 0-16,1 0 0,26 13 15,-27-13-15,1 0 16,-1 0-16,0 0 0,1 13 16,-1-13-16,1 0 0,52 14 15,-52-14 1,-1 0-16,27 0 0,-27 13 0,1-13 16,-1 0-16,1 0 0,-1 0 0,27 0 15,-26 0-15,-1 0 16,1 0-16,-1 0 0,1 0 0,-1 0 15,67 0-15,-80 0 16,13 0-16,54 0 16,-54 0-16,1 0 0,-1 13 15,53-13 1,-12 0 0,-41 0-16,27 0 0,-40 0 15,14 0-15,-1 0 0,53 0 16,-52 0-16,-1 0 15,1 0-15,39 0 16,-40-13-16,14 13 0,-13 0 16,52 0-16,-53 0 15,1 0-15,26 0 16,-27 0-16,27 0 16,40 0-16,-67 0 15,27 0 1,-13 0-16,39 0 0,-52 0 0,65 0 15,-65 0 1,12 0-16,-12 0 0,52 0 16,-39 13-16,-14-13 15,1 0-15,-1 0 0,1-13 0,-1 13 16,14 0-16,39 0 16,-52 0-16,12 0 0,-12 0 15,52 0 1,-52 0-16,-1 0 0,40 0 15,-39 0-15,12 0 16,-12 0 0,105 0-1,-119 0-15,1 0 16,-1 0-16,0 0 0,0 0 0,27 0 16,-27 13-16,1-13 15,-1 0-15,13 0 16,-13 0-16,1 0 15,25 13 1,-25-13-16,38 0 31,15 13-15,-1-13 0,-40 14-16,67-1 15,-80-13-15,14 0 0,-1 13 0,-13-13 16,80 13-1,-80 1 1,27-14-16,-14 13 0,-13-13 0,1 0 16,12 0-16,27 13 15,-40 0-15,0-13 0,1 0 16,12 0 0,-13 14-16,1-14 0,12 0 15,1 0-15,25 13 16,-38-13-1,12 0-15,1 13 16,-14-13-16,0 0 0,0 0 16,14 0-1,-14 0-15,0 0 0,0 0 0,1 0 16,-1 0-16,0 0 0,0 0 16,1 0-16,-1 0 15,0 0-15,0 13 0,14-13 16,-14 0-1,0 0 1,14 0-16,-14 0 16,0 0-16,0 0 0,1 13 15,-1-13 1,0 0-16,0 0 16,0 0-16,1 0 0,-1 0 15,0 0-15,0 0 0,14 14 31,-14-14-31,14 0 0,-14 0 0,13 0 16,-13 0 0,14 13-1,-14-13-15,14 0 16,-14 0-16,0 13 16,0-13-16,1 0 15,-1 0 1,-13 13-1,13-13-15,0 0 16,14 14 0,-14-14-1,0 0 1,0 0-16,1 0 0,-1 0 16,13 0-1,1 0 1,-14 0-1,13 13-15,-12-13 16,-1 0 0,0 0-16,0 0 15,1 0-15,-1 0 0,13-13 16,-13 13 0,27 0-1,-27 0-15,1 0 0,-1 0 16,0 0-16,0-14 0,1 14 15,-1 0-15,0 0 0,0 0 0,14-13 16,-14 13 0,0 0-16,0 0 0,1 0 15,-1 0-15,0 0 0,27-13 16,-27 13-16,0 0 16,0 0-16,1 0 15,12 0-15,-13-13 16,1 13-16,-1 0 0,0 0 0,0 0 15,1 0-15,-1 0 0,13 0 16,-13 0-16,1 0 16,-1 0-16,0 0 0,14 0 15,-14-14-15,0 14 0,0 0 0,0 0 16,27 0 0,-27 0-16,1 0 0,-1 0 15,0 0-15,0 0 0,1 0 16,-1 0-16,0 0 0,0 0 15,27 0 1,-27 0-16,0 0 0,1 0 16,-1 0-16,27 0 15,-27 0-15,0 0 0,13 0 16,-12 0-16,-1 0 0,13 0 16,1 0-16,-14 0 15,0 0-15,14 0 0,-1 0 0,-13 0 0,14 0 16,-1 0-16,1 0 0,-14 0 15,13 0-15,1 0 0,-1 0 16,1 0-16,-1-13 0,-12 13 0,12 0 16,0 0-16,-12 0 0,12 0 0,-13 0 15,14 0-15,-14 0 0,14 13 16,-14-13-16,13 0 0,-13 0 16,1 0-16,-1 0 0,0 0 0,0 0 15,1 0-15,-1 0 0,0 0 16,0 0-16,1 0 15,-1 14-15,0-14 16,0 0 0,0 0-1,1 0 17,-1 0-17,0 0 16,0 0-15,14 0 0,-1 0-1,-13 0-15,1 0 0,12 0 16,-13 0-16,1 0 0,12 0 0,-13 0 0,14 0 16,-1 0-16,-13 0 0,40 0 15,-26 0-15,-14 0 16,14 0-16,-1 0 0,0 0 0,1 0 15,-14 0-15,14 0 0,-14 0 0,26 13 16,-25-13-16,-1 0 16,13 0-16,1 0 15,-14 0-15,0 0 0,1 0 16,12 0 0,-13 0-16,0 0 15,14 0 1,-14 0-16,0 0 15,1 0 1,12 13 0,-13-13-1,1 0 1,-1 0-16,0 0 31,0 0 0,-13 13-15,13-13 0,1 0-1,-1 0 17,-13 14-17,13-14 1,0 13-1,1-13 17,-1 13-17,0-13 1,0 13 15,1-13 0,-1 0-15,0 13 0,0 1-1,0-14 1,1 13 0,-1-13-1,0 13 16,0-13-15,-13 13 0,14-13-1,-14 14 1,0-1 15,0 0-15,0 0 15,0 1-15,0-1-1,-14 0 1,28-13-16,-14 13 16,0 0-16,13 1 15,-13-1-15,0 0 16,13 14-1,0-27-15,-13 13 0,14 0 0,-1 14 16,-13-14-16,0 0 16,13-13-16,-13 13 15,0 0-15,13 1 0,-13-1 0,0 0 16,13 0-16,-13 1 0,0-1 16,0 0-1,0 14 1,0-14-1,-13 0 1,0-13-16,0 13 16,0 0-16</inkml:trace>
  <inkml:trace contextRef="#ctx0" brushRef="#br0" timeOffset="34969.76">6972 2884 0,'13'0'16,"0"0"-16,0 0 16,1 0-16,-1-13 15,13 13 1,14-13-16,-27 13 15,14-14-15,-14 14 0,13 0 0,-12-13 0,12 13 16,-13 0-16,53-26 16,-39 26-16,-1-14 15,1 14-15,-1-13 0,1 13 0,-1-13 16,1 0-16,-1-1 0,14 1 16,0 13-16,65-26 15,-65 13-15,-13-1 0,25 1 16,-25 13-16,13 0 0,-14-13 15,1 13-15,-1 0 0,53 0 16,-52 0 0,-1 0-16,54-13 15,-54 13-15,14 0 0,92-27 16,-13 14 0,13-14-1,-105 27-15,-1-13 0,14 13 0,-14-13 16,1 13-16,-1 0 0,1-13 15,13 13-15,-1 0 0,1-13 0,66-1 16,-67 1-16,-12 13 16,13 0-16,52-13 15,-65 13-15,-1 0 16,1 0-16,-1-13 0,-13 13 0,14 0 0,-1 0 16,-13 0-16,54 13 15,-1-13 1,-27 13-1,-25-13 1,39 0-16,-40 13 16,0-13-16,0 0 0,0 14 15,14-1 1,-14-13-16,0 0 0,1 13 0,-1-13 16,0 13-16,13 0 15,-12 1 1,12-1-1,-13 0-15,1-13 16,12 13 0,-13 1-16,14-1 15,-14 0 1,0-13-16,-13 13 0,13-13 0,1 14 0,-1-1 16,13-13-1,-26 13-15,14-13 0,-1 13 0,0-13 16,0 0-16,1 13 0,-1-13 0,0 0 15,13 14 1,-12-14-16,-1 0 0,0 0 0,0 13 0,1-13 16,-1 0-16,13 0 0,-12 0 15,-1 0-15,13 0 0,-13 0 16,14 13-16,-14-13 0,53 0 16,-39 0-16,-1 0 0,1 0 15,-14 0-15,66 0 16,-52 0-16,-14 0 0,13 0 15,1 13-15,-14-13 0,14 0 0,-1 0 16,27 0 0,-27 0-16,27 0 0,-13 0 15,-14 0-15,1 0 0,-1 0 0,1 0 0,-1 0 16,1 0-16,-1 0 0,54 0 16,-54 0-1,0 0-15,1 0 0,-1 0 0,1 0 16,-1 0-16,14 0 0,-14 0 15,1-13-15,-1 13 0,41 0 16,-41 0-16,14 0 0,39 0 16,-39 0-16,-14 0 15,1 0-15,-1 0 0,1 13 0,-1-13 16,0 0-16,1 0 0,-1 0 16,1 0-16,-1 0 0,67 0 15,-67 0 1,41 0-16,-41-13 0,40 13 15,-39 0-15,12 0 0,-12-13 16,79 13-16,-80 0 16,0-13-16,14 13 0,-13 0 15,-1 0-15,1 0 0,-1 0 0,0 0 16,54 0-16,-54 0 16,1 0-16,79 0 15,-93 0 1,40-14-16,-27 14 0,1 14 15,52-14-15,-66 0 16,67 0 0,-67 0-16,13 0 0,1 13 0,39-13 15,-40 0 1,1 0-16,-14 0 0,14 0 16,-14 0-16,0 0 0,53 0 15,-53 0-15,1 0 16,25 0-16,-26 0 0,14 0 15,-14 0-15,0 0 0,14 0 16,-14 0-16,14 0 0,-14 0 0,13 0 16,-13 0-16,14 0 0,-14 0 0,14 0 15,39 0 1,-53 0-16,0 0 0,14 0 16,-14 0-16,0 0 0,14 0 0,-14 0 0,27 0 15,-14 0 1,-13 13-16,14-13 0,-14 0 0,13 0 15,-12 0-15,25 0 16,-25 0-16,12 0 0,-13 0 0,14 0 16,-14 0-16,13 0 0,27 0 15,-40 0-15,14 13 16,26-13 0,-40 0-16,14 0 0,-14 0 0,0 0 15,0 0-15,14 0 0,-14 0 16,0 0-16,0 14 0,1-14 0,12 0 0,-13 0 15,1 0-15,-1 0 0,13 0 16,-13 0-16,1 0 0,39 0 16,-40 0-16,13 0 15,-13 0-15,14 0 0,-14 0 0,0 0 16,14 0-16,-1 0 0,54 13 16,-67-13-16,13 0 15,1 0-15,52 0 16,-52 13-16,52-13 15,-52 0-15,-1 0 16,0 0-16,1 0 0,-1 0 0,1 13 0,-14-13 16,14 0-16,-1 0 15,-13 0-15,14 0 0,-1 14 0,1-14 16,-1 0-16,-13 0 0,14 0 0,-1 0 16,-13 13-16,14-13 0,-1 0 15,-12 0-15,12 0 0,0 0 0,-12 0 16,12 0-16,-13 0 0,1 0 0,12 0 15,-13 0-15,1 13 0,-1-13 16,0 0-16,0 0 0,14 0 16,-14 0-16,0 0 0,0 0 15,27 0 1,-27 0-16,27 0 16,-27 0-1,0 0-15,1 0 0,12 0 16,-13 0-16,53 0 15,-39 0-15,-1 0 0,1 0 0,-1 13 16,67-13 0,-67 0-16,14 0 0,-27 0 0,27 13 15,-14-13-15,1 0 0,13 0 16,-14 14-16,1-14 16,-14 0-16,13 0 0,1 0 0,-1 13 15,-13-13-15,14 0 0,-14 0 0,13 0 16,41 13-1,-54-13-15,0 0 0,14 13 0,-14-13 16,0 0-16,13 0 0,-12 0 0,-1 0 16,13 14-16,-12-14 0,-1 0 15,0 0-15,14 0 0,-14 13 0,0-13 16,40 0-16,-40 13 16,0-13-16,14 0 0,-1 0 15,-13 0-15,54 13 16,-41-13-16,1 0 0,-1 0 0,-13 0 15,53 0 1,-52 0-16,12 0 0,-13 13 16,1-13-16,-1 0 0,13 0 0,-13 0 15,14 0 1,-14 0-16,0 0 0,1 0 16,-1 0-1,0 0 1,0 0-1,1 0 1,-1 0 0,0 0-16,0 0 31,14 0-15,-14 0-16,0 0 15,0 0 1,1 0-16,-1 0 0,13-13 15,-12 13 1,-1 0-16,0 0 0,0 0 16,14 0-1,-14 0 1,0 0-16,0 0 16,14 0-1,-1 0 1,-13 0-16,1 0 0,-1-13 15,13 13 1,-12 0 0,-1 0-16,0 0 15,0 0-15,1 0 16,-1 0-16,13 0 16,1 0-1,12 0 1,-25 0-16,12 0 15,-13 13 1,1-13-16,-1-13 0,0 13 16,0 0-16,14 0 15,-14 0-15,13 0 16,1 0 0,-14 0-16,0 0 15,0 0 1,1-13-16,12 13 15,-13 0-15,14 0 16,-14 0 0,0-13-16,14 13 15,-14 0 1,0 0 0,0 0-1,1 0-15,-1-14 0,0 14 16,0 0-1,14 0 1,-14-13 0,0 13-1,1 0-15,-1 0 32,0 0-32,-13-13 0,13 13 31,0 0-31,1 0 0,-1-13 15,0 13 1,14 0 0,-27-14-16,13 14 0,0 0 15,0 0-15,1-13 16,-1 13-16,0-13 16,0 13-1,0-13-15,1 13 16,-1-13-1,13 13 1,-26-14-16,14 14 0,-1-13 16,0 13-1,0-13-15,1 0 16,-14-1 0,13 14-1,-13-13-15,13 0 16,-13 0-16,13 13 15,-13-14 1,-13 1 0,0 13-1,0 0-15,-1-13 16</inkml:trace>
  <inkml:trace contextRef="#ctx0" brushRef="#br0" timeOffset="38574.89">3215 4776 0,'-14'-14'0,"41"28"46,52 39-46,-39-40 16,13 13-16,0 1 0,0-1 0,53 14 16,-54-14-1,15 1-15,-14-14 0,-1 14 0,1-1 0,0-13 16,0 14-16,27-1 16,-54 1-16,14-14 0,-14 0 15,14 0-15,-27 14 0,14-14 0,25 13 16,-38-12-16,-1-14 15,-13 13-15,26 13 16,-12-26-16,-1 14 16</inkml:trace>
  <inkml:trace contextRef="#ctx0" brushRef="#br0" timeOffset="40146.93">622 6562 0,'-80'39'0,"54"-25"0,13-1 0,-40 66 16,40-52 0,-1 12-16,1-12 0,0 65 15,13-65-15,0-1 16,0 1-16,0-14 0,13 13 0,0 14 15,1-27-15,-1 1 16,0-14-16,0 13 0,0-13 0,27 0 16,-27-13-1,40-27 1,-39 27-16,12-14 0,-13 1 0,0 13 16,1-14-16,-1 14 0,-13-14 0,13 14 15,0-13 1,-13 12-16,14 1 0,-1 13 31,0 13-31,0 1 16,1-1-16,-1-13 15,0 13-15,0-13 16,14 13-16,12-26 16,-25 0-1,-1 0-15,0-1 16,-13 1-16,0-26 15,-13 39-15,13-14 0,-13 1 16,-1 13 0,1-13-16,0 13 0,0 0 0,-1 0 15,-25 13 1,26 0-16,-1 1 16,1-14-16,13 13 15,40-26 16,-27 13-31,40-27 16,-13 14 0,-14 0-1,-13 13-15,0 0 0,1 0 0,12-14 32,-13 14-32,1 0 15,-1 0 1,0 0-16,-13-13 15,13 0 1,1 0 0,-14 0-16,13 13 15,-13-14-15,13 14 0,0 0 16,14-13-16,-14 13 16,0-13-16,14 13 15,-14 0 1,0 0-16,0 0 0</inkml:trace>
  <inkml:trace contextRef="#ctx0" brushRef="#br0" timeOffset="40665.85">1191 6244 0,'13'27'15,"0"-14"-15,14 0 16,-14 14-16,13-1 0,1 14 0,12-14 15,54 80-15,-80-80 16,14 14-16,-14-13 0,0-14 0,0 13 16,1-12-16,-14-1 0,13 0 0,-13 0 15,0 0-15,13 1 16,-26-1-16,-14-13 31,14-13-31,13-1 16,-13-25-1,13 26-15,0-1 0,0 1 0,13 0 0,-13 0 16,0-1-16,27-25 16,-14 39-16,-13-14 0,13 14 15,0 0-15,14 0 16,-14 0-16,13 14 16,-26-1-1,14-13-15,-14 13 0,13-13 16,-13 13-16,13-13 15</inkml:trace>
  <inkml:trace contextRef="#ctx0" brushRef="#br0" timeOffset="40806.19">1561 6350 0,'-26'0'0,"12"13"0</inkml:trace>
  <inkml:trace contextRef="#ctx0" brushRef="#br0" timeOffset="41212.15">1627 6112 0,'13'0'16,"1"13"-16,-1 0 0,0 1 16,27 38-1,-27-25-15,27 26 16,-27-27-16,0-12 0,0 12 0,1-13 16,-14 0-16,13 1 0,-13-1 0,13 0 0,-13 0 15,0 1 1,-13-14-1,13-14 1,-13 1-16,13 0 16,0 0-16,0-1 0,0-25 15,0 26 1,0-1-16,0 1 0,13 0 0,0 0 16,0-1-1,1 14-15,-1 0 16,0 0-16,0 14 0,14-1 15,-14 13 1,0-12 0,0-1-1</inkml:trace>
  <inkml:trace contextRef="#ctx0" brushRef="#br0" timeOffset="41350.87">1879 6152 0,'-14'-14'16</inkml:trace>
  <inkml:trace contextRef="#ctx0" brushRef="#br0" timeOffset="41737.85">2117 6006 0,'-14'-13'16,"1"39"-16,13-13 16,0 1-16,0-1 15,0 0-15,0 0 16,13 1-16,-13-1 0,14 0 15,-1-13-15,0 0 32,0-26-17,-13 12 1,14 14-16,-14-13 16,13 26-1,0-13 1,13 0-1,14-26 17,-27 13-17,1 39 17</inkml:trace>
  <inkml:trace contextRef="#ctx0" brushRef="#br0" timeOffset="42451.17">1124 7805 0,'27'27'31,"-27"-14"-31,13-13 0,-13 13 16,13-13-16,-13 13 0,14-13 0,-14 14 16,13-14-1,0 13-15,-13-26 16,0-14 0,13 27-16,-13-13 15,0 0-15,14-1 0,-1 1 16,-13 0-1,13 13 1,0 0-16,0 0 16,1 0-16,-1 13 15,0-13 1,0 0 0,1-13 15,-1 0-16,0 0 1,-13-1-16,13 1 0,1 0 0,12-14 16,-13 14-16</inkml:trace>
  <inkml:trace contextRef="#ctx0" brushRef="#br0" timeOffset="43327.92">1508 7607 0,'-26'13'16,"12"0"-1,14 0-15,-13 1 16,13-1 0,13 13-16,-13-12 15,14-14 1,-1 0-16,0 0 16,0-14-16,1 1 15,-14 0 1,13 13-1,-13-13 1,13 13 0,0 13-1,1-13 1,-14 13-16,13-13 16,0 0-16,0-13 15,0 0 1,-13-1-16,0 1 15,0 0-15,0 0 0,0 0 16,-13-14-16,13 1 0,-13 12 0,13 1 16,-13 0-16,13 0 0,-13-1 15,13 1-15,0 0 0,-14 13 0,14-13 16,14 39 15,-14-13-31,26 27 16,-26-27-1,0 14-15,13 13 16,0-27-16,-13 0 0,0 0 0,14 0 0,-14 1 16,0-1-16,0 0 15,0 0 1,-14-39 15,14 13-15,0-1-16,0 1 0,0 0 15,14-13 1,-14 12-16,13 14 16,13-13-1,-12 13-15,-1 0 0,0 0 16,0 0-16,0 0 16,1 0-1,-1 0-15,0 0 16,0 0-1,-13-13 1,0 0 0,0-14-1,0 14 1,0 0-16,14 13 0,-14-14 16,13 14-1,-13-13 1,13 13-16,0 0 15,1 13 1</inkml:trace>
  <inkml:trace contextRef="#ctx0" brushRef="#br0" timeOffset="43503.17">1905 7369 0,'13'13'16,"14"13"15,-27-12-31,0-1 0,13 0 16,-13 0-1</inkml:trace>
  <inkml:trace contextRef="#ctx0" brushRef="#br0" timeOffset="43691.01">1839 7236 0,'-13'0'0,"13"14"47</inkml:trace>
  <inkml:trace contextRef="#ctx0" brushRef="#br0" timeOffset="44004.96">2090 7104 0,'0'27'16,"0"12"15,0-26-31,-13 14 0,13-1 16,0-12-16,0-1 0,-13 13 0,13-13 16,-13 14-16,13-14 15,-14-13 1,41-13 31,-1 0-32,-13-1-15,40-12 16,-26 13-16,-14 0 0,40-27 16,-40 27-16,0-1 15,1 1-15</inkml:trace>
  <inkml:trace contextRef="#ctx0" brushRef="#br0" timeOffset="47682.08">5689 8877 0,'92'-27'0,"-52"14"0,13 0 16,-14 0-16,133-27 15,-119 27-15,13-1 0,67-12 16,-80 13 0,-27 13-16,1-13 0,-1 13 0,-13 0 15,1 0-15,-1 0 0,0 0 0,0 0 16,-39 26-1,-67 0 1,53 1-16,-12-14 16,-120 53-1,119-39-15,-14-14 0,15 13 0,-1 1 16,26-14-16,-12 0 0,12 1 0,1-1 16,12 0-1,54-26 1,53-14-16,-40 1 0,13 13 15,0-14-15,132-39 16,-145 40-16,13 12 0,-26 1 16,39-13-1,-39 12-15,-13 1 0,-14 0 0,0 13 16,27-13-16,-27 0 16,0 13-16,0 0 15,-39 0 63,13 13-62,0-13 15,-1 0 250,1 0-265</inkml:trace>
  <inkml:trace contextRef="#ctx0" brushRef="#br0" timeOffset="48954.82">12859 6099 0,'-13'13'16,"-40"53"-1,-40 40 1,53-66-16,14-1 0,-14 1 0,-13 39 15,40-52-15,-13-1 0,26-13 16,-14 1-16,1 25 16,40-65-1,12-27 1,1 13-16,0 1 0,-1-1 16,1 0-16,13 1 0,-13-1 0,-1 0 15,1 0-15,53-39 16,-67 66-16,1-27 15,-14 40-15,-26 27 32,-1-14-32,1 27 15,-93 65-15,80-65 16,-14 0-16,0-1 0,1 1 0,-1 0 16,-26 39-1,39-66-15,27 1 0,-13-1 16,13 0-16,27-39 15,78-80 1,-65 66-16,0-13 16,39-26-16,-39 39 0,0 0 15,-14 14-15,40-40 16,-53 53-16,1 13 0,-14-14 16,13 14-16,-26 40 15,-53 39 1,39-26-16,-13-13 0,14 0 15,-67 92-15,67-105 16,13-1-16,-14 0 0,1 41 16,12-54-16,1 0 15</inkml:trace>
  <inkml:trace contextRef="#ctx0" brushRef="#br0" timeOffset="52274.66">9604 8281 0,'-13'0'0,"40"-13"31,52-13-31,-39 13 16,145-40-16,-132 39 15,132-39 1,-119 40-16,106-26 15,-119 25-15,-13 1 0,39 0 16,-52 13-16,-14-13 16,13 13-16,-13 0 0,1 0 0,-1 0 15,-40 26 1,1-13-16,-14 1 16,-118 38-16,91-25 15,-12-1-15,-14 1 0,1 13 0,12-14 16,1 0-16,-14 14 0,27-13 15,-132 39-15,132-40 16,26-13-16,14 1 0,12-14 0,1 13 16,0-13-16,53-13 15,105-27 1,-79 14-16,14-1 0,-1 1 16,14-1-16,-14 1 0,0-1 0,1 1 15,145-27 1,-159 26-16,-13 14 0,-14 0 15,1 13-15,26-27 16,-53 27-16,1 14 16,-41-1-1,1 0-15,-1 0 0,-12 1 16,12-1-16,-12 13 16,-14 1-16,-133 52 15,147-66-15,-1 1 0,14-1 0,-1 0 16,1 0-16,12-13 0,1 0 15,-13 14 1,12-14-16,54 0 31,-13-14-15,-14 14-16,0 0 16,-13-13-16,13 13 0,1 0 0,-1 0 15,0 0-15,0 0 16,0 0-16</inkml:trace>
  <inkml:trace contextRef="#ctx0" brushRef="#br0" timeOffset="53609.82">12502 8533 0,'26'-13'0,"-13"-1"16,0 14-16,-13-13 15,14 13-15,-1-13 16,0 13-16,-39 13 31,-14 27-15,27-27-16,-14 0 0,1 14 15,13-14-15,-27 27 16,27-27-16,-1 0 16,14 0-1,14-13 1,-14 14-16,13-14 0,0 0 15,0 0-15,1 0 0,-1 0 0,0 0 16,14 0-16,-14 0 0,0 0 16,0 0-16,14 13 0,-14-13 0,0 0 15,0 0-15,1 13 0,-14 0 16,13 0-16,-26 14 16,-1-14-1,14 0-15,-13-13 0,0 14 0,0-1 16,-14 13-16,14-26 15,-13 14-15,-1-1 0,1 0 16,-1 0 0,54-26 15,-14 0-15</inkml:trace>
  <inkml:trace contextRef="#ctx0" brushRef="#br0" timeOffset="53839.08">13084 8348 0,'0'26'0,"0"14"15,0-27-15,-14 13 16,14 1-16,0-14 0,-13 14 0,13-1 15,0 0-15,-26 41 16,26-54-16,0 0 0,-13 0 16,13 1-16,0-1 0,-14 0 15,14 0-15</inkml:trace>
  <inkml:trace contextRef="#ctx0" brushRef="#br0" timeOffset="54006.93">12872 8533 0,'-13'-13'0,"13"-1"16,26 14 15,-13 0-31</inkml:trace>
  <inkml:trace contextRef="#ctx0" brushRef="#br0" timeOffset="54146.54">13203 8533 0,'13'0'0,"-13"13"63</inkml:trace>
  <inkml:trace contextRef="#ctx0" brushRef="#br0" timeOffset="55004.84">12832 9088 0,'27'0'0,"-1"0"0,-13-13 0,14 13 0,-1-13 15,14 0-15,-13 0 0,25-1 0,-12 1 16,79-53 0,-66 39-16,-13 14 0,-1-13 0,-12-1 15,13 14-15,-14-13 0,1-1 16,-1 14-16,0-14 0,14-39 16,-27 53-16,1-13 15,-14-1-15,13 14 0,-13-14 0,0 14 16,0-13-16,0-14 15,-13 14-15,-1-14 0,14 14 16,-13 12-16,0-12 0,0 13 0,-1-14 16,-12 1-16,13-1 0,-14 14 0,1-13 15,-67-41 1,67 41-16,-14 13 0,14-14 16,-14 14-16,0 0 0,14 0 0,-14-1 0,14 1 15,-67 0 1,67 13-16,-14 0 0,0 13 0,-39 0 15,39-13-15,0 14 16,1-1-16,-1 0 0,-53 40 16,67-27-16,0-12 15,-14 12-15,13-13 0,1 14 0,-1-1 16,-12 27-16,12-26 16,1-1-16,13 1 0,-14-1 0,14 0 15,-13 1-15,12 13 0,1-14 0,0-13 16,-27 53-1,27 1-15,0-41 16,13-13-16,0 14 0,0-14 16,0 13-16,13 41 15,0-54-15,0 13 0,1-13 16,-1 14-16,13-1 0,-12-12 0,12-1 16,0 13-16,14-12 0,-13-1 0,12-13 15,-12 13-15,12-13 0,67 13 16,-13-13-1,-53-13-15,-14 13 0,0 0 16,1 0-16,-14 0 0,14-13 16,-14 13-16,0 0 0,14 0 15,-14 0 1,0 0-16,-13 13 31</inkml:trace>
  <inkml:trace contextRef="#ctx0" brushRef="#br0" timeOffset="106351.81">22688 6191 0,'13'-13'32,"-26"13"15,0 13-16,0 14-16,13-1 1,-14-26-16,14 13 16,0 1-16,0-1 0,0 0 15,14-13-15,-14 13 0,0 1 0,0-1 16,13-13-16,-13 13 0,13 0 0,0 0 16,0-13-16,-13 14 15,14-14-15,-1 0 0,0 0 16,0 0-16,1 0 15,-1-14-15,0 14 0,0-13 16,1 0-16,-1 0 0,-13 0 16,13 13-16,-13-27 15,0 14-15,0-14 0,0 14 16,-13 0-16,13 0 16,-13-1-16,13 1 0,-14-13 15,1 26-15,0-27 16,-14 14-16,14 0 15,0 13-15,0 0 16,-1 0-16,1 0 0,0 0 16,0 26-1,13-12-15,-13-14 0,13 13 16</inkml:trace>
  <inkml:trace contextRef="#ctx0" brushRef="#br0" timeOffset="106579.91">22953 6204 0,'0'14'16</inkml:trace>
  <inkml:trace contextRef="#ctx0" brushRef="#br0" timeOffset="106911.07">23164 5953 0,'14'40'0,"-14"-27"16,13 13-16,0 14 15,0 13-15,0-26 16,-13 12-16,14-26 16,-14 1-16,13 12 15,-13-13-15,0 1 0,0-1 16,13 0-1</inkml:trace>
  <inkml:trace contextRef="#ctx0" brushRef="#br0" timeOffset="107231.81">23627 5887 0,'-39'26'16,"25"27"-16,1-13 15,0-27-15,0 14 16,-1 12-16,1 1 16,0-27-16,0 1 0,0 12 15,13-13-15,-14 14 0,1-14 16,0 0-16</inkml:trace>
  <inkml:trace contextRef="#ctx0" brushRef="#br0" timeOffset="107384.15">23416 6112 0,'0'-13'15</inkml:trace>
  <inkml:trace contextRef="#ctx0" brushRef="#br0" timeOffset="107530.95">23733 6125 0,'0'13'16,"0"-26"-16,13 26 16</inkml:trace>
  <inkml:trace contextRef="#ctx0" brushRef="#br0" timeOffset="108447.11">22027 5292 0,'-67'-14'15,"41"28"-15,26-1 16,-26 13-16,-1 1 16,27-14-16,0 14 15,0-14-15,0 0 16,0 0-16,13 0 16,1-13-16,-1-13 15,0 13-15,27-39 16,-14-1-1,1 13-15,-14 14 16,0 0 0,0 13-16,0 13 0,-13 0 15,27 14-15,-14 13 16,14-1-16,-14 1 16,0-14-1,0 14-15,-13-27 0,14 0 16,-1 14-1,0-14-15,-13 0 16,13-13 0</inkml:trace>
  <inkml:trace contextRef="#ctx0" brushRef="#br0" timeOffset="108943.88">22344 5199 0,'-13'0'15,"0"0"-15,-14 0 0,14 13 16,0 1-16,13-1 0,-14-13 16,1 26-16,13-13 15,0 1 1,0-1-1,27-26-15,-14-1 16,13-12-16,-12 13 16,-1 0-16,0 13 0,0-14 31,1 28-31,12-1 0,0 26 16,1 1-1,-1 0-15,-12 0 16,25 26-1,-26-40-15,1-13 16,-1 14 0</inkml:trace>
  <inkml:trace contextRef="#ctx0" brushRef="#br0" timeOffset="109103.01">22675 5331 0,'0'-13'15,"-13"13"-15,26 13 0</inkml:trace>
  <inkml:trace contextRef="#ctx0" brushRef="#br0" timeOffset="109475.11">22714 5040 0,'-13'0'16,"0"14"-16,-13-14 0,12 26 15,14-13-15,-13 0 16,0 1-16,13 12 15,0-13-15,26 1 16,-12-14 0,-1 0-16,0-14 15,13 1-15,-12 0 16,-1 0-16,0-1 16,0 14-16,1 0 15,12 27 1,-26-14-16,13 14 15,-13-1 1,27 14 0,-27-27-16,13 13 15,0-12 1</inkml:trace>
  <inkml:trace contextRef="#ctx0" brushRef="#br0" timeOffset="109784.01">23019 4961 0,'-40'0'0,"14"13"0,12 0 16,1-13 0,106-26-16,-199 66 0,93-27 15,13 0-15,13-13 16,0 0 15,0 0-31,14 0 16,-14 13-16,0 1 15,14-1-15,-14 13 16,0 1-16,0-1 16,-13-13-16,0 27 15,0-27 1,0 1-16,0-1 15,14 0-15</inkml:trace>
  <inkml:trace contextRef="#ctx0" brushRef="#br0" timeOffset="110097.53">23257 4934 0,'13'40'16,"-13"-27"-1,0 40-15,0-26 16,0 12-16,0 1 0,-13 0 16,13-27-1,-13 14-15</inkml:trace>
  <inkml:trace contextRef="#ctx0" brushRef="#br0" timeOffset="110253.23">23164 5080 0,'-13'-13'31</inkml:trace>
  <inkml:trace contextRef="#ctx0" brushRef="#br0" timeOffset="110364.05">23376 5133 0,'13'-13'31</inkml:trace>
  <inkml:trace contextRef="#ctx0" brushRef="#br0" timeOffset="111374.88">22662 5794 0,'39'-39'16,"27"-1"-16,-39 14 15,-1 12-15,93-52 16,-66 40-16,133-93 16,-54 39-1,40-39 1,-146 80-1,67-28-15,-40 14 16,13-39 0,-40 39-1,-26 0 1,0 13 0,-13 14-16,-27-27 15,-12 13 1,12 1-16,-40-1 15,54 13 1,-40 1-16,-133-40 31,147 53-31,-134-1 16,133 1 0,-264 53-1,251-27-15,-133 53 16,80-13-16,66-26 15,-145 78 1,132-52-16,-40 40 16,40-27-16,-146 199 15,133-107 1,52-105-16,14-13 0,13 79 16,0-79-1,40 26-15,92 0 16,0-39-1,225-80 1,-171 13-16,-28-13 16,-91 27-16,118-54 15,-66 14 1,-27 26 0,-78 27-16</inkml:trace>
  <inkml:trace contextRef="#ctx0" brushRef="#br0" timeOffset="112622.47">22714 5741 0,'-145'67'32,"-1"105"-1,1 52-16,92-78 1,40 13 0,13-120-16,39 67 15,41 0 1,-40-79-16,131 52 16,81-53 15,-199-26-31,238-39 15,-119-27 1,39-27 0,-39 0-1,14-26 17,-147 106-32,67-93 31,-93 93-31,40-119 15,-39 79 1,12-106 15,-26 106-15,0 40-16,-66-146 31,0 67-15,-27 39-1,-39 13 1,92 27 0,-39-1-1,39 1-15,-145-26 16,132 39-16,-93-14 16,94 14-16,-187 27 15,147-1 1,26 1-16,13-14 15,-106 66 1,106-52-16,-92 79 16,92-67-16,-80 94 15,-39 52 1,146-146-16,-27 67 16</inkml:trace>
  <inkml:trace contextRef="#ctx0" brushRef="#br0" timeOffset="115661">23058 6059 0,'0'-13'0,"14"39"63,-14 1-47,13-14-1,-13 0-15,13 0 16,0 27-1,-13-27-15,14 0 16,-14 1-16,13-1 16,0 0-16,-13 0 0,13-13 15,-13 14-15,14-1 16,-1 0 0,0-13-16,-13 13 15,13-13 1,0 0 15,1-13-15,-14 0-1,0 0 1,13 13-16,-13-14 16,-13 1-1,13 0-15,0 0 16,-14-14-1,1 14-15,13 0 0,-13 0 16,-13-14 0,12 1-1,1 12-15,0 1 0,-14 0 32,14 13-17</inkml:trace>
  <inkml:trace contextRef="#ctx0" brushRef="#br0" timeOffset="116562.9">23191 5940 0,'13'53'32,"-13"-40"-17,26 40 1,-26-27-16,14-12 16,-1 25-16,-13-25 15,13-1 1,-13 0-1,0 0 1,-13-39 0,0-1-16,-1 14 15,1-13-15,-26-27 16,39 39-16,-40-52 31,27 66-15,26 14-1,0-1 1</inkml:trace>
  <inkml:trace contextRef="#ctx0" brushRef="#br0" timeOffset="119322.86">22106 8057 0,'-13'0'16,"26"26"15,0 14-31,-13-27 16,13 13-16,-13 1 0,14-14 16,-14 14-16,13-1 0,-13 0 15,13 14-15,-13-13 0,13-1 16,-13-13-16,0 14 0,0-14 0,0 0 15,14 0-15,-14 1 0,0-1 16,0 0-16,13-13 16</inkml:trace>
  <inkml:trace contextRef="#ctx0" brushRef="#br0" timeOffset="119634.9">22767 7885 0,'-39'13'15,"25"0"-15,14 0 0,-13 14 0,13-14 16,-13 0-16,0 14 0,-14 52 16,14-53-1,13 1-15,-13-14 0,0 14 0,13-1 16,-14-13-16,14 14 0,-13-14 0,0 13 16,0-12-16,13-1 15,-14-13-15</inkml:trace>
  <inkml:trace contextRef="#ctx0" brushRef="#br0" timeOffset="119820.91">22490 8043 0,'13'14'47</inkml:trace>
  <inkml:trace contextRef="#ctx0" brushRef="#br0" timeOffset="119944.25">22926 8083 0,'-26'13'32</inkml:trace>
  <inkml:trace contextRef="#ctx0" brushRef="#br0" timeOffset="172842.86">9485 8784 0,'-383'93'32,"303"-80"-32,14 0 0,-13 0 0,-14 1 0,14 12 15,-14-13-15,-238 54 16,-26-1-1,238-53-15,-264 66 16,250-52-16,-250 39 16,250-40-16,1 1 15,-133 26 1,-118 13-16,264-40 0,-14-12 0,-105 38 16,106-38-16,-212 39 15,238-27-15,-185 14 16,185-27-16,1 13 15,-160 14 1,186-27-16,-14 14 0,14-14 16,-1 0-16,-158 27 15,172-27-15,0 0 0,-133 27 16,146-27-16,1 1 16,-1-14-16,13 13 0,-13 0 0,13-13 15,-52 26-15,65-26 16,1 14-16,-1-14 0,-39 13 15,53-13-15,-27 13 16,27-13 0,-13 0-1,12 0-15,1 0 16</inkml:trace>
  <inkml:trace contextRef="#ctx0" brushRef="#br0" timeOffset="173574.25">675 10173 0,'-14'0'0,"41"0"16,39-26-1,27-27 1,-67 26 0,1 1-16,12-1 0,-12 1 0,-1 0 15,-13 12-15,1-12 0,-1 13 0,0-1 16,-13 1-16,0 0 0,0 0 0,0-1 15,0 1-15,0 0 0,-13 0 16,0 13-16,13-13 16,-14 13-16,1 13 15,0 0-15,0 0 0,13 14 0,0-1 16,-14 1-16,14-1 0,0 14 0,14 79 16,-14-79-16,0-14 15,0 0-15,13 1 0,-13-1 16,26 41-1,-26-54-15,14 13 0,-14-13 0,13 14 16,0-14 0,0-13-16</inkml:trace>
  <inkml:trace contextRef="#ctx0" brushRef="#br0" timeOffset="174031.11">1257 9948 0,'-13'-13'0,"-1"13"15,1 27 1,13-14-16,0 13 0,13 1 16,1 39-1,-14-40-15,0 1 0,13-14 16,-13 0-16,13 14 0,-13-14 0,13 0 0,-13 0 15,13 14 1,1-27-16,-28-27 31,-12-65-15,13 65-16,0-12 0,-1-67 16,1 79-16,13 1 15,0 13-15,0-1 0,13-25 16,1 25-16,12 1 15,0 26 1,1 14 0,-27-14-16,13 14 15,-13-1-15,0-13 0,0 1 0,-13-1 16,13 13-16,-13-13 0,13 1 0,-14-1 16,14 13-16,-13-12 0,-13 12 15,26-13 1,-13 1-1</inkml:trace>
  <inkml:trace contextRef="#ctx0" brushRef="#br0" timeOffset="174941.19">900 10980 0,'-27'0'0,"54"-13"32,39-27-17,0-26 1,-53 40 0,0 12-16,1-12 0,-1 13 0,-13 0 0,0-14 15,0-13-15,0 27 16,0 0-16,-27-14 15,27 14 1,-13 40-16,13-1 16,0 1-1,0-1-15,0 1 0,13 12 0,-13 1 0,14-14 16,-1 67 0,0-67-16,0 41 15,0-54-15,-13 13 0,27 1 16,-27-14-16,13 0 15,14-13 1,-1-26 0</inkml:trace>
  <inkml:trace contextRef="#ctx0" brushRef="#br0" timeOffset="175393.27">1495 10993 0,'0'14'16,"-27"-54"15,27 27-31,-26-53 31,13 52-31,13 1 0,-13 0 0,13 0 0,0-14 16,0 14 0,26 26-1,-13-13 1,0 13-16,1-13 16,-1 0-16,0 14 0,0-14 0,1 0 15,12-14 1,-13 1-1,-13 0-15,0 0 0,0 0 0,0-14 16,-13 14-16,-13-67 16,12 54-16,14 13 15,-13-14-15,-13-26 32,39 80-17,0 52 1,0-39-16</inkml:trace>
  <inkml:trace contextRef="#ctx0" brushRef="#br0" timeOffset="175873.15">1217 11523 0,'-13'-14'0,"13"41"15,26 26 1,-26-40-16,14 13 0,-14 1 15,26 39 1,-26-39-16,13-14 0,0 40 16,-13-40-16,14 0 15,-14 0-15,13 14 16,-13-14-16</inkml:trace>
  <inkml:trace contextRef="#ctx0" brushRef="#br0" timeOffset="176109.84">1217 11642 0,'27'-53'0,"-14"40"16,0-1-16,0-12 0,0 13 0,1-1 16,12 14-16,14-26 15,-27 26-15,0-13 0,1 26 16</inkml:trace>
  <inkml:trace contextRef="#ctx0" brushRef="#br0" timeOffset="176283.28">1296 11761 0,'0'13'0,"14"-26"31,-1 13-31,0-13 16,40-14-1,-26 1-15,12 12 16,-12-12-16,-1 26 15</inkml:trace>
  <inkml:trace contextRef="#ctx0" brushRef="#br0" timeOffset="176712.11">1693 11430 0,'0'53'16,"14"-40"-16,52 146 15,-66-146-15,13 0 16,-13 1-16,13-14 0,-13 13 16,-26-26 15,12-14-31,-38-65 15,-1-28 1,39 54 0,14 40-16,0-1 0,0 14 0,0-13 15,0 12-15,14 1 0,-1 13 0,-13-13 16,26 13-16,-12 0 16,-14 13-16,13-13 0,13 40 15,-26-27-15,0 0 0,0 14 16,-13 26-1,0-27-15,0 27 16,-1-40-16,14 1 0,-13-1 0,0 0 16,13 0-1,0 1-15</inkml:trace>
  <inkml:trace contextRef="#ctx0" brushRef="#br0" timeOffset="177194.31">1389 12369 0,'13'40'31,"14"13"-31,-14-27 16,27 67 0,-14-53-16,1 26 15,-27-53-15,13 0 16,-13 27-1,13-27-15,-13 0 0</inkml:trace>
  <inkml:trace contextRef="#ctx0" brushRef="#br0" timeOffset="177495.03">1376 12382 0,'26'-52'47,"-12"38"-47,-1 1 0,13 0 0,-13 0 0,14-1 15,26-25 1,-40 39-16,0-13 0,1 13 0,-1 0 16,0 13-16</inkml:trace>
  <inkml:trace contextRef="#ctx0" brushRef="#br0" timeOffset="177677.48">1508 12594 0,'-13'0'16,"26"-26"0,0 26-1,1-14-15,-1-12 0,13 13 0,-12-14 16,12 14-16,14-27 15,-14 27-15,-13 0 0,1 0 0,-1-1 16,13 14-16</inkml:trace>
  <inkml:trace contextRef="#ctx0" brushRef="#br0" timeOffset="178123.23">2077 12502 0,'-13'0'16,"-14"0"-16,14-27 16,0 27-16,13-13 0,-27-27 15,27 14 1,-13-1-1,13 14-15,0 0 16,27 26 0,12 0-1,-25-13-15,12 13 0,-13-13 0,0 0 16,1 0 0,-1 0-16,0 0 0,0 0 0,-13-13 0,14 13 15,-1-26 1,-13 13-16,-13-1 0,13 1 15,-27-40-15,1 27 16,26-1-16,-14 14 0,1 0 0,0 0 16,-13-27-1,26 27-15,-14-1 16,41 14 0</inkml:trace>
  <inkml:trace contextRef="#ctx0" brushRef="#br0" timeOffset="178578.11">2355 11946 0,'0'-27'0,"13"14"16,0 13-16,0 0 0,1 13 0,-1-13 15,0 14-15,27 25 16,-27-25-16,0 12 15,1 1-15,-14-14 0,13 26 0,0-12 16,-13-1-16,13 54 16,-13-54-16,13-13 0,-13 1 15</inkml:trace>
  <inkml:trace contextRef="#ctx0" brushRef="#br0" timeOffset="178718.25">2725 12435 0,'-26'-13'32,"-1"-27"-17,14 14-15,-13 0 16</inkml:trace>
  <inkml:trace contextRef="#ctx0" brushRef="#br0" timeOffset="179071.44">1958 11112 0,'40'-26'0,"-14"26"15,-13 0-15,14 13 0,-14 0 0,0 1 16,0-1-16,1 0 15,25 80-15,-25-67 16,-14 14-16,0-14 0,0 1 0,0 13 16,0-14-16</inkml:trace>
  <inkml:trace contextRef="#ctx0" brushRef="#br0" timeOffset="179204.28">2302 11748 0,'0'0'0,"-13"-14"47</inkml:trace>
  <inkml:trace contextRef="#ctx0" brushRef="#br0" timeOffset="179590.21">1733 10372 0,'0'0'0,"13"0"0,0 13 15,40 27 1,-39-27-16,-1 0 16,27 66-16,-27-52 15,0-1-15,-13 1 0,13-1 0</inkml:trace>
  <inkml:trace contextRef="#ctx0" brushRef="#br0" timeOffset="179739.4">1998 10901 0,'-14'-13'63</inkml:trace>
  <inkml:trace contextRef="#ctx0" brushRef="#br0" timeOffset="180038.15">1508 9723 0,'13'0'0,"-26"0"0,40 0 0,-14 0 0,0 14 15,0-1-15,1 0 0,-1 14 16,0-14-16,13 79 15,-12-65-15</inkml:trace>
  <inkml:trace contextRef="#ctx0" brushRef="#br0" timeOffset="180163.97">1826 10279 0</inkml:trace>
  <inkml:trace contextRef="#ctx0" brushRef="#br0" timeOffset="188822.08">4855 4670 0,'-40'0'0,"40"-13"0,-13 13 16,26 0 15,14-14-31,158-38 16,-119 38-16,14 1 0,-1-13 16,-13 12-16,14-12 0,-14 13 0,13-14 15,-13 14-15,0-13 0,0 12 0,-13 14 16,-13-13-16,79 13 31,-106 13-31,-26 1 0,0-14 16,0 26-16</inkml:trace>
  <inkml:trace contextRef="#ctx0" brushRef="#br0" timeOffset="189010.26">5001 4882 0,'26'-14'0,"80"-25"16,-53 25-16,13-12 16,0 13-16,0-14 0,-13 14 15,132-40-15,-132 40 16,-13 0-16,13 13 0,-13-14 0,-1 14 16,1 0-16,13 0 15,-40 0-15,14 14 0</inkml:trace>
  <inkml:trace contextRef="#ctx0" brushRef="#br0" timeOffset="191247.09">22331 9803 0,'53'-27'0,"-93"41"31,14-1-15,-27 13 0,39-13-16,-12-13 0,-14 27 15,14-14 1,13 0-1,-1-13-15,28 14 16,-1-14-16,0 0 0,66 13 16,-65-13-1,12 13-15,1-13 0,26 13 16,-40 1-16,0-14 0,13 13 16,-26 0-1,0 0-15,0 0 16,-13 1-16,-26 25 15,12-25-15,-26 25 16,27-25 0,-40 25-1,52-26-15,1-13 0,-13 14 32</inkml:trace>
  <inkml:trace contextRef="#ctx0" brushRef="#br0" timeOffset="191486.4">22741 9710 0,'0'-13'0,"0"39"31,-13 54-16,-27 12 1,40-65-16,-13-1 16,-27 67-1,40-67-15,-13-12 16,0 12-16,-14 14 16</inkml:trace>
  <inkml:trace contextRef="#ctx0" brushRef="#br0" timeOffset="191650.98">22490 9948 0,'-27'-13'0,"54"13"31,-14 0-31,13 0 0</inkml:trace>
  <inkml:trace contextRef="#ctx0" brushRef="#br0" timeOffset="191777.57">22860 9975 0,'26'13'0</inkml:trace>
  <inkml:trace contextRef="#ctx0" brushRef="#br0" timeOffset="192466.2">21577 10014 0,'-40'80'16,"27"-54"-16,0 1 0,-40 65 15,-27 14 1,67-93-1,0 1-15,0-1 0,-1 0 0,-12 0 16,13-13-16,-1-13 16,1 0-1,13 0-15,0-14 16,13 14-16,1 13 16,-14-13-16,53 26 31,-40-13-31,0 0 0,0 13 0,1-13 15,38 13 1,-38 1-16,12-14 0,-13 13 0,27 0 16,-27-13-1,1 13-15</inkml:trace>
  <inkml:trace contextRef="#ctx0" brushRef="#br0" timeOffset="192950.07">21233 11192 0,'13'26'16,"-13"1"0,13 12-1,-13-25-15,13 12 0,-13 1 0,0-14 0,14 13 16,-14 27-1,0-26-15,13-14 0,-13 0 0,0 0 16,0 14 0,0-14-16</inkml:trace>
  <inkml:trace contextRef="#ctx0" brushRef="#br0" timeOffset="193155.09">21418 11404 0,'0'-14'16,"13"14"0,0-13-16,1 13 0,-1 0 0,0-13 15,0 13-15,1-13 16,-1 13-16,0 0 0,0-14 15</inkml:trace>
  <inkml:trace contextRef="#ctx0" brushRef="#br0" timeOffset="193526.07">22079 11046 0,'0'14'0,"-13"-1"0,-13 53 31,13-40-31,-27 27 0,27-13 16,-14-14-16,1 1 0,13-14 0,-27 27 15,27-27 1,-1-13-16,14 13 0,-13-13 0,0 0 16,13-13-1,-13 13-15,13-13 0,0 0 16,0-1-1,13 14-15,0 0 0,0 0 16,14 0-16,-14 0 16,27 14-16,-27-14 15,0 0-15,0 13 16,1-13-16,25 13 16,-25-13-16,-1 0 0,13 0 15,-13 0-15,14 0 16</inkml:trace>
  <inkml:trace contextRef="#ctx0" brushRef="#br0" timeOffset="194232.01">21616 10014 0,'53'0'0,"-39"0"16,12 0 0</inkml:trace>
  <inkml:trace contextRef="#ctx0" brushRef="#br0" timeOffset="194410.06">21736 10226 0,'-14'13'15,"41"-13"1,-14 0-16,0 0 0,0 0 15</inkml:trace>
  <inkml:trace contextRef="#ctx0" brushRef="#br0" timeOffset="194907.16">22675 11390 0,'13'-13'32,"0"13"-32,0 0 15,1-13 1,-1 26-1,0-13-15</inkml:trace>
  <inkml:trace contextRef="#ctx0" brushRef="#br0" timeOffset="195061.89">22701 11509 0,'0'14'15,"13"-14"1,40-27-1,-39 27 1,12-13-16</inkml:trace>
  <inkml:trace contextRef="#ctx0" brushRef="#br0" timeOffset="195361.71">23098 10954 0,'-13'39'15,"26"1"1,-13-13-1,0-1-15,0 0 16,13-12-16,-13 25 16,0-25-16,14 12 15,-14-13 1,13 1 0</inkml:trace>
  <inkml:trace contextRef="#ctx0" brushRef="#br0" timeOffset="195794.04">23349 11099 0,'40'-26'0,"-27"26"15,1-13-15,25-1 0,-25 14 16,-1-13-16,13 13 15</inkml:trace>
  <inkml:trace contextRef="#ctx0" brushRef="#br0" timeOffset="196256.28">23984 10808 0,'-52'27'0,"38"-27"15,-52 26-15,40-13 16,12 1-16,-38 12 16,52-13-1,13 1-15,13-14 16,-13 13-16,1-13 16,-1 0-16,13 13 15,-12-13-15,25 13 0,-12 0 31,-40 14-15,13-14-16,-14 0 0,-52 53 16,26-52-1,40-1-15,-13-13 16,0 13-16,0-13 16</inkml:trace>
  <inkml:trace contextRef="#ctx0" brushRef="#br0" timeOffset="196473.17">24223 10716 0,'-14'13'0,"14"0"15,-13 0 1,0 14-16,0-1 0,13 1 0,-14-14 15,14 0-15,-13 14 0,13-1 16,0 1-16,-13-14 16,13 0-16,0 0 0,0 0 0,0 1 0,-13-1 15</inkml:trace>
  <inkml:trace contextRef="#ctx0" brushRef="#br0" timeOffset="196625.94">24037 10888 0,'-26'-14'16</inkml:trace>
  <inkml:trace contextRef="#ctx0" brushRef="#br0" timeOffset="196754.24">24302 10914 0,'26'0'0,"-26"13"16</inkml:trace>
  <inkml:trace contextRef="#ctx0" brushRef="#br0" timeOffset="197190.57">22873 12237 0,'80'-26'0,"-67"12"0,0 14 16,14 0 0</inkml:trace>
  <inkml:trace contextRef="#ctx0" brushRef="#br0" timeOffset="197363.08">22900 12369 0,'0'13'0,"-14"-13"32,41-13-32,26 0 15,-40 0-15,14 13 16,-14-13-16,13 13 0,27-14 16</inkml:trace>
  <inkml:trace contextRef="#ctx0" brushRef="#br0" timeOffset="197858.05">23852 11959 0,'-40'-13'0,"1"13"16,26 0-16,-1 13 16,1-13-16,0 13 0,-14-13 15,1 14-15,26-1 16,-26 0-16,26 0 0,-14-13 15,14 14-15,0-1 16,14-13-16,12-13 16,-13 13-16,0-14 0,1 14 15,-1-13-15,0 13 0,14-13 16,-14 0-16,26 13 31,-25 0-31,-14 13 0,13-13 16,-13 13-16,13 0 0,-13 1 0,0-1 15,13 0-15,-13 0 0,0 0 0,0 1 16,14 12 0,-14-13-16,13 1 15,-13-1-15,13-13 16</inkml:trace>
  <inkml:trace contextRef="#ctx0" brushRef="#br0" timeOffset="198254.31">24183 11867 0,'-106'26'15,"93"-13"-15,0 0 16,-1 1-16,14 12 31,40-13-15,-13 1-16,12-1 16,-26-13-1,1 13-15,-1 0 16,-13 1-1,0-1-15,0 0 0,0 0 0,-13-13 0,13 13 16,-14 1-16,-12 12 16,13-13-16,0 1 0,-14-1 15,14 0-15,0 0 0,-27 27 32</inkml:trace>
  <inkml:trace contextRef="#ctx0" brushRef="#br0" timeOffset="198474.25">24381 11800 0,'-13'40'31,"0"0"-31,13-27 0,0 0 15,-13 40 1,-1-40-16,14 14 0,0-14 0,-13 27 16,0-40-1,13 13-15,0 0 16,-13-13-16</inkml:trace>
  <inkml:trace contextRef="#ctx0" brushRef="#br0" timeOffset="198639.91">24262 11867 0,'-13'0'0,"26"13"47</inkml:trace>
  <inkml:trace contextRef="#ctx0" brushRef="#br0" timeOffset="198771.09">24487 11933 0,'0'13'0,"13"-13"15,1 13 17,-14 0-1</inkml:trace>
  <inkml:trace contextRef="#ctx0" brushRef="#br0" timeOffset="199826.91">23191 12740 0,'79'0'0,"-52"-14"0,145-12 31,-40-14-31,-66 27 0,0-13 0,0 12 16,0 1-16,120-53 16,-133 40-16,13-1 0,-27 1 15,14-1-15,0 1 0,-13 12 0,0-12 16,26-27-16,-27 27 16,-12-1-16,-1 1 0,54-40 15,-54 39-15,-13 14 16,1 0-16,-1-14 0,27-12 15,-27 12-15,-13 14 0,13 0 16,0-67 0,-13 67-16,0 0 15,0 0-15,-39-106 32,25 105-32,1 1 0,0 0 0,0-14 15,-67-26-15,67 27 16,-13 13-16,-1 0 0,14-1 0,-14 1 15,14 0-15,-13 13 0,-40-27 16,39 14 0,1 13-16,-1-13 0,1 13 0,-1 0 0,-26 0 15,14 0 1,-1 0-16,0 0 0,-13 0 0,-79 26 16,92-26-16,1 14 15,-1-1 1,0 0-16,-79 14 0,80-14 0,-1 0 15,0-13-15,14 13 0,-54 27 16,41-27-16,-1 0 0,0 1 16,1 12-16,-80 27 15,79-40-15,0 0 0,1 14 16,-54 13 0,53-14-16,27-13 0,0 0 0,0-13 15,-1 14-15,1-1 0,0 0 16,13 0-16,-13 1 0,-1 25 15,1-25 1,13 25-16,0-26 16,0 27-16,13-27 15,-13 14-15,14 26 16,-14-40-16,0 13 0,13 41 16,-13-54-1,0 13-15,0 1 0,0-14 0,13 13 0,-13 1 16,0-14-16,13 40 15,-13-27-15,14-12 16,-1-1-16,0 0 0,40 27 16,-40-27-16,14 0 15,-1 1-15,67-1 16,-67-13-16,1 0 0,-1 0 0,40 0 16,-39 0-1,12 0-15,-25 0 16,-1 0-16,0 0 15,0 0 1,0 0-16,1 0 16</inkml:trace>
  <inkml:trace contextRef="#ctx0" brushRef="#br0" timeOffset="200839.23">22860 12462 0,'-146'53'0,"107"-40"0,-1 0 16,14 0-16,-14 14 0,13-14 0,1 0 15,-14 14-15,27-14 0,-13-13 16,12 13-16,1 1 0,-13-1 0,13-13 16,-1 13-16,1 0 15</inkml:trace>
  <inkml:trace contextRef="#ctx0" brushRef="#br0" timeOffset="201107.03">22371 12475 0,'-53'53'0,"39"-40"0,1 14 0,13-14 0,-13 13 16,0-12-16,13 12 0,-14 27 15,14-40 1,0 0-16,14 1 0,-14-1 0,13 0 15,0-13-15,14 13 0,-1-13 16,-13 14-16,14-14 0,-1-14 16,-13 14-16,14 0 0,-1-13 0,1 13 15,-14-13-15,13 13 0,-12-13 0,-1 13 16,13-14-16</inkml:trace>
  <inkml:trace contextRef="#ctx0" brushRef="#br0" timeOffset="202523.87">20307 13361 0,'0'40'31,"13"-27"-31,-13 1 0,0-1 0,13 13 16,-13-12-16,0 12 0,13-13 0,-13 14 16,0-14-16,14 13 0,-14-12 15,0-1-15,13 13 0,-13-13 16,0 1-16,0-1 0,0 0 16,13-13-16,-13 13 0,0 1 15</inkml:trace>
  <inkml:trace contextRef="#ctx0" brushRef="#br0" timeOffset="202777.95">20466 13309 0,'0'-14'0,"13"41"47,0 26-32,0-40-15,-13 13 0,13-12 16,1 12-16,-14-13 0,26 40 16,-13-53-16,-13 13 0,14 1 15,-14-1-15,0 0 16,13 0-16</inkml:trace>
  <inkml:trace contextRef="#ctx0" brushRef="#br0" timeOffset="202990.19">20320 13679 0,'13'-27'32,"0"14"-32,1 13 0,-1-13 15,0 0-15,0 0 0,1 13 0,-1-14 16,0 1-16,14 0 0,-14 13 0,0-13 16,0-1-16</inkml:trace>
  <inkml:trace contextRef="#ctx0" brushRef="#br0" timeOffset="203312.07">20677 13414 0,'-26'27'0,"26"-14"15,-13-13-15,13 13 0,0 1 0,0-1 16,13 0-16,-13 0 0,13 0 15,0 1 1,0-14-16,27 0 16,-40-14-16,13 14 0,-13-13 15,14 0 1,-14 0-16,-14 13 0,14-13 0,0-1 16,-26 1-16,26 0 0,-13 13 15,-1 0-15,1-13 0,0 13 16,0 0-16,0 13 0,-1-13 15,14 13-15,-13-13 16,13 13-16,0 1 0</inkml:trace>
  <inkml:trace contextRef="#ctx0" brushRef="#br0" timeOffset="203683.15">21048 13600 0,'0'-14'0,"0"41"16,13-1 0,-13-13-1,0 14-15,13-14 0,-13 14 0,0-14 16,0 13-16,13-12 0,-13 12 0,14-13 15,-14 14-15,0-14 0,13 0 16,0 0-16</inkml:trace>
  <inkml:trace contextRef="#ctx0" brushRef="#br0" timeOffset="203889.48">21220 13520 0,'0'0'15,"0"-13"-15,0 39 16,13 14 0,0-13-1,0-14-15,-13 13 0,13-13 16,1 14-16,-1-14 0,0 14 0,-13-14 16,13 0-16,1 0 0,-1 1 15,-13-1-15,0 0 0</inkml:trace>
  <inkml:trace contextRef="#ctx0" brushRef="#br0" timeOffset="204074.11">21127 13785 0,'-13'-13'0,"39"-1"15,-13 14-15,1-13 0,-1 13 16,0 0-16,0-13 0,14 13 0,-14-13 16,13 13-16,-12-14 0</inkml:trace>
  <inkml:trace contextRef="#ctx0" brushRef="#br0" timeOffset="204375.25">21590 13573 0,'-40'13'0,"27"1"16,0-14-16,0 13 0,-1 0 16,1 0-16,0 0 15,13 1 1,-13-1-16,26-13 16,13 0-1,-12-13-15,-1 13 0,0 0 16,14 0-1,-14 0-15,0 0 16,0 13-16,14 0 16,-14 0-1,0-13 1</inkml:trace>
  <inkml:trace contextRef="#ctx0" brushRef="#br0" timeOffset="204626.25">21140 13084 0,'27'-14'0,"-14"14"16,0 0-16</inkml:trace>
  <inkml:trace contextRef="#ctx0" brushRef="#br0" timeOffset="204779.9">21233 13203 0,'0'13'0,"26"-26"31,14-1-15,-27 1-16,0 13 0</inkml:trace>
  <inkml:trace contextRef="#ctx0" brushRef="#br0" timeOffset="205519.06">21193 12740 0,'93'13'15,"-67"13"-15,80 67 16,-80-67-16,14 41 16,-27-41-16,1 14 0,-1-14 15,0 1-15,0-14 0,1 0 0,-1 14 16,-13-14-16,13 0 0,-13 0 0,13-13 15,-13 13-15,0 1 0,13-14 16,1 0 0,-1 0-1,0 0 1,14 13 0,-14-13-16,0 26 15,14-12-15,-1 12 0,-13 1 0,14 12 16,12 1-16,-12 0 0,-1-1 0,1 1 15,-1 0-15,1-14 0,-1 27 16,-13-27-16,14 14 0,-14-13 16,0 12-16,0-12 0,1-1 0,-1 1 0,-13-1 15,0 1-15,0-14 16,0 0-16,0 14 0,0-14 0,-13 0 16,13 0-16,-14-13 0,1 13 0,0-13 15,0 0-15,0-13 16,-1 13-16</inkml:trace>
  <inkml:trace contextRef="#ctx0" brushRef="#br0" timeOffset="213246.02">4842 4604 0,'-13'-13'0,"-1"13"32,14 13-17,0 0-15,14 13 16,-1-12-16,0-1 15,0 0-15,27 14 16,-14-27-16,-12 13 16,-1-13-16,13 13 0,1-13 0,-1 0 15,14 13-15,79 0 16,-79-13-16,-1 0 16,14 0-16,-13 0 0,-13 0 0,12 0 0,1 0 15,105 0 1,-92 0-16,-13 0 0,13 0 15,0-13-15,0 13 0,53-13 16,-67 13-16,14-13 0,0 13 16,0 0-16,0-13 0,0 13 0,39-27 15,-39 27-15,-13-13 16,92-14 0,-92 27-16,-13 0 0,-1-13 0,0 13 0,1 0 15,13-13-15,39 0 16,-53 13-16,-12 0 0,12-13 15,1 13-15,-14 0 0,13 0 0,14-14 16,-14 14 0,1-13-16,-14 13 0,14 0 0,-14 0 0,40-13 15,-27 13 1,-13 0-16,1 0 0,-1 0 16,0 0-16,27-13 15,-27 13-15,0 0 0,0 0 16,27-14-1,-27 14-15,1 0 0,-1 0 16,0 0-16,0-13 0,0 13 16,1 0-16,-1 0 0,0 0 0,0 0 15,27 0 1,-27 13 0,1-13-16,25 0 15,-26 0-15,1 14 16,-1-14-1,13 0 1,-12 0-16,-1 13 0,0-13 16,0 0-1,1 0-15,-1 0 16,0 0-16,0 0 16,0 0-16,14 0 15,-1 0 1,-12 0-16,-1 0 15,0 0-15,14 0 16,-14 0-16,0 0 16,0 0-16,0 0 15,1 0-15,-1-13 16,0 13-16,0 0 16,14-14-1,-14 1 1,0 13-16,-13-13 0,13 13 0,1 0 15,-14-13 1,13 13-16,13-27 16,-12 27-1,12-13 1,-26 0-16,13 0 31,1-1-15,-14 1-1,13 0 1,0 0 0,-13-1-1,13 1 1,-13-13 0,0 12-1,13 1 1,-13 0-16,0-13 15,0 12 1,0 1 0,0 0-16,-13 13 0,13-13 0,0-1 15,0 1-15,0 0 16,0 0-16,0 0 16,-13 13-16,13-14 0,0 1 15,-13 0-15,13-14 16,-13 14-1,13 0 1,-14 13-16,14-13 16,-13-1-16,13 1 15,-13 0 1,0 13-16,13-13 0,-14 13 0,1-13 16,0-1-16,0 1 15,-1 13 1,1 0-16,0-13 0,0 13 0,0-13 0,-14-1 15,1 14 1,12 0-16,1-13 0,0 13 16,0 0-16,0 0 0,-1-13 0,-12 13 0,-27-13 15,40 13 1,-14 0-16,14-14 0,-13 14 16,-1 0-16,14 0 0,-14 0 0,-65-13 15,39 13 1,13-13-16,14 13 0,-14 0 0,-132 0 31,132 0-31,14 0 0,-14 0 0,14 13 16,-14-13-16,-39 0 15,-14 0-15,-39 27 16,79-27-16,13 0 0,-13 13 16,-105 0-1,118 0-15,-13-13 0,13 0 0,-13 0 16,27 0-16,-14 0 0,14 0 0,-14 0 15,14 0-15,-1 0 0,1 0 16,-1 0-16,-65 0 16,78-13-16,-12 13 0,-1 0 15,1 0-15,0 0 0,12 0 0,-12 0 16,-1 0-16,-52 0 16,39 13-16,14-13 15,-14 0-15,0 0 0,14 14 0,-27-14 16,13 13-16,1-13 0,-1 13 0,14 0 0,-14-13 15,0 14-15,14-1 16,-14-13-16,14 13 0,-54 13 16,54-26-16,-40 27 15,39-27-15,1 0 16,12 0-16,-12 13 0,0-13 0,-1 0 16,1 13-16,12-13 0,-12 0 0,-1 0 15,1 14-15,0-14 0,-1 0 16,1 0-16,-1 13 0,14-13 0,-13 0 15,-1 13-15,1-13 0,-1 0 16,14 0-16,-14 13 0,14-13 0,-13 0 16,-1 0-16,14 14 0,-13-14 15,12 0-15,1 0 0,0 0 0,-14 0 16,-12 13 0,26-13-16,-1 13 0,1-13 0,0 0 15,0 13-15,-1-13 0,1 0 16,13 13-16,-26 1 0,13-14 15,-1 13-15,1-13 0,0 13 16,0-13 0,13 13-16,-27 1 15,14-1-15,13 0 0,-13 0 32,-1 0-32,14 1 0,-13 12 15,13-13 1,-13-13-16,13 14 0,0-1 15,0 0-15,0 0 0,-13 1 0,13-1 16,0 0-16,0 0 0,0 0 0,13 1 16,-13-1-16,0 0 0,13 0 15,-13 1-15,13-1 0,-13 0 0,14 0 16,12 27 0,-13-27-16,1-13 0,25 40 15,-12-27 1,-14 0-16,0-13 0,0 0 0,1 14 15,-1-14-15,27 13 16,-27-13-16,13 13 16,-13-13-16,54 0 15,-54 13-15,27-13 16,39 13-16,-26-13 16,-13 0-16,-14 0 0,14 0 0,-14 0 15,27 0-15,-13 0 0,13 0 16,0 0-16,-1 0 0,1 0 0,0 0 15,0 0-15,0 0 0,0 14 16,0-14-16,-13 0 0,66 0 16,-67 0-16,-12 13 15,-1-13-15,-13 0 0,14 0 16,52 13 0,-52-13-16,-1 13 0,-13-13 15</inkml:trace>
  <inkml:trace contextRef="#ctx0" brushRef="#br0" timeOffset="-208953.1">11827 4710 0,'397'-40'0,"-318"40"0,0 0 16,14-13-16,0 13 0,264-14 31,-185 14-31,-40 0 0,-79 0 16,0 0-16,-13 0 0,-1 0 15,-12 0-15,-1 0 0,-12 0 0,-1 0 16,13 0-16,-13 0 0</inkml:trace>
  <inkml:trace contextRef="#ctx0" brushRef="#br0" timeOffset="-208738.76">13031 4868 0,'26'14'16,"-13"-14"-16,54 13 15,-41 0 1,14-13-16,-14 0 0,1 13 0,-14-13 16,13 0-16,-12 13 0,12-13 0,-13 0 15,0 0-15</inkml:trace>
  <inkml:trace contextRef="#ctx0" brushRef="#br0" timeOffset="-208027.08">15055 4749 0,'26'-13'0,"40"13"15,40-13 1,-26 0-16,158-14 16,-146 14-16,1 13 0,92-27 15,-105 27-15,171-26 16,-172 13-16,-26 13 0,0-13 15,-13 13-15,-1 0 0,-12 0 0,-1 0 16,-12-14-16,-1 14 0,0 0 0,0 0 16,1 0-16,-1 0 0,0 14 15,0-14-15,0 0 16</inkml:trace>
  <inkml:trace contextRef="#ctx0" brushRef="#br0" timeOffset="-206356.04">17119 4736 0,'52'0'16,"-38"0"-16,12 0 16,14 0-16,92 0 15,-79 0-15,0 0 0,92 0 16,-65 0-16,-14 0 0,13 0 16,1-13-16,12 13 0,146-13 15,-158 13-15,-1 0 16,-13-14-16,14 14 0,-1 0 15,-13-13-15,14 13 0,-14-13 0,0 13 16,106-13-16,-119 13 16,92-14-1,-105 14-15,0-13 0,-14 13 0,1 0 16,-1-13-16,1 13 0,-1 0 0,-13-13 16,14 13-16,26-13 15,-27-1-15,-13 14 0,1-13 16,12 13-16,14-26 15,-14 26-15,-13 0 0,27-27 32,-27 14-32,27 0 15,-27 13-15,0-14 0,14-12 16,-14 26-16,0-13 16,1 13-16,-14-13 0,13 13 0,13-14 15,-26 1-15,13 13 16,1 0-16,-14-13 0,13 13 0,0-13 15,-13-1 1,0 1 0,0-13-16,0 12 15,-13 1-15,13-13 0,-13 26 16,-1-13-16,1-14 16,0 14-16,0 0 0,0-1 0,-14 1 15,14 13-15,-40-26 16,27 13-16,-14-1 0,0 1 15,14 0-15,-14 13 0,14-13 0,-1 13 16,1-14-16,-14 1 0,13 13 0,1-13 16,-14 13-16,14-13 0,-14-1 0,14 14 15,-1 0-15,-12-13 0,-1 13 16,-53-26 0,67 26-16,-1-13 0,-12-1 0,-80-12 31,92 26-31,-13-13 0,1 13 0,-1-14 15,0 14-15,1-13 0,-1 13 0,0-13 16,1 13-16,-1-13 0,0 13 16,14-14-16,-1 14 0,-12 0 0,-54-13 15,40 0 1,13 13-16,14 0 0,0 0 16,-14 0-16,-53 0 15,54 0-15,-94 0 16,107 0-16,-14 0 15,14 0-15,-1 0 0,1 13 0,-1-13 16,1 0-16,-1 0 0,14 0 0,-13 0 16,12 0-16,-12 0 0,13 0 15,0 0-15,-14 0 0,14 0 0,-53 13 16,52-13-16,-12 0 16,0 14-16,12-14 0,-52 13 15,40-13-15,13 13 16,-14-13-16,1 0 0,12 13 0,-12-13 15,-1 0-15,1 14 0,0-14 16,-1 13-16,14-13 0,-14 0 0,1 13 16,-40 0-1,53-13-15,-14 14 0,-13-1 16,27-13-16,0 0 0,-13 13 16,12-13-16,1 13 0,0-13 15,0 0-15,13 13 0,-14-13 16,1 0-16,13 14 0,-13-14 15,0 13-15,-1-13 0,1 26 16,0-12 0,0-1-16,-14 13 15,27-12-15,-26 12 16,13-26-16,13 13 0,-14 14 16,1-14-16,0 0 15,13 0-15,0 1 0,-13 12 0,13-13 0,-14 40 31,14-26-31,0-14 0,0 13 0,0-12 16,0 12-16,0 0 0,14 1 0,-1-14 16,0 14-16,0-1 0,1-13 0,12 14 15,67 12 1,-54-25-16,67-14 0,-53 0 16,26 0-16,1-14 0,-14 14 0,80-26 15</inkml:trace>
  <inkml:trace contextRef="#ctx0" brushRef="#br0" timeOffset="-189834.68">19024 8572 0,'13'0'15,"0"14"-15,27-14 16,-27 0-16,13-14 0,-12 14 16,39-13-1,13-13-15,-40 13 0,1-1 0,-1 1 16,-13 0-16,1 0 0,12-14 16,-13 14-16,-13 0 15,13 0-15,-13-1 16,-13 28 15,0 52-31,0-40 16,13 1-16,-13 12 0,13-12 15,0-1-15,-14 1 0,14-1 0,0 14 0,0-14 16,-13 40 0,13-39-16,0 52 15,0-66 1,13-13-1</inkml:trace>
  <inkml:trace contextRef="#ctx0" brushRef="#br0" timeOffset="-189436.68">19645 8625 0,'-26'40'15,"13"-27"1,13 1-16,0-1 0,-14 0 0,14 0 0,-13 27 16,13-27-1,0 0-15,0 1 0,0-1 16,0 0-16,0 0 16,-13-52 15,13 25-31,0 1 0,0-93 15,0 67-15,13-1 0,14-39 16,-14 39 0,0 13-16,66-25 15,-65 52-15,-1 13 0,13 0 16,-12-13-16,-1 40 16,-13-27-16,-13 0 15,-1 0-15,1 1 0,0-1 16,-93 53-1,93-66-15,-14 13 0,1-13 16,13 0-16,-27 0 16</inkml:trace>
  <inkml:trace contextRef="#ctx0" brushRef="#br0" timeOffset="-170469.63">21405 622 0,'39'92'0,"-25"-52"0,-1 13 0,0 0 0,0 13 15,1 0-15,-1-13 0,13 93 16,-12-80-16,-1 0 0,13 199 31,-26-199-31,13-13 0,-13-1 0,0 1 16,0-13-16,0 0 16,0 79-1,0-106-15,0 0 0,0 1 0</inkml:trace>
  <inkml:trace contextRef="#ctx0" brushRef="#br0" timeOffset="-169568.73">21458 714 0,'53'-13'16,"-27"13"-1,120-13 1,-67 13-16,-13-13 0,185-27 15,-158 27-15,0 0 16,237-27 0,-250 27-16,-1 13 0,-13-14 0,106 1 15,-119 13-15,-26-13 16,65 13 15,-26 0-15,-52 13-16,12 27 15,-13-27 1,14 159 0,-27-132-16,13 13 0,-13-14 15,13 1-15,-13 13 0,40 119 16,-40-119-16,13 0 16,0-14-16,1 14 0,-1 0 15,27 172 1,-27-185-16,0 0 0,-13-14 15,26 67 1,-26-67-16,0-13 0,14 40 16,-14-40-1,0 14-15,-14-27 16,14 13-16,-13 0 16,-13-13-16,13 0 15,-1 0-15,-12 0 0,-1 0 0,-92 0 16,66 0-1,-13 0-15,0 14 0,-13-14 0,-186 13 16,173 0-16,12-13 16,-198 40-1,-145-1 1,357-25-16,13-14 0,-26 13 16,52-13-16,14 0 15,0 0-15,-1-13 0,-52-27 31</inkml:trace>
  <inkml:trace contextRef="#ctx0" brushRef="#br0" timeOffset="-168946.79">21471 794 0,'13'-13'16,"-26"-1"-16,0 14 15,-1-13-15,1 0 0,0 13 0,-13-13 16,-107-80 0,1 0-1,92 67-15,1-14 0,12 14 0,1-1 16,-40-39 0,39 53-16,27 0 0,-13 13 0,-14-27 31,54 41-31,-1 12 15,1-13 1,-1 27-16</inkml:trace>
  <inkml:trace contextRef="#ctx0" brushRef="#br0" timeOffset="-168462.57">21550 1402 0,'119'-13'16,"53"-13"-16,-105 12 15,-1 1-15,0 0 0,172-40 16,-172 40-16,119-14 16,-145 14-16,0 13 15,-14-13-15,27 0 16,-40 13-16,27-14 31,-40 1-31,-13 0 16,13 0-16,-14 13 15,1-14-15</inkml:trace>
  <inkml:trace contextRef="#ctx0" brushRef="#br0" timeOffset="-168109.31">22265 516 0,'39'93'16,"-25"-54"-1,-1 14-15,13 13 0,-12-13 16,25 79-16,-26-65 0,1 12 15,12-13-15,-13 14 0,1-1 0,25 133 16,-26-146 0,27 79-16,-40-105 15,27 39 1,-27-65-16,13-1 0,-13 0 16,0 0-16</inkml:trace>
  <inkml:trace contextRef="#ctx0" brushRef="#br0" timeOffset="-167646.4">22662 1230 0,'119'-39'0,"-80"25"0,67 1 16,-40 0-16,93-14 15,-106 14 1,40 0-16,-67 0 0,0 13 0,54 0 31,-67 0-31</inkml:trace>
  <inkml:trace contextRef="#ctx0" brushRef="#br0" timeOffset="-162822.49">20823 1032 0,'-14'-13'15,"1"39"-15,13-13 16,0 1-16,0 38 16,0-38-1,0 12-15,0 1 0,13-14 0,-13 0 16,14 0-16,-14 1 0,26-1 16,-13 0-1,1-13-15,-1 0 0,0 0 0,0-13 16,1 13-16,-1 0 0,13-13 15,-13-1-15,1 14 0,-1-13 0,-13 0 16,13 0-16,-13-1 0,0 1 0,0 0 16,0 0-16,0-1 0,0 1 15,-13 0-15,13 0 0,-13 0 0,-1 13 16,1-14-16,0 1 0,0 0 16,0 0-16,-1 13 15,1-14-15,0 14 0,0-13 16,-1 13-16,14 13 15,-13-13-15,13 14 0,0-1 16</inkml:trace>
  <inkml:trace contextRef="#ctx0" brushRef="#br0" timeOffset="-161900.02">21048 1720 0,'-27'26'16,"27"14"-16,0-27 0,0 14 15,0-14-15,0 13 0,0 14 16,0-27-16,13 14 0,-13-14 15,14 0-15,12 14 0,-13-27 16,1 13-16,12-13 0,0 13 16,-12-13-16,-1 0 0,0-13 15,0 13-15,1 0 0,-1-13 0,0-1 16,-13 1-16,13 0 16,-13 0-16,0-1 0,0 1 15,-13-13-15,13 13 0,-13-1 16,0 1-16,-1 0 0,1 0 0,0 13 15,0-14-15,-1 1 0,1 13 16,-13-26-16,13 12 16,-1 14-16,1 0 0,13-13 15,-13 13-15,0-13 0,13 0 16</inkml:trace>
  <inkml:trace contextRef="#ctx0" brushRef="#br0" timeOffset="-160673.24">21140 1693 0,'27'93'16,"-14"-53"-16,13 92 15,-12-106-15,-14-12 0,13 25 16,0-12-16,-13-14 15,13 13-15,-13-52 32,-13 13-17,0-27-15,0 14 0,-14-54 16,14 54-16,0-14 0,-1 0 16,-12-39-1,26 66-15,-13 13 0,13-13 16,0 39-1,0-13-15,0 14 16,0-1-16,13 1 0,-13 12 0,0 1 16,13 0-16,-13-14 0,13 1 15,-13-1-15,14-13 0,-14 14 0,13-14 16,-13 0-16,0 0 0,0 1 16,13-1-16,-13 0 0,13-13 15,-13-13 1,0 0-16,0-14 15,0 1-15,0-1 0,-13-12 16,13-1-16,0 13 0,0 1 0,0 13 16,-13 0-16,13-1 0,0-12 15,13 92 17,-13-40-32,0 41 15,13-41-15,-13 1 16,0-1-16,0 0 0,0-12 0,0 12 15,0 1-15,0-14 0,0 0 16</inkml:trace>
  <inkml:trace contextRef="#ctx0" brushRef="#br0" timeOffset="-159920.85">21775 410 0,'-13'27'0,"13"-14"0,0 0 16,13 0-16,-13 0 0,13 1 15,14 12-15,-14-13 16,14 1-16,-1-14 15,-13 0-15,1 0 0,-1 0 16,0-14-16,0 14 0,0-13 16,1 0-16,-1 0 0,-13-1 15,0 1-15,-13 0 0,13 0 0,-14 0 16,14-1-16,-13-12 16,0 13-16,0 13 0,0-14 0,-1 1 15,1 0-15,0 13 0,0 0 0,-1 0 16,1-13-16,0 26 15,0-13-15,-1 0 0,1 0 0,13 13 16,-13-13-16,0 13 16</inkml:trace>
  <inkml:trace contextRef="#ctx0" brushRef="#br0" timeOffset="-159620.52">22794 93 0,'13'39'15,"0"-25"-15,-13-1 0,0 0 16,27 27-16,-27-14 0,26 40 16,-13-52-16,1-1 15,-14 0-15,13 13 0,0 1 16,-13-14-16,13 0 0,-13 1 16,14-1-1</inkml:trace>
  <inkml:trace contextRef="#ctx0" brushRef="#br0" timeOffset="-157349.81">20995 1111 0</inkml:trace>
  <inkml:trace contextRef="#ctx0" brushRef="#br0" timeOffset="-157086.58">21630 463 0</inkml:trace>
  <inkml:trace contextRef="#ctx0" brushRef="#br0" timeOffset="-153289.03">21577 1257 0</inkml:trace>
  <inkml:trace contextRef="#ctx0" brushRef="#br0" timeOffset="-148376.64">22820 1627 0,'14'13'32,"-1"-13"-32,13-13 15,-13 13-15,1 0 0,12-13 16,-13 13-16,1-13 0,25-14 15,-25 14 1,-1 0-16,0 0 0,-13-1 0,13 14 0,-13-13 16,13 0-16,-13 0 0,0-1 15,14 14 1,-28 27 15,1-14-31,13 14 0,0-14 0,0 13 16,0 1-16,0-1 0,0 14 15,0-14-15,0 1 0,0-1 16,0 1-16,0-14 0,0 13 16,0-12-16,0 12 0,0-13 0,0 1 0,13-14 15,-13 13-15,14 0 16,-1-26 0,-13 0-16</inkml:trace>
  <inkml:trace contextRef="#ctx0" brushRef="#br0" timeOffset="-147986.59">23204 1773 0,'-13'39'0,"13"-25"16,-13-41 0,13 14-1,0 0-15,-14-27 0,14 0 16,0 27-16,0-13 16,0 12-16,0 1 0,14-13 15,-14 13-15,0-1 0,13 1 0,0 13 16,-13-13-16,13 13 15,0 0-15,1 0 16,-1 13-16,-13 0 16,-13 1-1,-1-14-15,1 13 0,0 0 16,0-13-16,-14 13 0,14-13 16,0 13-16,0-13 0,-1 0 15,1 0-15,0 14 0,0-14 0</inkml:trace>
  <inkml:trace contextRef="#ctx0" brushRef="#br0" timeOffset="-146420.78">21233 1998 0,'26'66'0,"-26"-53"0,13 0 16,-13 0-16,0 1 0,14-1 0,-14 0 16,13 0-16,-13 1 0</inkml:trace>
  <inkml:trace contextRef="#ctx0" brushRef="#br0" timeOffset="-144984.62">23204 1839 0,'0'13'109,"13"-26"-15</inkml:trace>
  <inkml:trace contextRef="#ctx0" brushRef="#br0" timeOffset="-137658.75">21153 185 0,'0'-13'16,"0"0"-16,-13 13 15,0-13-15,0 13 16,-14-14 0,1 14-16,-1-13 15,14 13-15,0 13 16,-14-13-16,1 0 0,13 0 16,0 0-16,-14 14 0,14-14 15,-14 13-15,14-13 0,0 0 0,-14 13 16,14 0-16,-13-13 0,13 13 0,-14 1 15,1-14-15,12 13 16,-12 0-16,13 0 0,-14 1 0,14-1 16,-13 0-16,12 0 0,-25 14 15,25-1-15,1 1 0,-13-14 16,13 13-16,-1 1 0,-12-14 0,-1 53 16,14-39-16,0-1 0,0 14 15,-1-14-15,14 14 16,-13 26-16,0-26 0,13-1 0,0-12 15,-13 13-15,13-14 0,0 0 0,0 14 16,13 0-16,-13 0 0,0-1 16,0 1-16,0 0 0,0-1 0,13-12 15,-13-1-15,0 1 0,13 12 16,-13-12-16,14 39 0,-14-40 16,13 1-16,0 13 0,0-14 15,14 40-15,-27-26 0,13-14 16,0 1-16,1 12 0,12-12 15,-13-1-15,14 27 16,-1 0-16,-13-40 0,1 1 0,-1 12 16,0-13-16,0 1 0,1 12 15,-14-13-15,13 1 0,0-1 16,0 0-16,0-13 0,-13 13 0,14 0 16,-1 1-16,0-1 0,0-13 15,1 13-15,12-13 0,-13 13 0,0 1 16,14-1-16,-14 0 0,0-13 15,1 13-15,12-13 0,-13 13 16,1 1-16,12-14 0,-13 13 0,0-13 16,14 13-16,-1-13 0,1 13 15,-14-13-15,14 14 0,-1-14 0,0 13 16,27 0-16,-26-13 0,12 13 16,28-13-16,-28 14 15,-12-14-15,12 0 0,1 13 0,-13-13 16,12 0-16,-12 0 0,26 13 15,-14-13-15,-12 0 0,13 0 16,-14 0-16,14 13 0,-14-13 0,1 0 16,12 0-16,-12 0 0,12 0 0,-12 0 15,-1 0-15,14 0 0,-14 0 16,14 0-16,0 0 0,0-13 0,12 13 16,-12 0-16,0 0 0,0 0 0,-14-13 15,14 13-15,-14 0 0,1 0 16,12 0-16,-12-13 0,12 13 0,-12 0 15,-1 0-15,14 0 0,-14-14 16,27 14-16,-13 0 0,-13-13 16,-1 13-16,14 0 0,-14 0 0,1-13 15,12 13-15,-12 0 0,-1 0 16,14-13-16,-14 13 0,1 0 16,-1-14-16,1 14 0,-1 0 0,1-13 15,-1 13-15,1-13 0,-1 13 16,0 0-16,1-13 0,-1 13 0,1-14 15,-1 14-15,1-13 0,-1 13 0,1 0 16,-14-13-16,13 0 0,1 13 0,-1-13 16,-12 13-16,12-14 0,-13 1 15,14 13-15,-14-13 0,13 0 0,-12-1 16,12 14-16,-13-13 0,0 0 0,14 0 16,-14 0-16,0-1 0,14-12 15,-14 13-15,0-1 0,1 1 16,-1-13-16,0 12 0,0-12 0,0 13 15,1-14-15,-1 1 0,0-1 0,0 14 16,-13-13-16,14-14 0,-1 14 16,-13-14-16,13 13 0,-13 1 0,13 0 15,1-1-15,-14 1 0,0-1 16,0 1-16,13-1 0,-13 1 0,0-1 16,0 1-16,0-27 0,0 13 15,0 14-15,-13-1 0,13-12 0,0-1 16,-14 13-16,14-12 15,0 12-15,-13-26 0,13 27 0,-13-1 16,13 1-16,0 13 0,-13-14 16,13 14-16,0-13 0,-14 12 15,14 1-15,-13 0 0,13 0 0,-13 0 16,13-1-16,-13 1 0,13 0 0,-14 0 16,14-1-16,-13 1 0,0 0 15,13 0-15,-13-1 0,0 14 0,13-13 16,-14 0-16,1 0 0,0 0 15,0-1-15,-1 1 0,1 0 0,0 13 16,13-13-16,-13-1 0,-1 1 16,1 13-16,0-13 0,0 0 0,0-1 15,-1 1-15,14 0 0,-13 13 16,-13-26-16,12 12 16,1 1-16,0 0 0,0 0 15,0-1-15,-1 1 0,1 13 0,0-13 16,0 0-16,-1 0 0,1-1 15,0 1-15,-14 0 0,14 0 0,0-1 16,0 14-16,0-13 0,-1 0 16,-12 13-16,13-13 0,-1-1 0,1 1 15,0 13-15,0-13 0,-1 13 16,14-13-16,-13 0 0,0 13 0,0-14 16,0 14-16,-1-13 15,1 13-15,13-13 0,-13 13 0,0 0 16,-1-13-16,1 13 0,0 0 0,0 0 15,0-14-15,-1 14 0,1 0 16,0 0-16,0 0 0,-1-13 16,1 13-16,0 0 0,0 0 15,-1 0-15,1 0 0,0 0 0,0 0 16,0-13-16,-1 13 16,1 0-16,0 0 0,0 0 15,-1 0-15,1 0 0,0 0 0,-14 0 16,14 0-1,0 0-15,0 0 0,0 0 0,-1 0 16,1 0-16,0 0 0,0 0 16,-1 0-16,1 0 15,0 0-15,-14 13 0,14-13 0,-13 0 16,13 0-16,-1 0 0,1 0 16,0 0-16,-14 13 0,14-13 15,0 0-15,0 0 0,-1 0 0,1 0 16,0 0-16,-13 0 0,12 0 15,1 0-15,0 0 0,-14 0 0,14 0 16,0 0-16,-13 0 0,12 0 16,1 0-16,-13 0 0,12 0 0,1 0 0,-13 0 15,12 0-15,1 0 0,-13 0 16,13 0-16,-14 0 0,14 14 16,-14-14-16,1 0 0,-1 0 0,1 0 15,-27 13-15,27-13 0,-1 0 16,1 13-16,-1-13 0,14 0 15,-13 0-15,12 0 0,1 13 0,0-13 16,0 0-16,-1 0 0,1 0 0,0 0 16,0 0-16,0 0 15,-1 14-15,1-14 16,0 0-16,0 0 16,-1 0-16,-12 0 15,13 0-15,-1 0 16,1 0-16,0 0 0,-13 0 15,12 0-15,-12 0 0,13 0 0,-1 0 16,-12 0-16,13 0 0,-1 0 16,-25 0-16,26 0 0,-1 0 15,14 13-15,-13-13 0,0 0 16,0 0-16,-1 0 16,1 0-16,0 0 15,0 0 1,-1 0-1,1 0-15,0 0 16,0 0-16,0 13 16,-14-13-1,14 0-15,0 0 0,-1 0 16,1 0-16,0 13 0,0-13 16,0 0-16,-1 0 15,1 0-15,0 0 0,0 0 16,13 13-1,-14-13-15,1 0 16,0 0-16,0 0 31</inkml:trace>
  <inkml:trace contextRef="#ctx0" brushRef="#br0" timeOffset="-132484.77">20029 1244 0,'-13'-14'15,"13"1"-15,0 40 31,0 12-15,0-26-16,0 1 0,0-1 0,0 0 16,0 14-16,0-14 0,0 13 15,-14 1-15,14-14 0,0 0 16,0 14-16,0-14 0,0 13 16,0-12-16,0 12 0,0-13 15,0 14-15,0-14 0</inkml:trace>
  <inkml:trace contextRef="#ctx0" brushRef="#br0" timeOffset="-132156.49">20082 1905 0,'-27'26'0,"14"1"16,13-14-16,0 0 16,0 1-16,13-14 0,-13 13 0,27 0 15,-1-13 1,-12 0-16,25-13 16,-26 13-16,1-13 15,-14-1 1,0 1-16,-14 0 15,-25 0-15,26 13 16,-1-14-16,-12 14 0,13 0 16,-14 0-16,14 14 0,-14-14 15,14 0-15,0 0 0,0 0 0</inkml:trace>
  <inkml:trace contextRef="#ctx0" brushRef="#br0" timeOffset="-131504.52">21603 66 0,'0'53'31,"0"-40"-31,0 1 0,0-1 16,0 0-16,13 13 0,-13-12 16,0-1-16</inkml:trace>
  <inkml:trace contextRef="#ctx0" brushRef="#br0" timeOffset="-131166.29">22132 119 0,'-13'40'0,"26"-14"16,1-26-16,-14 13 0,13-13 15,0 14-15,0-14 0,1 0 0,-1 0 16,0 0-16,0 0 0,-13-14 16,13 14-16,1-13 0,-14 0 0,13 13 15,-13-13-15,0 0 0,-13-1 0,13 1 16,-14 0-16,14 0 15,-13-1-15,0 1 0,0 0 0,0 13 16,13-13-16,-27 13 0,14 13 0,-14-13 16,14 13-16,0-13 15,-14 13-15</inkml:trace>
  <inkml:trace contextRef="#ctx0" brushRef="#br0" timeOffset="-130041.71">21153 2183 0,'-13'-13'0</inkml:trace>
  <inkml:trace contextRef="#ctx0" brushRef="#br0" timeOffset="-107027.52">20611 5437 0,'-13'13'31,"26"-39"-31,27-133 32,-1 40-32,-25 53 15,-1 0-15,0 0 0,14-14 0,-14-12 0,-13 12 16,13 1-16,13-106 16,-12 105-16,-1 14 0,0 0 0,0 13 15,-13 14-15,27-67 16,-27 92-16,0-12 15,13 13-15,-13 0 0,0-1 16,0-12 0,0 13-16</inkml:trace>
  <inkml:trace contextRef="#ctx0" brushRef="#br0" timeOffset="-106702.78">20598 4233 0,'13'-79'15,"0"53"-15,27-54 16,-27 54-16,14-1 16,-14 14-16,0 0 15,0 13-15,1-13 0,-1 26 0,13-13 16,14 39-16,-14-12 16,-12-1-16,91 186 15,-91-172 1,-1-14-16,0 1 0,0-1 15</inkml:trace>
</inkml:ink>
</file>

<file path=ppt/ink/ink19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35:04.386"/>
    </inkml:context>
    <inkml:brush xml:id="br0">
      <inkml:brushProperty name="width" value="0.05292" units="cm"/>
      <inkml:brushProperty name="height" value="0.05292" units="cm"/>
      <inkml:brushProperty name="color" value="#0070C0"/>
    </inkml:brush>
  </inkml:definitions>
  <inkml:trace contextRef="#ctx0" brushRef="#br0">3651 4829 0,'13'-27'0,"1"27"15,-14-13-15,13 0 16,-13-1-1,0 1-15,-13 0 16,-1 13 0,1 0-16,0 0 0,0 0 15,-14 0-15,-39 26 16,40-26-16,-14 14 16,0 12-16,27-26 0,-13 40 15,12-27-15,14 0 16,14 40-1,12-26-15,-13-1 0,1 1 16,12 12-16,67 147 31,-80-160-31,-13 0 0,0 54 16,-13-40-16,-27 39 16,27-53-16,-1-12 15,1-1-15,0 0 0,0 0 0,-53-13 31,52 0-31,1 0 16,13-13 0,40 39-1,13 41 1,13 78-16,0 14 16,-53-119-16,53 118 31,-26-118-16,-13-27-15,-14-13 0,0 0 0,0 0 16,1 0-16,-1 0 16,0 0-16,13-13 0</inkml:trace>
  <inkml:trace contextRef="#ctx0" brushRef="#br0" timeOffset="1090.45">3770 6628 0,'-13'-27'16,"0"14"-16,0 13 31,-1 13-16,1 1 1,-13 12-16,12 27 16,1-40-16,13 14 0,-26 26 15,26-40 1,0 40 0,-13-40-16,13 0 0,0 0 15,13-13-15,-13 14 16,13-1-1,0-13-15,0 13 16,-13 0-16,14 1 0,-1 12 0,0 0 16,14 80-1,-14-66-15,0 0 0,-13-14 16,40 67 0,-40-80-16,13 0 15,13 14 1,-12-27-16,12 13 0</inkml:trace>
  <inkml:trace contextRef="#ctx0" brushRef="#br0" timeOffset="1794.34">3876 7990 0,'-26'0'0,"26"14"16,-14 12-1,14 27-15,-13-27 0,13-12 16,0 12-16,0 1 0,-13 52 16,0-39-1,13-14-15,0-13 0,0 1 16,0-1-16,-13 13 16,26-26-1,-13 14-15,13-1 0,0 0 16,-13 13-16,40 27 15,-27-39-15,0-1 0,1 13 16,-1-13-16,13 14 16,-12-1-16,12 1 15,0 13-15,-12-27 0,-1 13 0,0-13 16,-13 14-16,13-14 0,-13 14 0,0-14 16</inkml:trace>
  <inkml:trace contextRef="#ctx0" brushRef="#br0" timeOffset="2591.33">4101 9499 0,'-26'-14'0,"-1"28"16,14-1-16,0-13 16,-1 13-16,1 0 0,-26 27 15,25-27 1,1 0-16,13 1 16,0 12-1,13 14 1,1-27-16,-14 13 0,13-12 0,0 25 15,0 1-15,0-14 0,1 41 16,-1-41-16,-13 14 0,13-14 16,-13 1-1,0-1-15,13 27 0,-13-26 0,14-1 16,-14 0-16,0-12 0,0 12 0,13 1 16,-13-14-16,0 13 0,0-12 15,13 52-15,0-53 16,-13 13-16,14-12 0,-14-1 15,13-13-15,-13 13 0,13 0 16,13 1-16,-12-14 16,-1 13-16,0-13 0,14 0 15,-1 0 1,0-13-16,1 13 16,-14 0-1,0 0-15,1 0 16,-1 0-1</inkml:trace>
  <inkml:trace contextRef="#ctx0" brushRef="#br0" timeOffset="8330.35">10451 6112 0,'-13'0'0,"39"0"31,27 13-15,27-13-1,-54 13-15,80-13 16,-66 0-16,12 0 16,1-13-16,0 13 0,0 0 15,79-26-15,-79 26 16,-13-14-16,13 1 0,66-13 16,-26-1-1,-67 14-15,1 0 0,-1 0 16,-13 13-16,14-14 0,-1 1 0,1-13 15,-1 12-15,-13 14 16,1-13-16,39-40 16,-40 40-16,13-13 15,-26 12-15,13 1 0,1 0 16,-1-14-16,-13 14 16,13-13-16,-13 13 0,13-14 15,1 14-15,-14-14 16,0 14-16,0 0 15,0-14-15,-14 14 16,14 0-16,-13 13 16,13-13-16,-13 0 0,0 13 0,13-14 15,-14 14-15,-12-13 16,13 0-16,-27 13 16,27-13-1,-14 13-15,14 0 0,0 0 0,0 0 0,-53 0 31,52 0-31,-25 0 16,25 0-16,1 0 16,-27 13-1,14-13-15,-27 0 16,40 0-16,0 13 0,-1-13 0,-12 0 16,-14 0-1,14 13-15,13-13 0,-1 0 0,-12 0 16,13 0-16,-14 14 15,1-14-15,12 0 0,-38 0 16,38 13-16,1-13 16,-13 0-16,12 0 0,1 13 0,-26-13 15,25 13-15,-39-13 16,40 13-16,0-13 16,0 0-16,-14 0 0,14 14 0,-13-14 15,12 0-15,1 13 16,0-13-16,-14 0 0,-26 13 15,40-13-15,0 0 16,-53 27 0,53-27-16,-1 13 0,-12-13 0,13 0 15,13 13-15,-53 0 16,40-13 0,-1 14-16,1-1 0,0-13 0,0 13 15,13 0-15,-27 0 16,14 1-16,0-1 15,0 0-15,-1 14 16,14-14-16,-13 27 16,13-27-16,0 0 15,0 0-15,0 0 16,0 27-16,0-27 0,13 1 16,-13-1-16,14 0 0,-1 0 0,26 27 15,-25-40 1,12 13-16,1-13 0,-14 13 15,13-13 1,1 0-16,26 0 16,-40 0-16,0 0 0,0 0 15,1-13-15,12 13 16,-13 0-16,0 0 16,1 13-1,-14 1-15,13-14 0,0 26 16</inkml:trace>
  <inkml:trace contextRef="#ctx0" brushRef="#br0" timeOffset="9454.54">15941 6032 0,'27'0'0,"-14"0"0,13 0 16,54-13-16,-41 0 0,27 0 15,80-27 1,-67 27-16,1 0 0,-1-1 15,14-12-15,198-40 0,-212 53 16,14-14-16,-27 14 0,146-40 16,-146 40-1,92-14 1,-131 27-16,-1 0 16,-26 14-16,0-1 15,-26 0-15,13 0 16,-1 0-16</inkml:trace>
  <inkml:trace contextRef="#ctx0" brushRef="#br0" timeOffset="9719.56">16497 6257 0,'-13'14'15,"79"-28"1,-40 14-16,14-13 0,132-40 16,-27 14-1,-79 25-15,14-12 0,-1-1 0,159-26 16,-172 27-16,14 13 16,-14 0-16,-13-1 0,0 1 0,-13 0 15,-14 13-15,0-13 0,27 13 31</inkml:trace>
  <inkml:trace contextRef="#ctx0" brushRef="#br0" timeOffset="22068.46">7792 6125 0,'-13'0'0,"39"0"47,14 13-47,-27-13 16,0 0-16,1 0 0,12 0 0,27 0 31,40 0-15,-41 0-16,-38-13 0,12 13 0,27 0 15,-26 0-15,39 0 32,0-13-32,-40 13 15,-12 0-15,12 0 0,-13-13 16,40 13-16,-40-14 16,14 14-16,-14 0 15,53-26 1,-39 13-16,-14 13 0,0-14 0,27 1 15,-27 0-15,13 0 16,-26 0-16,14 13 0,-1-14 16,0 1-16,14-13 15,-14 12-15,0 1 16,0-13 0,-13 13-16,14-1 0,-14 1 15,0 0 1,0 0-16,0-1 0,-14 1 0,14 0 15,-13 0-15,0-27 16,0 27-16,-1 13 0,14-13 16,-13-1-1,-53-25-15,53 25 16,-27 1-16,-13 0 16,40 13-1,-14 0-15,-39-13 16,53-1-16,-13 14 15,12 0-15,1 0 0,-26-13 16,12 13 0,14 0-16,-14 0 15,14-13-15,-40 13 16,40 0-16,0 0 0,0 0 0,-1 0 16,1 0-16,0 0 0,0 0 15,-1 0-15,1 0 0,-53 13 31,53-13-31,-14 0 0,14 0 0,0 0 16,-66 27 0,39-14-16,0 0 15,27 0-15,-66 14 32,52-14-32,14 0 0,0-13 0,-14 14 15,14-14-15,0 13 16,-1 0-16,-12 13 15,13-12-15,13-1 0,-13 0 0,-1 0 16,-25 54 0,25-41-16,1 0 0,0 41 15,0-41-15,13 0 16,0-12-16,-14 12 0,14-13 16,0 14-16,14-14 0,-14 40 15,13-40 1</inkml:trace>
  <inkml:trace contextRef="#ctx0" brushRef="#br0" timeOffset="23434.09">20161 5794 0,'80'-26'0,"-54"13"16,1-1-16,39-12 15,-27 13-15,1 0 0,-13 13 0,-1-14 16,0 1-16,41 0 16,-41 0-16,-13 13 15,1-14-15,-1 14 0,0 0 16</inkml:trace>
  <inkml:trace contextRef="#ctx0" brushRef="#br0" timeOffset="23790.14">20254 5517 0,'-40'13'0,"27"0"0,0-13 0,13 13 16,-53 67-1,53-54-15,-13 1 16,13-14-16,-14 13 0,14 27 16,0-26-16,0-14 15,0 0-15,14 14 0,-14-14 0,13 0 0,0 13 16,0-26-16,14 14 15,-14-1-15,0-13 0,53 13 16,-52-13-16,105-26 31,-93 12-31,1 14 0,-1-13 16</inkml:trace>
  <inkml:trace contextRef="#ctx0" brushRef="#br0" timeOffset="24551.14">21669 5278 0,'-79'27'16,"39"-1"-16,27-12 31,-13 25-31,26-25 16,13 12-1,0-13-15,0 0 0,1-13 16,-1 14-16,0-1 0,27 0 16,-27 0-16,0 1 15,0-1-15,1 0 16,-14 0-16,0 0 15,0 1-15,-14-14 0,14 13 0,-13 0 16,0 14-16,0-27 16,-1 13-16,1 0 15,-26 0-15,25-13 0,1 0 16,0 0-16,0-13 16,13 0-16</inkml:trace>
  <inkml:trace contextRef="#ctx0" brushRef="#br0" timeOffset="24776.38">21524 5226 0,'0'-14'16,"0"67"-16,13-40 0,-13 14 15,13 13-15,1-14 0,-1 14 16,13 52-16,-13-65 0,1-1 15,-14 1-15,26 26 16,-26-40-16,13 53 31,1-66-31</inkml:trace>
  <inkml:trace contextRef="#ctx0" brushRef="#br0" timeOffset="25010.44">21775 5305 0,'0'26'31,"0"-12"-31,0 39 16,13-1-1,-13-25-15,0-14 0,0 14 0,0 12 16,0-26-16,14 1 16,-14-1-16</inkml:trace>
  <inkml:trace contextRef="#ctx0" brushRef="#br0" timeOffset="25310.13">21908 5371 0,'0'-13'0,"-14"39"16,28-12-16,-14-1 15,13 0-15,-13 0 0,26 0 16,-13-13-16,1 0 16,-1 0-16,0 0 15,0-13 1,-13 0-16,14 0 0,-28 0 15,14-1-15,-13 14 16,13-13-16,-13 13 0,0-13 0,-1 13 16,-12-13-16,13-1 15,0 14 1</inkml:trace>
  <inkml:trace contextRef="#ctx0" brushRef="#br0" timeOffset="25554.58">22066 5318 0,'27'27'0,"-14"-14"16,0-13 0,14 0-16,-14-13 15,0-1-15,0 1 16,-13-27-1,-13 27 1,13 0-16,0 0 0,-40-27 31,27 27-15,13 26-16,-13-13 0,0 27 16</inkml:trace>
  <inkml:trace contextRef="#ctx0" brushRef="#br0" timeOffset="26010.13">22331 5106 0,'0'-13'31,"0"40"-31,0-14 0,0 0 16,13 0 0,-13 1-16,0-1 31,13-40 0,1 14-15,-1 13 15,0 0-15,0 0-16,0 0 15,1 0 1,-1-13-1,0 0 1,0-1 0,-13 1-16</inkml:trace>
  <inkml:trace contextRef="#ctx0" brushRef="#br0" timeOffset="26178.6">22542 5001 0,'14'-14'0,"-1"54"31,-13-27-15,0 1-16,13-1 15,-13 0-15,0 0 16,0 0 0,0 1-16</inkml:trace>
  <inkml:trace contextRef="#ctx0" brushRef="#br0" timeOffset="26298.34">22490 4895 0,'-14'0'0</inkml:trace>
  <inkml:trace contextRef="#ctx0" brushRef="#br0" timeOffset="26518.57">22542 4683 0,'14'13'16,"-1"27"-1,0 0 1,0-14-16,-13 1 0,14-14 0,-1 13 15,0 54-15,-13-67 16,0 13-16,13 14 16,1-27-16,-1 1 15</inkml:trace>
  <inkml:trace contextRef="#ctx0" brushRef="#br0" timeOffset="26838.38">22728 4657 0,'0'-66'0,"13"79"15,13 40 1,-26-27-16,27 40 16,-14-53-16,0 27 15,1-13-15,-14-14 0,13 0 0,13 14 16,-13-14-1,1-13 1,-1 0 0,13-13-16,-12 13 15,-1 0 1,0 13 0,-13 0-1,0 0 1,0 0-16</inkml:trace>
  <inkml:trace contextRef="#ctx0" brushRef="#br0" timeOffset="27303.1">22992 4683 0,'0'13'16,"14"14"-16,-1-14 0,-13 0 15,39 14 17,-25-27-32,-1-14 15,-13 1 17,0 0-17,13 13 16,0 0-15,14 0 0,-14 0-16,-13-13 0,13 13 15,1 0-15,-1 0 0,0 0 16,0 13-16,-13 0 16</inkml:trace>
  <inkml:trace contextRef="#ctx0" brushRef="#br0" timeOffset="27547.41">22093 5728 0,'158'-106'16,"-91"80"-16,144-80 15,-118 53-15,-27 27 0,146-80 16,-67 27 0,-105 65-16,0 1 15,-27 13-15,0-13 0,-39 53 32,-1-27-32</inkml:trace>
  <inkml:trace contextRef="#ctx0" brushRef="#br0" timeOffset="27774.59">22291 5755 0,'40'-27'0,"-27"14"16,-66 53-16,133-93 0,-41 26 0,1 14 16,92-66-16,-79 65 15,40-38-15,-67 38 0,14 1 16,-14-13-16,14 26 0,-27-14 0,0 1 15,40 0 1,-39 0-16,-1 13 16,0-13-16</inkml:trace>
  <inkml:trace contextRef="#ctx0" brushRef="#br0" timeOffset="31904.61">7818 7686 0,'14'0'16,"-1"-13"-16,27 13 15,-27 0 1,13 13-16,-12-13 0,12 0 0,0 0 0,14 0 16,-13 0-1,-1 0-15,0 0 0,14 0 0,-13-13 0,-1 13 16,67-13-1,-67 13-15,1 0 0,65-27 16,-79 27-16,14-13 16,-1 0-16,-12 13 0,12-13 0,-13 13 15,0-14-15,40-12 16,-39 26-16,-1-13 16,0-1-16,0 1 15,1 0-15,-14 0 0,13-1 16,-13 1-1,0 0-15,0 0 0,0-14 16,0 1 0,-13 13-16,13-1 15,0 1-15,-14 13 0,1-13 16,13 0 0,-13 13-16,13-14 0,-13 14 0,13-13 0,-14 13 15,14-13-15,-13 0 16,0 13-16,13-13 0,-13 13 0,13-14 15,-27 1 1,14 13-16,0-13 0,0 0 16,-1 13-16,1-14 15,0 14-15,0-13 16,-1 13-16,1 0 16,0-13-16,-13 0 15,12 13-15,1 0 16,-13-13-16,12 13 15,-12 0 1,13 0-16,-1-14 16,-12 14-16,13 0 15,-27 0 1,27 0-16,-14 0 16,14 0-16,0-13 15,-14 13 1,14 0-16,0 0 0,0 0 0,0 0 15,-1 0-15,-12 13 16,13-13-16,-1 0 16,1 0-16,0 0 0,0 0 15,-14 0 1,27 14-16,-13-14 0,0 0 0,-14 13 16,14-13-16,0 0 0,0 13 15,-14 0 1,14 0-16,0 1 15,0-1-15,-1 0 16,14 0-16,-13 1 16,13-1-16,0 0 0,-13 0 0,13 0 15,0 27-15,0-27 16,0 1-16,0 12 0,13 27 16,-13-40-16,13 14 15,-13-14-15,14 13 0,-1-12 0,0-1 16,53 27-1,-53-27-15,14 0 0,-1 0 0,-12-13 16,12 13-16,-13-13 0,27 0 16,-14 0-16,-12 0 15,12 0-15,-13 0 0,0 14 0,27-28 16</inkml:trace>
  <inkml:trace contextRef="#ctx0" brushRef="#br0" timeOffset="34223.33">15055 7369 0,'92'0'15,"-65"0"-15,105 0 16,-79 0-16,13 0 15,-13 0-15,13 0 0,159 0 16,0 0 0,-146 0-16,173 13 15,-173-13-15,1 0 16,-1 0-16,0 13 0,146-13 16,-145 0-16,-14 13 15,0-13-15,-13 0 0,13 0 0,-13-13 16,13 13-16,-13 0 0,106-26 15,-106 26-15,-1-14 16,-12 1-16,13 0 0,79-14 16,-92 14-16,0 0 15,-14 0-15,14 13 0,13-13 16,-27 13-16,-12-14 0,12 14 0,0-13 16,1 13-16,-1-13 15,-12 13-15,12 0 0,53-27 16,-65 14-16,12 13 0,1-13 15,-1 13-15,-13-13 0,53-14 16,-39 14-16,-14 13 16,14-13-16,-14 13 0,0-13 0,27-1 15,-27 1-15,0 0 16,14 13-16,-14-13 0,0-1 0,0 1 16,27-13-16,-27 13 15,0 13-15,1-14 0,12-12 16,-13 13-1,1 13-15,-14-14 0,13 1 0,0 13 0,-13-13 16,13 13-16,0-27 16,1 14-16,-14 0 15,0-13-15,0 12 16,0 1-16,0 0 0,-14 0 16,1-40-1,0 40-15,0 13 0,0-14 0,-1 1 16,1 0-16,0 13 0,-27-27 15,27 14-15,0 0 16,-14 13-16,14-13 0,0 13 0,-40-27 16,40 27-1,-14-13-15,1 13 0,-1-13 0,1 0 0,-27-1 16,13 14-16,1-13 16,12 13-16,1-13 0,-14 13 15,-53-27-15,54 27 16,12-13-16,1 13 0,-14 0 0,14-13 15,-14 13-15,0-13 0,-13 13 16,14 0-16,12 0 0,-26-14 0,14 14 16,-14 0-16,13 0 0,-13 0 15,0 14-15,0-14 0,0 0 0,-13 13 16,0-13-16,0 13 0,13-13 16,0 0-16,-13 13 0,13-13 0,0 14 0,0-14 15,0 0-15,0 13 0,0-13 16,0 0-16,-105 13 15,118-13-15,-13 13 0,0-13 0,13 14 16,-12-14-16,-1 0 16,13 13-16,-13-13 0,0 13 0,-92 0 15,105 0-15,-106 1 16,107-1 0,-67 0-1,66-13-15,1 0 0,12 13 0,1-13 0,-14 0 16,13 14-16,1-14 0,-14 0 15,14 0-15,-14 0 0,14 0 0,-1 0 16,1 0-16,-1 0 0,1 0 16,-1 0-16,1 0 0,-1 0 15,1 0-15,13 0 0,-27-14 0,-13 14 16,40 0-16,-27 0 0,14 0 16,-1-13-16,14 13 0,-13 0 15,-1 0-15,1-13 0,-1 13 0,1 0 16,-1 0-16,1 0 0,13-13 0,-14 13 15,1 0-15,-1 0 0,-39 0 16,53 0 0,-14 0-16,14-14 0,-13 28 0,13-14 0,-14 0 15,14 0-15,-14 0 0,1 0 16,13 13-16,-14-13 0,1 13 0,13-13 16,-14 13-16,1 1 0,12-1 15,-12-13-15,13 13 0,-14 0 16,1 14-16,-1-27 0,14 13 0,-13 0 15,12 0-15,-12 14 0,13-14 0,-14 0 16,14 14-16,-13-1 0,12 1 16,1-14-16,0 13 0,13-12 0,-13 12 15,-1 1-15,1-14 0,13 13 16,-13 1-16,13-14 0,0 13 0,0-12 16,0 12-16,13-13 0,0 14 0,1-1 15,-1 1-15,13-1 0,1-13 16,13 14-16,-14-14 0,14 0 0,-1-13 15,1 13-15,-13-13 0</inkml:trace>
  <inkml:trace contextRef="#ctx0" brushRef="#br0" timeOffset="36388.31">7726 9022 0,'0'-13'16,"13"13"-16,14 0 15,-1-13 1,-13 13-16,14 0 0,-14 13 15,13-13-15,1 0 0,-1 0 0,1 0 16,12 0-16,-12 13 0,-1-13 16,1 0-16,-1 0 0,1 0 15,-1 0-15,1 0 0,-1 0 0,1-13 0,-1 13 16,0 0-16,1-13 16,-1 0-16,1 13 0,-1-14 0,1 1 15,-14 0-15,13 13 0,-12-13 0,12-1 16,-13 1-16,1 0 0,-1 0 15,0 0-15,0-14 0,0 14 16,-13 0-16,14-1 0,-14 1 0,0 0 16,0 0-16,0-1 15,0 1-15,0 0 0,0 0 16,0 0-16,0-1 0,-14 1 16,14 0-16,-13 13 0,0-27 15,0 1-15,13 13 16,-13 13-16,13-14 0,-14 1 0,1 0 15,0 0-15,0 13 16,-14-13-16,27-1 0,-13 14 16,0-13-16,0 13 0,-1 0 0,1-13 15,0 13-15,0 0 0,-1 0 16,1 0-16,0 0 0,0 0 16,-14-13-16,14 13 0,0 0 15,0 0-15,-1 0 0,1 0 16,0 0-16,0 0 0,-1 0 0,1 0 15,0 0-15,0 0 16,-1 0-16,-25-14 0,26 14 16,-1 0-16,1 0 0,0 0 0,-14 0 15,14 0-15,0 0 16,0 0-16,0 0 0,-1 0 0,1 14 16,0-14-16,0 0 0,-1 0 15,1 0-15,0 13 0,0-13 16,-1 13-16,1-13 15,0 0-15,13 13 0,-13 1 16,0-14-16,13 13 16,-14-13-16,14 13 0,-13-13 0,13 13 15,-13-13-15,13 13 0,-13 1 16,-1-1-16,14 0 16,-13-13-16,13 13 0,0 1 15,-13-14-15,13 26 0,-13-26 16,13 13-16,0 1 15,0-1-15,0 13 16,0-13-16,0 1 16,0-1-16,0 0 0,0 0 15,13 1-15,-13-1 0,13-13 0,-13 13 16,13 0-16,-13 1 0,14-1 16,-1 0-16,0 0 0,-13 0 15,27 1-15,-27-1 0,13 0 16,0-13-16,0 13 0,0-13 15,1 14-15,-1-14 0,0 13 16,0-13-16,1 0 0,-1 0 16,0 0-16,0 0 15,1 0-15,-1 0 0,0 0 16,0 0-16,0 13 0,1-13 16,-1 13-1,0-13-15,-13 14 0,13-14 16,-13 13-16,14-13 15,-14 13-15,13 0 32</inkml:trace>
  <inkml:trace contextRef="#ctx0" brushRef="#br0" timeOffset="37842.1">3029 9075 0,'-13'-26'15,"0"-27"1,0 26-16,-14-12 15,14 12-15,-13-12 0,-1-1 0,1 0 16,13 14-16,-14-14 0,1 14 0,12-1 16,-12 1-16,13-1 0,-1 14 15,1 0-15,0-1 16,0 1-16,13 0 0,-13 13 16,39 13-1,-13-13 1,67 40-1,-54-27-15,-13 0 0,14 1 0,39 12 16,-53-13 0,14 1-16,-14-14 0,-13 13 15,13 0-15,0 0 0,-13 0 0,0 1 16,0-1-16,0 0 16,-13 0-16,0 14 0,13-14 0,-27 0 15,14 1-15,0 12 0,0-13 0,-14 0 16,-12 14-16,25-27 15,1 13-15,0-13 0,0 13 0,-1-13 16,1 0 0,13-13-16,0 0 0,0 0 15,0-1-15,13-12 0,-13 13 0,14-27 16,-1 14-16,0-14 0,0 13 16,-13-12-16,14 12 0,-1 1 15,-13 13-15,0-14 0,13 14 0,-13 0 16,0-1-16,0 1 0,0 0 15,0 53 17,0-27-32,0 53 15,0-39-15,0-1 0,0 0 16,13 1-16,-13-14 0,13 14 0,-13-14 16,14 13-16,-1-12 0,-13-1 0,40 0 15,-27-13 1,0 0-16,53-26 15</inkml:trace>
  <inkml:trace contextRef="#ctx0" brushRef="#br0" timeOffset="38450.47">3559 8718 0,'-27'-13'16,"14"0"-16,0-1 0,-1 1 0,-12-13 16,13-1-16,-14 1 0,14-1 0,-13 1 15,-1-1-15,1 1 16,13-1-16,-14 1 0,1 0 0,12 12 16,1 1-16,0 0 0,13 0 0,-13 13 15,-1-14-15,14 1 16,14 26-1,-1 1-15,0-1 16,14 13 0,-14-26-16,13 14 0,-12-1 0,12 0 15,-13 0-15,0 0 0,14 1 0,-14-1 16,0 0-16,1 0 0,-1 14 31,-13-14-31,-13 0 16,-1-13-16,1 13 0,0-13 0,0 14 15,-1-14-15,1 0 0,0 13 16,0-13-16,0-13 0,-1 13 16,1 0-16,-13-40 15,12 27-15,14 0 0,0-14 16,0 14-16,0-14 0,0 1 16,0 13-16,0-14 0,14 14 15,-14 0-15,0 0 0,13-14 16,-13 80 15,0-40-31,13 14 0,-13-14 16,0 13-16,0 1 0,13-1 15,-13 1-15,0-1 0,14 1 0,-14-14 16,13 13-16,-13-12 0,13-1 0,-13 0 16,13 0-16,0 1 0,-13-1 15,14-13-15,-1 13 0,0-13 16,0 0-16</inkml:trace>
  <inkml:trace contextRef="#ctx0" brushRef="#br0" timeOffset="39288.47">2196 9512 0,'-26'-40'0,"12"27"0,1-27 0,-13 14 0,12-1 15,1 1-15,-13-14 0,13 14 16,-14-14-16,14 14 0,0-14 0,-1 13 16,1 14-16,0-13 0,0 12 15,13 1-15,0 0 0,-14 13 0,14-13 16,27 39 15,-1-13-31,-12 1 16,12-1-16,-13 0 0,14 0 0,-14 1 15,13-14-15,-12 13 0,12 0 0,-13-13 16,1 13-16,-1-13 16,-13 14-16,13-14 0,0 0 0,-13 13 0,0 0 15,0 0 1,-13 0-16,0-13 0,0 14 16,-1-1-16,1-13 0,0 13 15,0-13-15,-1 13 0,1-13 0,0 14 16,0-14-16,0 0 15,-1-27 1,28 14-16,-14-27 16,13 14-16,0 13 15,0-27-15,0 27 0,1-14 0,-14 14 16,13 0-16,0-1 0,0 1 16,1 26-1,-14 1 1,0-1-16,0 27 15,0-14-15,0 1 0,0 12 0,-14 1 16,14 0-16,0-1 0,0-12 0,0-1 16,-13 1-16,13-1 0,0 1 0,13-1 15,-13-13-15,0 14 0,0-14 16,14 0-16,-14 0 0</inkml:trace>
  <inkml:trace contextRef="#ctx0" brushRef="#br0" timeOffset="42577.87">15968 8572 0,'26'0'31,"53"-13"-15,-26 13-16,0-13 0,0 13 0,13 0 16,14-13-16,-14 13 0,13-13 15,-13 13-15,14-14 0,12 14 0,-12-13 16,12 0-16,-12 0 0,12-1 15,1 1-15,-14 0 0,14 0 0,-14 0 16,14-14-16,-14 14 0,-13 0 16,1-1-16,-1 14 0,-13-13 0,-14 13 15,1 0-15,-14-13 0,-12 13 16,12 0-16,-13 0 0,1 0 0,-1 0 16,0 13-16,-26 0 31</inkml:trace>
  <inkml:trace contextRef="#ctx0" brushRef="#br0" timeOffset="43178.17">16616 8797 0,'40'0'16,"65"-26"-1,-38 13-15,-1-14 0,13 14 0,0-13 16,1 12-16,26-12 0,-1-1 0,1 1 16,0-1-16,-27 1 0,1 13 15,79-14-15,-27 1 16,-79 13-16,0-1 0,0 14 0,-27-13 15,1 13-15,-1 0 0,0 0 16,-12 0-16,-1 0 0,0-13 0,0 13 16,1 0-16,-1 0 15,0 0-15,0 0 16,1 0-16,-1-13 31,0 13-15,0 0-1,0 0 32,1-13 94</inkml:trace>
  <inkml:trace contextRef="#ctx0" brushRef="#br0" timeOffset="45759.15">8070 10504 0,'39'0'16,"14"0"0,-26 0-16,-1 0 0,14 0 15,-14 0-15,14-13 0,13 13 0,-13-13 16,-1 13-16,1-14 0,119-25 16,-133 25-1,1 1-15,-1 0 0,-13 0 16,14-1-16,-14 1 0,0 0 15,14 0-15,-27 0 0,13-1 0,0 1 16,1-13-16,-14 12 0,13 1 0,-13 0 16,0-14-16,0 14 15,0 0-15,0 0 0,0 0 0,0-1 16,-13-12 0,-14-14-1,14 27-15,0 0 0,-1 13 0,-12-40 16,13 27-16,-14 13 15,14-13-15,0-1 0,0 1 0,-1 0 16,1 13-16,0-13 0,0 13 0,-1-14 16,1 1-16,0 13 15,-40-26-15,40 26 16,0-14-16,-1 14 0,1 0 0,0-13 16,0 13-16,-1 0 0,-12-13 15,13 13-15,0 0 0,-14-13 0,14 13 16,0 0-16,-1 0 0,1-13 0,0 13 15,0 0-15,-1-14 0,1 14 16,0 0-16,0-13 0,0 13 16,-1 0-16,1-13 0,0 13 0,0 0 0,-1 0 15,-12-13-15,13 13 0,-1 0 16,1 0-16,0 0 0,-27-14 16,14 14-16,13 0 0,-1 0 15,-12 0-15,13 0 0,-14 0 16,14 14-16,-13-14 0,12 0 0,-12 13 15,13-13-15,-14 13 0,1-13 0,13 13 16,-14 1-16,1 12 0,-1-13 16,1 14-16,-1-14 0,1 13 15,-1 1-15,14-14 0,-13 14 0,12-1 0,-12 14 16,26-14-16,-13 1 16,13-14-16,0 13 0,0-12 15,0 12-15,0 0 0,13 1 0,0-1 16,0 1-16,14-1 0,-14-12 15,14 12-15,-1 0 0,53 14 16,-39-27-16,66 14 0,-53-27 16,-13 13-16,12-13 15,1 0-15</inkml:trace>
  <inkml:trace contextRef="#ctx0" brushRef="#br0" timeOffset="46623.39">15386 9975 0,'26'0'0,"80"-13"16,-53-1-16,13 1 16,13 0-16,1 0 0,-1-1 15,0-12-15,1 13 0,-1-1 16,14 1-16,-14 0 0,0 0 0,1 0 16,-14-1-16,0 1 0,0 13 0,-13-13 15,0 0-15,-13 13 0,0-14 16,-14 14-16,0 0 0,1-13 0,-14 13 15,0 0-15,1 0 0,-41 13 32</inkml:trace>
  <inkml:trace contextRef="#ctx0" brushRef="#br0" timeOffset="47565.37">15518 10319 0,'-13'0'0,"92"-40"15,-26 14 1,0 12-16,26-12 0,-13 13 0,14-14 0,-1 14 16,0-13-16,1 12 0,-1 1 15,1 0-15,-1 0 0,0-1 16,-13 1-16,-13 0 0,0 0 0,0 13 15,-13-14-15,0 14 0,-14-13 0,1 13 16,-1 0-16,-13 0 0,40 0 16,-40-13-16,1 13 15,-1 0 1,0 0-16,0 0 16,0 0-1,1 0 79,-1 0-32,-13-13-30,13 13-17,0 0 1,1 0 78</inkml:trace>
  <inkml:trace contextRef="#ctx0" brushRef="#br0" timeOffset="49668.36">18891 5265 0,'0'13'0,"0"1"15,13 52 1,-13-26-16,0 12 0,14-12 0,-14 0 15,13 26-15,0-13 0,0 0 16,14 79-16,-1-66 0,-12 14 16,12-1-16,0 14 0,1-1 0,-1 1 15,1-1-15,52 199 16,1 27 0,-54-199-16,1-13 0,-1 13 15,0-13-15,1 13 0,52 225 16,-52-225-16,12-13 0,-12-1 15,-1-12-15,-12-14 0,12-12 16,-13 12-16,14 0 0,-14-13 0,13 1 16,-12-1-16,-1 0 0,13 0 15,-26-13-15,27 0 0,-27 13 0,13-26 16,-13-1-16,13 14 0,-13-13 16,0 0-16,13-14 0,-13 1 0,0-1 15,0 1-15,0-14 0,14 0 0,-14 13 16,0-12-16,0-1 15,0 0-15,0 0 0,0 1 16,0-1 0,13 13-1,-13-12-15,0-1 16,0 0 0,0 0-16,0 0 31,13-26 16,-13-26-32,0 12 1,0 1-16,0-1 0,0 1 16,0-14-16</inkml:trace>
  <inkml:trace contextRef="#ctx0" brushRef="#br0" timeOffset="50430.23">19738 9750 0,'-13'-13'0,"52"66"16,-25-40-16,-1 13 16,0-13-16,0 1 0,1-1 0,12 13 15,-13-12-15,0-1 0,1-13 0,-1 13 16,0 0-16,0-13 0,1 0 16,-1 0-16,0 0 0,0-13 15,0 0-15,1 0 0,-1-14 0,13-13 16,-26 27-16,14-13 15,-14 13-15,13-14 0,-13 14 0,13 0 16,-13-1-16,0-12 0,0 13 16,0 0-16,0-1 0,13 1 15,-13 0-15,0 0 0,0-1 0,0 1 16,0 0-16,0 0 0,0-1 0,0 1 16,0 0-16</inkml:trace>
  <inkml:trace contextRef="#ctx0" brushRef="#br0" timeOffset="65404.64">4749 6085 0,'212'27'15,"-172"-27"-15,105 13 0,-92 0 0,0-13 16,0 0-16,53 14 15,-40-14-15,-13 13 0,13-13 16,0 0-16,0 0 0,0 0 0,-13 0 0,13 0 16,1 0-16,-15 0 15,1 0-15,14 0 0,-15-13 0,1 13 16,0 0-16,-13-14 0,0 14 0,13-13 16,-14 0-16,1 13 15,-14-13-15,14-1 0,13-12 0,-26 13 16,-1 13-16,0-14 0,-12 1 0,12 0 15,1 13-15,-1-13 0,-13 0 16,14-1-16,-1 1 0,1 0 0,26-14 16,-40 14-16,13 0 0,-13 13 15,14-13-15,-14 0 0,0-1 16,14 1-16,-14 0 0,0 0 0,1-1 16,-1 1-16,0 0 15,0 0-15,0 13 0,-13-14 0,14 1 16,-1 0-16,-13 0 0,13 0 15,0-1-15,-13 1 0,14 0 0,-14 0 16,13-1-16,-13 1 0,13-13 0,-13 12 16,0 1-16,0 0 0,13 0 15,-13 0-15,-13-1 0,13 1 0,0 0 16,-13 0-16,13-1 0,-13 1 16,-1 0-16,1 0 0,0-14 0,0 14 15,-14 0-15,1-14 0,13 14 16,-14-13-16,1-1 0,-1 14 0,1-13 0,-1 12 15,14-12-15,-13-1 0,-1 14 16,1-13-16,-1 12 0,1 1 16,-1 0-16,1 0 0,-1 0 0,-12-1 15,12 1-15,1 0 0,-14 13 16,0-13-16,1-1 0,-1 14 0,-13 0 16,13-13-16,-13 13 0,14-13 0,-14 13 15,0 0-15,13 0 0,-13-13 16,0 13-16,0 0 0,1 0 0,12 0 15,-13-14-15,13 14 0,14 0 0,-14 0 16,0 0-16,1 0 0,-1 0 16,14 0-16,-27 0 0,0 0 15,13 0-15,-13 0 0,0 14 0,14-14 16,-67 13-16,53 0 16,13-13-16,-13 13 0,0 1 0,14-14 15,-14 13-15,13 0 0,-13-13 0,13 13 16,-13-13-16,14 14 0,-1-1 15,0-13-15,1 13 0,-1 0 0,0 0 16,1 1-16,-1-14 0,14 13 0,-14 0 16,13 14-16,-12-14 0,12 0 15,1 0-15,-14 1 0,14-1 16,12 0-16,-12 0 0,0 0 0,12 1 0,-12-1 16,13 0-16,-1 0 0,-12-13 15,13 14-15,-1-1 0,1 0 0,0 0 16,0-13-16,0 14 0,-1 12 0,1-13 15,0 0-15,0 1 0,-1-1 16,1 13-16,0-12 0,0 12 16,-1-13-16,14 14 0,-13-1 0,13 1 15,0-14-15,0 13 0,0 1 0,0-1 16,13 1-16,1 12 0,12-12 16,-13-1-16,14 1 0,-1 12 0,1-12 15,-1-14-15,27 14 0,-13-1 0,0-13 16,12 0-16,15 14 0,-1-27 15,0 13-15,0-13 0,93 13 16,-93-13-16,13 0 0,1 0 16,-1 0-16,0 0 0,-12 0 15,-1 0-15,0 14 0,-26-14 0,12 13 16,-12 0-16</inkml:trace>
  <inkml:trace contextRef="#ctx0" brushRef="#br0" timeOffset="84293.59">7686 8784 0,'0'-13'16,"-13"13"-16,0 13 31,-1-13-31,1 0 16,13 13-16,-13-13 0,13 14 15,-13-14-15,13 13 0,-13-13 16,13 13-16</inkml:trace>
  <inkml:trace contextRef="#ctx0" brushRef="#br0" timeOffset="84410.66">7660 8811 0,'-27'26'0</inkml:trace>
  <inkml:trace contextRef="#ctx0" brushRef="#br0" timeOffset="86023.51">913 4723 0,'26'-13'16,"-13"13"-16,-13-14 15,14 1-15,-1 13 16,-13-13-16,0 39 31,-13-12-31,13 12 16,-14-13-16,1 14 0,0-14 0,0 13 16,0 1-16,-14 13 15,27-27-15,-13 0 0,13 0 0,0 0 16,0 1-1,13-14-15,0 0 16,1 0-16,-1 0 0,13 0 16,1 0-16,-14-14 15,0 14-15,0 0 0,1 0 0,-1 0 16,0 14-16,0-14 16,-13 13-16,0 0 15,0 0-15,0 1 0,0-1 0,0 13 16,-13-12-16,0-1 0,13 0 0,-13 0 15,13 0-15,0 1 0,-14-1 16,14 0-16,-13-13 0,0-13 31,26 0-15</inkml:trace>
  <inkml:trace contextRef="#ctx0" brushRef="#br0" timeOffset="86204.28">1098 4630 0,'0'-26'0,"13"52"16,-13-13-16,13 1 15,1 25-15,-1-12 16,0 12-16,0-12 0,1 13 0,-1-14 16,0 1-16,0-14 0,1 13 15,-1-13-15,-13 14 0,13-14 16,-13 0-16</inkml:trace>
  <inkml:trace contextRef="#ctx0" brushRef="#br0" timeOffset="86356.2">1124 4802 0,'-13'-13'15,"0"0"-15,39 13 31</inkml:trace>
  <inkml:trace contextRef="#ctx0" brushRef="#br0" timeOffset="86496.02">1402 4723 0</inkml:trace>
  <inkml:trace contextRef="#ctx0" brushRef="#br0" timeOffset="87028.49">1283 5384 0,'13'-13'16,"40"-13"0,-26-1-16,-1 1 0,1-1 0,-1-12 15,1-1-15,-1 0 0,1 0 16,-1-12-16,1 12 0,-1-13 0,-13 0 16,0 0-16,1 0 0,-1-13 0,0 13 15,-13-13-15,0 13 0,0-13 16,-13 0-16,0 0 0,-14-1 15,1 15-15,-14-1 0,-13 13 0,13 0 16,-79-13-16,53 53 0,13 0 16,-26 0-16,0 27 0,-107 52 15,107-26-15,-14 0 16,14 13-16,-67 93 0,80-80 0,13 1 16,1-1-16,25 14 0,1-27 15,12 66-15,14-66 0,27 40 16,-1-53-16,1 0 0,12-27 15,1 14-15,0-13 16,-1-14-16,81 13 0,-68-26 16,1 0-16,27 0 0,-14-13 0,0 0 15,0-14-15,-13 14 0,13-13 16,-13-1-16</inkml:trace>
  <inkml:trace contextRef="#ctx0" brushRef="#br0" timeOffset="88367.31">2011 4273 0,'66'-53'16,"-40"40"-1,1 0-15,13-27 16,-27 40-16,0-13 0,0 0 15,0 13-15,1-14 0,-1 14 0,0-26 16,0 26-16</inkml:trace>
  <inkml:trace contextRef="#ctx0" brushRef="#br0" timeOffset="88636.54">2143 4022 0,'40'-40'0,"-1"40"16,-25 0 0,-1 0-16,0 0 0,0 0 0,1 0 15,-1 0-15,0 13 0,14 0 16,-14 1-16,-13-1 0,13 0 0,-13 0 15,13 1-15,-13-1 0,0 13 16,0-12-16,0 12 0,0-13 0,0 27 16,0-27-16,0 0 0</inkml:trace>
  <inkml:trace contextRef="#ctx0" brushRef="#br0" timeOffset="90689.86">2805 3188 0,'0'40'16,"0"-14"-16,0 1 0,13-1 16,-13 1-16,13 12 0,-13-12 15,0-14-15,13 14 0,-13-1 0,14 0 16,-14-12-16,0-1 0,13 0 0,-13 0 15,0 1-15,13-1 0,0 0 16,0-13 0,1 0-16,52-66 15,-53 53-15,0-14 16,53-52 0,-52 52-16,-1 14 15,13-13-15</inkml:trace>
  <inkml:trace contextRef="#ctx0" brushRef="#br0" timeOffset="91396.4">3149 3109 0,'-40'40'0,"27"-14"16,13-13-16,0 0 0,0 14 16,13-1-1,0-12-15,-13-1 16,13-13-16,1 0 15,-1-13 1,0 13-16,-13-14 0,0 1 16,13 0-16,-26 0 15,13-1-15,0 1 16,0 0-16,0 0 31,26 26 16,-12-13-31,-1 0-1,0-13 1,0 0 0,-13-1-16,14 14 46,-1 0-30,0 0-16,0-13 16,1 0 15,-14 0-15,0-1-16,-14-12 15,14 13-15,0-1 16,-13 1-16,13 0 15,0 0 1,13 0 0,1 13-16,-1-14 15,0 14-15,0 0 0</inkml:trace>
  <inkml:trace contextRef="#ctx0" brushRef="#br0" timeOffset="92156.27">3307 2963 0,'-13'-13'0,"40"26"16,-14 1 0,0-14-16,0 0 0,0 13 15,1-13-15,12 0 0,-13 0 16,1 0-16,12 0 0,0 0 16,-12-13-16,-1 13 15,0-27-15,0 27 16,-13-13-16,0 0 0,0-1 15,0-12-15,-13 13 16,13 0-16,0-1 16,-13 14-16,13-13 0,0 0 15</inkml:trace>
  <inkml:trace contextRef="#ctx0" brushRef="#br0" timeOffset="92471.42">3770 2593 0,'-26'13'15,"39"0"-15,-13 1 0,13-14 16,1 13-16,-1 0 15,0 0-15,13-13 0,-26 14 16,14-1-16,12 0 0,-13 0 16,-13 0-1,14 1-15,-14-1 0,-14 0 16,14 0-16,-13 1 16,0-1-16,13 0 0,-13-13 15,13 13-15,-14-13 16,14-13-1</inkml:trace>
  <inkml:trace contextRef="#ctx0" brushRef="#br0" timeOffset="92907.75">3889 2672 0,'14'-66'32,"-1"79"-1,0-13-31,14 14 15,-14-14-15,0 0 0,13 0 16,-12 0 0,-1-14-16,0 1 15,0 0-15,-13 0 16,14 13-16,-14-14 16,0 1-1,13 13 1,0 0-1,0 0 1,1 0 0,-1 0-16,0-13 15,0 13 1,-13-13 0,13 13-16,-13-13 15,14 13 1,-1 0-1,0 13 1,0-13 0,-13 13-16,14-13 15,-14 13-15,13-13 0</inkml:trace>
  <inkml:trace contextRef="#ctx0" brushRef="#br0" timeOffset="93139.72">4339 2209 0,'13'13'31,"-13"1"-15,27 25-1,-14-25-15,-13-1 0,13 0 16,14 14-16,-27-14 0,13 0 16,0 0-16,0 0 15</inkml:trace>
  <inkml:trace contextRef="#ctx0" brushRef="#br0" timeOffset="93371.18">4379 2209 0,'-13'0'0,"13"13"16,13 1-16,-13-1 15,13-13-15,-13 13 16,13 0-16,-13 1 0,14-14 0,-14 13 15,13 0-15,-13 0 0,13-13 0,0 27 16,-13-14-16</inkml:trace>
  <inkml:trace contextRef="#ctx0" brushRef="#br0" timeOffset="93618.44">4167 2474 0,'13'-27'16,"1"14"-16,-1 0 15,0 0-15,0-1 16,1 1-16</inkml:trace>
  <inkml:trace contextRef="#ctx0" brushRef="#br0" timeOffset="93894.46">4299 2355 0,'40'-27'16,"-40"14"-16,27 0 0,-14 0 0,0 13 15,0-14-15,1 14 0</inkml:trace>
  <inkml:trace contextRef="#ctx0" brushRef="#br0" timeOffset="124071.63">16404 10623 0,'13'0'16,"-13"26"-1,0-12-15,14 78 16,-14-52-16,0 0 0,13 13 15,-13 0-15,0-14 16,0 14-16,0 0 0,13 0 0,-13-13 0,0 13 16,0-14-16,13 1 0,-13 0 15,0-1-15,14-12 0,-14-1 16,13 1-16,0-1 0,0 1 0,14-1 16,-14-13-16,13 1 0,1 12 15,13-13-15,-14-13 0,0 13 0,14 1 16,13-1-16,-13-13 0,-1 13 0,14-13 15,-13 0-15,13 0 0,0 0 16,26-13-16,-52 13 0,-1 0 16,1 0-16,-14 0 0,13-13 0,-12 13 15,-1-14-15,-13 1 16,-13 0 0,-1 0-16,1 0 0,-13-14 15,-1 14-15,-13-14 0,1 1 0</inkml:trace>
  <inkml:trace contextRef="#ctx0" brushRef="#br0" timeOffset="124580.86">16404 10636 0,'-53'93'0,"40"-67"0,-13 1 16,12-1-16,1 1 0,-13 12 16,12-25-16,14-1 0,-13 0 0,0 14 31,13-54-15,13 1-16,0-27 15,1 26 1,-1 14-16,0 0 0,-13 0 15,27-14-15,-14 27 0,0 0 16,27 13-16,-27 1 16,27-1-16,-14 0 0,1 13 15,-1-12-15,0-1 0,-12-13 16,12 13-16,-13 0 16,14 1-16,26-1 0,0 0 15,-40-13-15,0 0 16,0 0-16</inkml:trace>
  <inkml:trace contextRef="#ctx0" brushRef="#br0" timeOffset="127539.66">20545 10398 0,'0'40'0,"0"-27"16,0 0-16,13 14 0,-13-14 0,0 13 15,0 1-15,0-1 0,0 1 16,0-14-16,0 13 0,13 1 0,-13-14 16,0 14-16,0-14 0,0 13 15,14 1-15,-14-14 0,0 0 16</inkml:trace>
  <inkml:trace contextRef="#ctx0" brushRef="#br0" timeOffset="127895.31">20730 10491 0,'-13'13'31,"13"0"-31,0 0 16,0 1-16,0 12 0,13 1 15,-13-14-15,13 0 0,1 13 16,-1-12-16,0-14 0,13 13 0,-12-13 16,12 0-16,1 0 0,-14 0 0,13-13 15,1 13-15,-14-14 0,0 1 16,0 0-16,1 0 0,-14 0 16,0-1-16,0 1 0,-14 0 15,14 0-15,-13-1 0,0 1 16,0 0-16,0 0 0,-1 13 15,1-13-15,-13 13 0,12 0 0,1 0 16,0 0-16,0 0 0,-1 13 16,1-13-16</inkml:trace>
  <inkml:trace contextRef="#ctx0" brushRef="#br0" timeOffset="128071.16">21299 10266 0,'0'13'16,"0"0"-16,0 1 15,-13 12-15,13 0 0,-14 1 0,-12 39 16,13-39-16,0 12 0,13-12 16,-14-1-16,1 1 0,0-1 15,13 0-15,-13-12 16</inkml:trace>
  <inkml:trace contextRef="#ctx0" brushRef="#br0" timeOffset="128235.07">21153 10478 0,'-39'-27'16,"52"54"-1,0-14 1,0-13-16</inkml:trace>
  <inkml:trace contextRef="#ctx0" brushRef="#br0" timeOffset="128852.58">20757 11007 0,'52'-14'0,"-25"14"0,-1-13 16,14 0-16,0 0 0,66-14 16,-53 1-16,66-27 15,-53 26-15,-13 1 0,13 0 16,-13-1-16,0 1 0,0-14 0,-14 13 15,14 1-15,-13-14 0,-14 14 0,1-1 16,-1-12-16,-13 12 0,1-12 16,-1-41-16,-26-26 15,-1 53-15,1 1 0,-13-15 0,-14 14 16,0 14-16,-13-14 0,-66-13 16,53 39-16,-13 1 0,-1 13 15,1-1-15,-13 14 0,-1 0 16,14 14-16,-41-1 0,1 13 15,-79 54-15,105-27 0,1-1 0,12 1 16,1 14-16,13-15 0,0 15 16,13 12-16,26-26 0,-12 0 15,25 13-15,1 0 0,13-13 0,0 0 16,13 0-16,14 0 0,-1-14 0,14 1 16,13 0-16,13-14 0,0 1 15,14-1-15,-14-13 0,13-13 16,67 14-16,-67-14 0,-13-14 15,0 1-15,0 0 0,1-13 0</inkml:trace>
  <inkml:trace contextRef="#ctx0" brushRef="#br0" timeOffset="129351.48">22251 10332 0,'53'0'16,"-26"0"0,-14 0-16,14 0 0,39-13 15,-27 13 1,-25 0-16,-1 0 0,0 0 15,13-13-15,-12 13 16</inkml:trace>
  <inkml:trace contextRef="#ctx0" brushRef="#br0" timeOffset="129596.24">22556 10147 0,'13'0'0,"13"0"16,-26 13-16,14-13 0,-1 13 15,-13 0-15,13 1 0,0-1 16,-13 0-16,14 27 16,-14 0-16,0-27 0,0 26 15,-14-12-15,14-14 16,0 0-16,0 1 0,0-1 15</inkml:trace>
  <inkml:trace contextRef="#ctx0" brushRef="#br0" timeOffset="129808.33">23006 10041 0,'-14'26'0,"1"14"16,13-13-1,0-14-15,-13 13 0,13-13 0,-13 14 16,13-14-16,0 14 0,0-14 16,0 0-16,0 0 0,0 1 0</inkml:trace>
  <inkml:trace contextRef="#ctx0" brushRef="#br0" timeOffset="130110.25">23138 10120 0,'-13'-13'0,"-1"26"0,1 14 16,13-14-1,-13 0-15,13 0 0,13 1 0,0-1 16,1 0-16,25 0 15,-25 1-15,12-14 16,14-14-16,-27 14 0,0 0 16,14-13-16,-14 13 0,-13-13 15,13 13-15,-13-27 16,0 1-16,-13 13 16,0 0-16,-1 13 15,1-14-15,0 14 0,0-13 0,-1 13 16,1 0-16,0 0 0,0 0 15,13-13-15</inkml:trace>
  <inkml:trace contextRef="#ctx0" brushRef="#br0" timeOffset="130271.09">23495 9909 0,'26'26'0,"-26"1"15,0-14-15,0 0 16,0 13-16,0-12 0,0 12 0,-13-13 16,13 27-16,-13-27 15,13 14-15,-13-14 0</inkml:trace>
  <inkml:trace contextRef="#ctx0" brushRef="#br0" timeOffset="130410.55">23442 10001 0,'-26'-26'15,"12"26"1,1 13-16</inkml:trace>
  <inkml:trace contextRef="#ctx0" brushRef="#br0" timeOffset="130552.61">23707 10081 0,'-14'0'16,"28"0"-16,-1 0 0,0 0 0,-13-14 16,13 14-1,-52 14 17</inkml:trace>
  <inkml:trace contextRef="#ctx0" brushRef="#br0" timeOffset="131038.62">23098 10583 0,'40'-13'0,"-27"13"0,0 0 15,27-13-15,-14 13 0,14-13 16,13-1-16,-13 1 0,-1 0 0,67-13 16,-13-14-16,-53 27 15,-1-14-15,14 1 0,-26 12 0,12-12 16,14-27-16,-13 13 16,0-39-16,-14 26 0,-26 13 15,13 1-15,0-1 0,-13-53 16,-13 40-16,0 1 0,0-1 15,-14 0-15,-12 13 0,-1 0 16,0 1-16,-26 12 0,13 1 0,-26-1 0,-1 27 16,1-13-16,-14 26 15,-92 14-15,79 12 0,14 1 16,26-13-16,0 12 0,-1 14 0,-38 53 16,65-53-16,13 13 15,1-13-15,13 0 0,-1-13 0,28 52 16,-1-52-16,13 0 0,1 13 15,-1-27-15,14 14 0,0-14 16,-1 1-16,14-1 0,-13-13 0,0 1 16,13-1-16,-14-13 0,1 13 15,0 0-15,-14-13 0,1 0 16,-14 13-16,27-13 0,-27 0 16</inkml:trace>
  <inkml:trace contextRef="#ctx0" brushRef="#br0" timeOffset="133559.26">17317 11642 0,'-40'-14'16,"27"14"-16,-13 14 15,-1-14 1,14 0-16,-53 13 15,53-13-15,-14 0 16,-26 13-16,-39 0 16,78-13-16,-12 0 15,-1 14-15,1-14 0,0 0 0,12 13 16,-12-13-16,-1 0 0,1 0 16,13 0-16,-14 13 0,14-13 15,-13 0-15,12 0 0,1 0 0,-13 13 0,12-13 16,1 0-16,0 0 15,0 0-15,-1 0 16,1 0-16,0 0 0,13-13 31,-13-13-15,13 12-16,0 1 0,-13-40 16,-1 40-1,14-13-15,-13-14 0,13 13 0,-13-12 16,0-1-16,-1 0 0,14 1 15,-13-1-15,0 13 0,13-12 16,-13-1-16,-1 14 0,14 12 0,-13-12 0,13 13 16,-13-14-16,13 14 0,0 0 15,-13-14-15,13 14 0,-13 0 16,13 0-16,-14-1 0,14 1 16,-13 0-1</inkml:trace>
  <inkml:trace contextRef="#ctx0" brushRef="#br0" timeOffset="143790.72">833 6112 0,'0'-13'0,"0"39"31,0-13-31,14 1 16,-14-1-16,13 13 0,13 40 15,-12-39 1,-14-14-16,13 14 0,0-1 0,-13-13 16,13 0-16,0 1 0,-13-1 0,14 0 15,-14 0-15,13 14 16,0-27 0</inkml:trace>
  <inkml:trace contextRef="#ctx0" brushRef="#br0" timeOffset="144228.01">833 6165 0,'0'-40'16,"0"27"-16,14 13 0,-1-13 0,0 13 15,0 0-15,1 0 0,-1 0 16,0 39 0,0-12-16,-13-14 0,0 13 15,13 1-15,-13-1 0,0-12 0,-13 12 16,13-13-16,0 1 0,0 12 15,-13-13-15,13 0 0,0 1 16,-13-14-16,13 13 0,0 0 16,13 0-1,0-26 1,14 13-16,-14 0 16,0-13-16,14 13 15,-14-13-15,0 13 0,0-14 0,1 14 0,-1-13 16,0 13-16,0-13 15,0 0-15,1 13 16</inkml:trace>
  <inkml:trace contextRef="#ctx0" brushRef="#br0" timeOffset="144518.57">1164 6072 0,'-13'-13'0,"0"26"15,-1 0 1,28 14-16,-14-14 16,0 0-16,0 1 0,13-1 0,-13 0 15,0 0-15,13-13 0,-13 13 16,13 1-16,1-1 0,-1 0 15,0-13-15,0 13 16,1-13 0,-1-13-1,0 13-15</inkml:trace>
  <inkml:trace contextRef="#ctx0" brushRef="#br0" timeOffset="145117.46">1244 6257 0,'13'-13'47,"0"-13"-31,0-1-1,-13 1 1,0 13-16,-13-14 16,-13-13-1,12 27 1,1 0-16,0 13 0,0-13 16,-1 13-16,1 0 0,-13 0 15,12 13 1,1-13-16,0 13 15,13 0 1,13 1-16</inkml:trace>
  <inkml:trace contextRef="#ctx0" brushRef="#br0" timeOffset="145954.37">1310 5927 0,'-14'13'0,"1"0"15,13 0-15,0 1 0,0-1 16,13 0-16,-13 13 0,0-12 15,14-1-15,-14 0 0,13 0 0,0 1 16,0-14-16,1 13 0,12-13 16,-13 13-16,1-13 0,12-13 0,-13 13 15,0 0-15,1 0 16,-1-13-16,0 13 0,0-14 0,1 1 16,-1-13-16,-13 12 0,13 1 15,-13-13-15,-13 13 0,13-1 16,-13-12-16,-1-1 0,1 1 0,0 13 15,0-14-15,-1 14 0,1 0 0,0 0 16,0-1-16,13 1 0,-13 13 16,13-13-16,-14 13 0,14 13 31,14 27-15,-14-27-16,0 0 15,13-13-15,-13 14 0,0-1 16,0 0-1,13-13 1,0-13 0,0 13-16,14-13 15,-1 13 1,-12 0 0,-14 13-16,13 0 0,-26 0 15,13 0-15,0 1 16,0-1-16,0 0 0,-14 14 15,14-14 1,14-13 0,-1-13-1,0 13-15,40-27 16,-40 14-16,0 0 16,27-14-1,-27 27-15,1 0 0,-1-13 16,0 13-16</inkml:trace>
  <inkml:trace contextRef="#ctx0" brushRef="#br0" timeOffset="146506.38">1786 5887 0,'0'-26'15,"0"12"-15,0 1 16,0 0-16,-13 13 0,13-13 16,13 39 15,0 1 0,0-27-31,14-27 16,-14 14-1,-13-14-15,13 14 0,-13 0 16,0-14-16,0 14 0,0-13 16,0-1-16,-13 14 0,13-13 0,0-1 15,-13 14-15,13 0 0,0-1 0,-13 1 16,13 0-16,0 0 16,13 39-1,13 1 1,-26-1-16,14-13 0,12 27 15,-13-27-15,-13 1 16,13-1-16,-13 0 0,14 0 0,-14 0 16,0 1-16,0-1 15,-14-13 1,1-13 15,13-1-15,0 1-16,0 0 0,0 0 0,0 0 15,13-1-15,-13 1 0,14 0 16,-14 0-16,13 13 0,0-14 16,0 14-16</inkml:trace>
  <inkml:trace contextRef="#ctx0" brushRef="#br0" timeOffset="147275.68">1535 6720 0,'0'-13'0,"0"0"0,0 0 16,13-27-16,-13 27 16,0 0-16,0-1 0,0 1 15,-13 13-15,13-13 0,0 0 0,0-1 16,-14 1-16,1 0 15,0 26 1,13 0 0,0 1-1,13 12-15,-13-13 0,13 1 16,14-1 0,-27 0-16,13-26 15,0 13-15,1-13 16,-14-1-16,13 14 0,-13-13 15,13 13-15,-13-13 0,13 0 16,0-1-16,-13 1 16,14 13-16,-14-13 0,13 13 15,0 0 1,14-13 0,-14 13-1,0-13 1,13-1-1,-12 1 1,-1 0 0,0 0-16,0-1 15,1 1-15,-1 0 16</inkml:trace>
  <inkml:trace contextRef="#ctx0" brushRef="#br0" timeOffset="148053.5">1892 6191 0,'-13'-26'0,"-1"26"15,1-13 1,0 13-1,13-14 17,-13 14 30,13 14 1,0-1-63,0 0 0,0 0 15,-14 0-15,28 1 0,-14-1 0,0 0 16,0 0-16,0 1 16,0-1-16,0 0 0,13 0 15,0-26 16,0 0-15,-13 0-16,14-1 16,-1 14-1,0 0-15,13 27 16,27 52 0,-13-26-1,-40-26-15,13-1 0,1-13 16,-14 27-16,0-27 0,13 0 15,-13 1-15,0-1 0,-13 0 32,-1-39-32,1-1 15,0 1-15,13-1 16,0-26-16,0 27 0,0 13 16,0-1-16,0-12 0,0 13 0,0 0 15,0-1-15,13 1 16,0 0-16,14 26 15,-14-13 1,0 13 0,0 1-16,1-1 0,-1 0 15,-13 0-15,13-13 0,-13 13 0,13 1 16</inkml:trace>
  <inkml:trace contextRef="#ctx0" brushRef="#br0" timeOffset="148158.43">2037 6152 0,'-39'-14'0</inkml:trace>
  <inkml:trace contextRef="#ctx0" brushRef="#br0" timeOffset="148450.51">2130 6138 0,'13'0'16,"-26"0"-16,26 14 0,0-14 15,1 13 1,-1-13-16,0 13 16,0-13-1,14-13-15,-14 0 31,0 13-31,0-14 0,1 1 16,-14 0 0,13 0-1,-13-1 1,13 1-16,0 13 31,1-13-15</inkml:trace>
  <inkml:trace contextRef="#ctx0" brushRef="#br0" timeOffset="149541.26">8030 6178 0,'-13'0'0,"0"-13"15,-14 13 1,14 0-16,0 0 15,0 0-15,-1 13 0,-12-13 16,13 0-16,-1 0 0,1 0 0,-13 0 16,12 0-16,1 0 0,-13 0 15,13 0-15,-1 0 0,1 0 0,0 0 16,0 0-16,-14 0 0</inkml:trace>
  <inkml:trace contextRef="#ctx0" brushRef="#br0" timeOffset="151414.6">10147 3162 0,'-40'0'0,"27"0"0,0 13 16,13 0-16,-14 0 0,1 27 15,13-27 1,0 1-16,0-1 0,0 0 0,0 0 16,13 1-1,14-14 1,-14-14-16,0 14 16,-13-13-16,14 13 15,-1-13 1,0 26-16,0 0 15,-13 1 1,13-1-16,1 0 0,-1 40 16,0-53-16,-13 13 15,13 0-15,-13 1 0,14-14 16,-1 13-16,0-13 0</inkml:trace>
  <inkml:trace contextRef="#ctx0" brushRef="#br0" timeOffset="151732.54">10372 3162 0,'-66'26'15,"52"-13"-15,-12 14 0,26-14 16,13 0-1,0-13-15,1 0 16,-1 0-16,0-13 0,0 13 16,0 0-16,27 0 15,-27 13-15,27 1 16,-40-1-16,13 0 16,1 0-16,-1 1 0,0-1 15,0 0-15,14 27 16,-1-14-1,-13-26-15,-13 13 16</inkml:trace>
  <inkml:trace contextRef="#ctx0" brushRef="#br0" timeOffset="151887.37">10755 3281 0,'-26'-13'16</inkml:trace>
  <inkml:trace contextRef="#ctx0" brushRef="#br0" timeOffset="152174.21">10821 3043 0,'-13'0'0,"-13"0"16,13 13 0,-1 0-1,28 0-15,-14 1 16,0-1-16,0 0 0,13-13 15,-13 13-15,13 1 0,0-1 0,0 0 16,1 0-16,-14 0 0,13 1 16,-13-1-16,26 27 15,-26-27-15,0 0 16,14-13-16,-14 13 0,13 1 16,-13-1-16,13-13 0</inkml:trace>
  <inkml:trace contextRef="#ctx0" brushRef="#br0" timeOffset="152351.96">11192 3069 0,'-13'27'16,"-1"12"-1,-12 27-15,26-52 16,-13 12-16,13 14 0,0-27 15,-14 14-15,14-14 0,-13 0 0</inkml:trace>
  <inkml:trace contextRef="#ctx0" brushRef="#br0" timeOffset="152471.49">11073 3228 0,'-27'-13'0,"67"13"31,-27 0-31</inkml:trace>
  <inkml:trace contextRef="#ctx0" brushRef="#br0" timeOffset="152551.35">11218 3241 0,'14'0'15,"-41"-13"-15,40 26 0,-13 0 32</inkml:trace>
  <inkml:trace contextRef="#ctx0" brushRef="#br0" timeOffset="153619.4">17767 1098 0,'39'0'15,"-12"-13"-15,-14 0 16,80-40 0,-67 39-16,1-12 0,-14 13 0,0-14 15,0 14-15,1 0 0,-1 0 0,-13-1 16,13 1-16,-13 0 0,0 0 15,-13-14 1,-14 40 0,14 27-1,13-27-15,-13 14 0,13-1 16,0 1-16,0 12 0,0 1 16,13 53-16,-13-54 15,13 1-15,-13 0 0,0-14 0,0 1 16,14-14-16,-14 13 0,0-12 15,0-1-15,0 0 0,13-13 0,-13 13 16,0 1 0</inkml:trace>
  <inkml:trace contextRef="#ctx0" brushRef="#br0" timeOffset="153824.22">18150 1019 0,'0'13'0,"0"0"0,14 14 15,-14-1-15,0 0 0,0-12 0,0 12 16,13 1-16,-13-14 0,0 27 16,0-27-16,13 0 0,-13 0 15,0 0-15,13-13 0</inkml:trace>
  <inkml:trace contextRef="#ctx0" brushRef="#br0" timeOffset="154268.38">18481 1124 0,'27'-26'0,"-14"26"0,40-40 16,-14 27-16,-25 0 0,-1 13 16,27-13-16,-27 13 15,0 0-15</inkml:trace>
  <inkml:trace contextRef="#ctx0" brushRef="#br0" timeOffset="154423.37">18600 1257 0,'13'0'16,"40"-13"-1,-39-1 1,-1 14-16,0-13 0,0 13 16,0-13-16,1 13 0</inkml:trace>
  <inkml:trace contextRef="#ctx0" brushRef="#br0" timeOffset="155408.49">19169 820 0,'106'0'16,"-119"40"-16,13-27 16,0 0-16,0 1 0,-14-1 15,14 0-15,0 0 16,14-13-16,-1 0 16,0 0-1,14 0 1,-14 13-16,0-13 0,-13 14 0,0-1 15,0 0 1,0 0-16,-13-13 0,13 14 0,-13-1 16,-1 0-16,14 0 0,-13 1 0,0-1 15,0-13-15,13 13 0,-14-13 16,1 0-16</inkml:trace>
  <inkml:trace contextRef="#ctx0" brushRef="#br0" timeOffset="155556.54">19500 794 0</inkml:trace>
  <inkml:trace contextRef="#ctx0" brushRef="#br0" timeOffset="157463.07">19619 728 0,'13'26'16,"0"-13"-16,-13 14 16,14-14-16,-14 0 0,13 14 15,-13-1-15,13-13 16,-13 1-16,0-1 0</inkml:trace>
  <inkml:trace contextRef="#ctx0" brushRef="#br0" timeOffset="157747.51">19976 661 0,'-26'27'47,"26"-14"-47,-40 40 16,40-40-16,0 1 0,-13-14 15,13 13-15,0 0 16,0 0-16,0 0 16,0 1-16,13-14 0,0 0 15,-13 13-15,27-26 16,-14 13-16,0 0 0,0-14 15,0 14-15,1-13 0,-1 0 16,0-13 0</inkml:trace>
  <inkml:trace contextRef="#ctx0" brushRef="#br0" timeOffset="157903.1">20042 635 0,'-13'13'0,"0"0"16,13 1-16,0-1 0,0 0 0,0 0 15,0 1-15,0-1 0,13 13 0,-13-12 16,0-1-16,13 13 16,-13 14-16,13-27 0,-13 0 15,0 14-15,14-1 0,-14-13 16</inkml:trace>
  <inkml:trace contextRef="#ctx0" brushRef="#br0" timeOffset="158851.01">19394 1442 0,'53'-13'0,"53"-27"16,-67 27 0,120-53-16,-106 39 15,0 1-15,0 13 0,-13-14 0,105-39 16,-105 39-1,-1 1-15,1 13 0,-13-14 0,-1 14 16,14-13-16,-14 12 0,1-12 0,-14 13 16,0-1-16,0 1 0,14-13 15,-14 13-15,0-27 0,1 27 16,-14-14-16,13 14 0,-13-13 16,0 12-16,0-25 15,0 12-15,0 14 0,-13 0 0,13-14 16,-14 14-16,1 0 0,0-14 0,0 14 15,-1 0-15,1 0 0,-13-1 0,-1-12 16,1 13-16,-1-1 0,14 1 0,-13 13 16,-1-26-16,1 13 15,-40-14-15,39 14 0,-13 0 0,1-1 16,12 1-16,-12 0 0,-1 0 0,-13 13 16,13-13-16,-13 13 15,0 0-15,1 0 0,-1 0 0,0 0 16,-27 0-16,14 13 0,-13-13 0,-1 13 15,1-13-15,0 13 0,-1-13 16,14 13-16,-93 1 0,93-1 16,-13 0-16,-67 14 15,67-14-15,13 13 0,0-13 0,-14 14 16,27-1-16,-13 1 0,-66 26 16,79-27-16,0 14 0,0-14 15,0 14-15,0 0 0,14-1 16,-1 14-16,0-13 0,14 13 0,-27 53 15,26-53-15,14 0 16,0 0-16,0-1 0,0-12 0,13 13 16,0-13-16,13 13 0,-13 0 0,26 66 15,-13-66-15,14-14 0,13 14 16,-14-13-16,14-14 0,13 1 16,-14-14-16,14 0 0,-13 0 0,13-13 15,13 0-15,66-26 16,-52 13-16,-14-14 0,0 1 0,0 13 15,-13-14-15,0 1 0,0-1 0</inkml:trace>
  <inkml:trace contextRef="#ctx0" brushRef="#br0" timeOffset="159651.32">17899 1085 0,'-13'-13'0,"26"-1"0,0 1 15,1 0-15,-1 0 0,0-1 16,0-12-16,0 13 0,14-14 0,-1 14 15,1-13-15,-1 12 0,1-12 16,-1 13-16,-13-1 0,27-12 16,-27 13-16,1 13 0,-1-13 0,0 13 15,0-14-15</inkml:trace>
  <inkml:trace contextRef="#ctx0" brushRef="#br0" timeOffset="159853.7">18111 886 0,'13'133'0,"-13"-107"16,13 1-16,0 12 0,-13-12 0,0-1 0,14 1 15,-14-1-15,13-13 0,-13 14 16,13-14-16,-13 13 0,0-12 0,0-1 15,0 0-15,13 0 0,-13 1 16</inkml:trace>
  <inkml:trace contextRef="#ctx0" brushRef="#br0" timeOffset="161271.51">19804 1045 0,'-13'0'0,"39"13"47,-12-13-47,-1 0 0,13 0 15,1-13-15,-14 13 0,13 0 16,1-13-16,39-14 15,-53 14-15,14 13 0,-14-13 16,13 0-16,-12-1 0,38-12 16,-38 13-16,-1 0 15,-13-1-15,13 14 0,0-13 0,-13 0 16,14 0-16,-14-1 0,13 1 16,0 0-16,-13-13 15,13 12-15,-13 1 0,0 0 0,0 0 16,0-1-16,0 1 15,0 0-15,0 0 0,-13-1 0,13 1 16,0 0-16,0 0 0,-13 13 16,13-13-16,-13-1 0,13 1 15,0 0-15,-14 13 0,-12-40 16,13 40-16,-1-13 0,1 0 16,0 13-16,0-14 0,0 1 15,-1 13-15,14-13 0,-26 13 0,13 0 16,-1 0-16,1-13 0,0 13 0,0 0 15,-1 0-15,-12 0 0,13 0 16,0 0-16,-1 0 0,-12 0 16,-1 0-16,14 0 0,0 0 0,-13 13 15,12-13-15,1 0 0,0 13 16,0-13-16,-14 0 0,14 13 16,0-13-16,-1 14 0,1-14 15,0 13-15,0-13 0,0 13 16,-1 0-16,1 1 0,0-1 15,0 0-15,-1 0 0,14 1 16,-13-1-16,0 0 0,0 0 0,13 0 16,-14 1-16,14 12 0,-13-13 0,13 1 15,0-1-15,0 13 0,0-12 16,0-1-16,-13 0 0,26 13 0,-13-12 16,0 12-16,13-13 0,-13 14 15,27 12-15,-14-25 0,0 12 16,1-13-16,-1 1 0,13 12 15,14 1-15,-27-14 0,14-13 16,-14 13-16,13 0 0,-12-13 0,12 0 16,-13 13-16,14-13 0,-14 0 15,0 0-15,14 0 0</inkml:trace>
  <inkml:trace contextRef="#ctx0" brushRef="#br0" timeOffset="169435.5">20055 2381 0,'-13'0'0,"26"-13"15,27 0 1,-27 13-1,14 13 1,-14 0-16,-13 14 16,-13-14-16,13 0 15,0 0-15,0 1 0,-13-14 16,13 13-16,13 0 16,0-13-1,0 0-15,0 13 0,1-13 16,-1 0-16,0 0 15,0 14-15,-13-1 16,0 0-16,-26 27 16,13-27-1,-1 0-15,1 0 0,0-13 0,0 14 0,0 12 16,-1-26 0,1 13-16,13 1 15</inkml:trace>
  <inkml:trace contextRef="#ctx0" brushRef="#br0" timeOffset="169591.13">20333 2514 0,'-13'-27'15</inkml:trace>
  <inkml:trace contextRef="#ctx0" brushRef="#br0" timeOffset="169831.54">20492 2262 0,'26'13'0,"1"14"15,-27-14-15,13 14 16,-13-14-16,13 0 0,-13 0 16,0 14-16,14-14 0,-14 0 15,0 27-15,0-27 0,13 0 16,-13 1-16</inkml:trace>
  <inkml:trace contextRef="#ctx0" brushRef="#br0" timeOffset="170186.39">20902 2222 0,'-26'14'16,"12"-14"-16,14 13 16,-13 0-16,0 0 0,0 1 0,-1-1 15,1 0-15,13 0 16,-13 1-16,13-1 0,-13 0 15,26 0-15,0-13 16,0 13-16,40-26 16,-39 13-1,12-13-15,-13 13 0,14 0 16,-14-13-16,0 13 0,14-13 0,-14 13 0,-13-14 16,13 14-16,-13-13 0,13 13 15</inkml:trace>
  <inkml:trace contextRef="#ctx0" brushRef="#br0" timeOffset="170355.23">20929 2196 0,'0'13'0,"0"0"16,0 27 0,0-27-16,13 1 0,-13 12 0,13-13 15,-13 14-15,0-14 0,13 13 0,-13 1 16,13-14-16,-13 0 0,14 14 15,-14-14-15,0 14 0,0-14 16,0 0-16</inkml:trace>
  <inkml:trace contextRef="#ctx0" brushRef="#br0" timeOffset="171600.85">20413 2778 0,'-14'13'0,"14"1"16,14-1-16,-1 0 0,0 0 15,0 1-15,1-1 0,-1 0 16,0 0-16,0 0 0,14 1 16,-14-14-16,0 13 0,14-13 0,-1 13 15,-13-13-15,14 0 0,12 0 16,-12 0-16,-1-13 0,54 0 15,-41-1-15,1 1 0,0 0 16,-14 0-16,14 0 0,0-1 0,-14 1 16,1-13-16,12 12 0,-12 1 15,-1-13-15,1 12 0,-1-12 0,0 13 0,14 0 16,-13-14-16,-1 1 0,1 12 16,39-39-16,-40 40 15,40-40-15,-39 27 0,65-40 16,-52 39-16,0 1 15,-1-1-15,-12 14 0,13-13 0,-1-1 16,-12 14-16,12-14 0,-12 14 16,13-13-16,-1 13 0,-12-1 0,12-12 15,1 13-15,0-1 0,-14 1 0,14 0 16,0 0-16,-1 0 0,1-1 16,0 1-16,-1 0 0,41-14 15,-1 1-15,-39 13 0,-1-1 16,14 1-16,-13 0 15,0 0-15,52-14 0,-39 14 0,-13 0 16,0 0-16,-1-1 0,41-12 16,-54 13-16,40-14 15,-26 14-15,-14 0 0,14-14 16,-13 14-16,12 0 0,1 0 0,-14-1 16,14-12-16,0 13 0,-14 0 15,14-1-15,0-12 0,-1 13 16,1-1-16,0-12 0,13-1 0,-14 1 0,14 0 15,-13-1-15,13 1 0,-13-1 16,12 1-16,41-40 0,-40 39 16,-13 1-16,-1-1 0,1 1 15,-13-1-15,-1 1 0,0 13 16,1-14-16,-14 1 0,0 12 0,1 1 16,-1 0-16,0 0 0,-13-1 15,0 1-15,13 0 0,-13 0 16,-13 13-16,13-13 15</inkml:trace>
  <inkml:trace contextRef="#ctx0" brushRef="#br0" timeOffset="204954.56">21577 3082 0,'26'-26'31,"-13"13"-31,1 13 16,-1-14-16,0 1 0,0 13 0,14-13 15,-14 0-15,14 0 0,-14 13 0,0-14 16,0 1-16</inkml:trace>
  <inkml:trace contextRef="#ctx0" brushRef="#br0" timeOffset="205372.19">21471 2831 0,'79'-26'16,"-65"26"-16,-1 13 15,-13 0 1,13 0-16,-13 1 0,13 38 16,-13-25-16,0 26 15,13-27-15,-13 1 0,0-1 16,14 1-16,-1 39 16,-13-40-16,13-13 0,-13 27 15,13 0-15,1-40 16,-14 13-16,0 0 0,13 14 15,-13-14-15,13-13 16</inkml:trace>
  <inkml:trace contextRef="#ctx0" brushRef="#br0" timeOffset="205814.69">21497 3135 0,'14'-13'16,"-1"0"-16,0 13 15,14-27 1,-14 27-16,40-26 16,-40 13-1,0 13-15</inkml:trace>
  <inkml:trace contextRef="#ctx0" brushRef="#br0" timeOffset="-196385.39">2765 10530 0,'13'-13'15,"40"0"1,-26 13 0,25-13-16,-25 0 0,-1 13 15,27-14 1,-13 1-16,-14 0 0,-12 13 0,12-13 15,1-1-15,-14 14 16,0-13-16</inkml:trace>
  <inkml:trace contextRef="#ctx0" brushRef="#br0" timeOffset="-196168.22">3069 10266 0,'13'-13'0,"54"13"31,-41 0-31,27 26 16,-27-13-16,14 14 15,-27-14 1,1 13-16,-14-12 0,0-1 0,0 0 16,0 0-16,-14 14 0,14-14 0,-13 14 15,0-14-15,0 0 0,-27 27 16</inkml:trace>
  <inkml:trace contextRef="#ctx0" brushRef="#br0" timeOffset="-193267.31">582 10782 0,'0'-27'16,"-13"54"-1,0 12 1,-1-25-16,1 39 15,13-40-15,0 13 0,-13 14 16,13-27-16,0 0 16,13 40-1,0-53-15,1 0 16,-1 0 0,0 0-16,0 0 0,1-13 0,12 0 15,-13 0-15,0-1 0,27-12 16,-27 13-16,1-14 15,12 1-15,-13 13 16,1 13-16,-14-14 0,13 14 0,-13-13 16,13 13-1,0 0 1,-13 27 15,27-1-15,-14-26-16,13 0 15,-12-13-15,-1 13 16,0 0-16,-13-13 0,13 13 0,0-14 16,-13 1-16,0 0 15,-13 0 1,0 13-16,0 0 16,-27 0-16,14 13 15,12-13-15,1 0 0,0 13 16,0 0-16</inkml:trace>
  <inkml:trace contextRef="#ctx0" brushRef="#br0" timeOffset="-192913.58">979 10821 0,'13'0'0,"-13"14"16,13-14-16,-13 13 31,14-13-31,-1 0 0,0 0 16,14 0-16,-14 0 15,13 0 1,1-13 0,-14 13-1,0 0 1,-13-14-16,13 14 0,1 0 31,-14-13-31,0 0 16,0 0-1,0 0 17,13 13-17,0 0 1,0 0-16</inkml:trace>
  <inkml:trace contextRef="#ctx0" brushRef="#br0" timeOffset="-190662.57">251 7064 0,'0'-13'0,"14"53"15,-14-27-15,53 93 31,-40-80-31,0 14 0,0-14 16,0-12-16,-13-1 0,14 0 0,-14 0 16,13 1-1,-26-41 17,13-13-17,13 27-15,-13 0 16,40 0-1,-27 13-15,0 0 0,0 0 16,14 13 0,-27 0-1,0 14-15,-14-14 16,14 0-16,0 0 0,-26 14 16,26-14-16,-13-13 15,0 13 1</inkml:trace>
  <inkml:trace contextRef="#ctx0" brushRef="#br0" timeOffset="-190494.03">489 7131 0,'14'26'15,"-1"-26"-15,-13 13 0,0 0 16,13 1-16,-13-1 15,0 0-15,13 14 16,1-1-16,-1-13 16</inkml:trace>
  <inkml:trace contextRef="#ctx0" brushRef="#br0" timeOffset="-190334.46">463 6985 0,'-26'0'16</inkml:trace>
  <inkml:trace contextRef="#ctx0" brushRef="#br0" timeOffset="-189943.78">529 6800 0,'13'13'0,"1"40"16,-1-27-16,0 1 0,27 52 16,-1 27-1,1-40-15,-27-39 16,1-1-16,-14 1 0,13-14 0,0 0 15,0 0 1,14-26-16,-27-13 16,0 12-16,0-12 15,0 13-15,0-14 16,0 14-16,0-27 16,0 27-16,-13 0 15,13 0-15,26 26 31,-26 0-31,13 0 16,0 14-16,1 12 16,12 1-1,-13-13 1,1-27-16,-1 13 16,-13 0-1</inkml:trace>
  <inkml:trace contextRef="#ctx0" brushRef="#br0" timeOffset="-189722.07">939 7064 0,'13'40'31,"-13"-27"-31,14 1 15,-14-1-15,0 0 0,13 0 16,-13 0-16,0 1 16,13-14-1,-13 13-15</inkml:trace>
  <inkml:trace contextRef="#ctx0" brushRef="#br0" timeOffset="-189592.5">1005 7025 0,'-13'0'0,"0"0"16</inkml:trace>
  <inkml:trace contextRef="#ctx0" brushRef="#br0" timeOffset="-189338.14">992 6959 0,'0'-14'16,"13"28"15,1-1-15,-1 0-16,0-13 15,0 13 1,14-13-16,-14 0 15,13-13-15,-12 13 16,-1 0-16,0-13 16,0 13-16,1 13 15,-1 0 1</inkml:trace>
  <inkml:trace contextRef="#ctx0" brushRef="#br0" timeOffset="-188186.24">1191 10782 0,'13'26'16,"0"-26"-16,-13 13 16,13-13-16,27 0 31,-27 0-31,-13-13 0,13 13 0,1-13 15,-1 0 1,-13 0-16,13-14 16,-13 14-16,0 0 15,0-1 1</inkml:trace>
  <inkml:trace contextRef="#ctx0" brushRef="#br0" timeOffset="-186472.99">1416 10941 0,'26'52'16,"-26"-38"-16,13-1 15,-13 0-15,13 0 0,1 27 16,-1-27-16,-13 0 16,13 1-16,0-1 0,-13 0 15</inkml:trace>
  <inkml:trace contextRef="#ctx0" brushRef="#br0" timeOffset="-186160.76">1574 10967 0,'-13'26'0,"13"-12"16,13 12-16,14-13 16,-14-13-1,0 0 1,0 0-16,1 0 0,-1 0 0,0-13 15,0 0 1,-13 0-16,0-1 16,0 1-16,-26 0 15,13 0 1,-1 13 0,1 0-1,0 0-15</inkml:trace>
  <inkml:trace contextRef="#ctx0" brushRef="#br0" timeOffset="-185909.43">1812 10874 0,'53'14'15,"-39"-14"-15,25-27 16,-39 14-16,13-14 16,-13 14-1,0 0-15,-13 0 0,13 0 0,-13-1 16,0 1-16,0 13 16,-1 0-16,1 0 0,0 0 15,0 0-15,-27 27 16,-13-1-1</inkml:trace>
  <inkml:trace contextRef="#ctx0" brushRef="#br0" timeOffset="-185509.91">1257 11086 0,'-13'13'0,"-1"-13"15,14 13 1,53 40 0,-13-26-1,-27-14 1,14 27-16,-14-27 0,0 13 16,-13-12-1,0-1-15,0 0 16,-13 0-16,0 27 0,-1-40 15,14 13-15,-26 1 16</inkml:trace>
  <inkml:trace contextRef="#ctx0" brushRef="#br0" timeOffset="-185312.01">1164 11007 0,'13'53'0,"1"-27"0,39 67 16,-27-54-16,-13-12 0,0 12 15,27 28-15,-13-28 16,-14-12-16,0-1 0,14 1 0,-14-1 16,0 1-16,0-14 15</inkml:trace>
  <inkml:trace contextRef="#ctx0" brushRef="#br0" timeOffset="-185050.33">1336 11748 0,'13'-14'0,"27"-25"0,-13 25 0,-1-12 16,53-40-1,1 13-15,-41 26 16,1-12-16,-13 25 0,12-12 0,-12 0 0,65-41 31,-52 54-31,-27 0 0,0 0 16</inkml:trace>
  <inkml:trace contextRef="#ctx0" brushRef="#br0" timeOffset="-184553.18">1773 11509 0,'26'-26'0,"-13"13"0,1-1 0,-1 1 0,13-13 15,1-1-15,-1 1 0,1-1 0,-1 1 16,14-14-16,13-13 16,-27 27-16,1-1 0,-1 1 15,-13-1-15,14 1 0,-14 0 0,0 12 0,0-25 16,-13 25-1,0-12-15,0 0 0,0-1 0,-13 1 0,13-14 16,-39-53 0,25 67-16,-12-1 0,13 1 0,-40-53 15,26 65 1,1-12-16,13 13 0,-14-14 0,1 14 16,12 0-16,-25 0 0,-41-27 15,41 13-15,-67-12 16,66 12-16,1 14 15,-14-13-15,-106-27 16,13 13 0,80 40-16,0-13 0,13 13 0,-26 0 15,-1 13-15,14-13 0,-159 53 16,146-40 0,0 14-16,12-1 0,-25 0 0,12 14 0,-92 40 15</inkml:trace>
  <inkml:trace contextRef="#ctx0" brushRef="#br0" timeOffset="-182405.15">8586 10649 0,'0'27'0,"0"-14"0,13 14 0,0 52 15,-13-39 1,13-1-16,-13 14 0,40 80 16,-13-81-16,-14-12 0,0 0 15,13 0-15,-12 12 0,65 41 16,-52-66-1,-1-1-15,0 0 0,14-12 0,0 12 0,0-13 16,105 14 0,-92-27-16,13 13 0,-13-13 0,0 0 15,26-13-15,80-14 16,-66 14-16,-14 0 0,40-14 16,0 1-16,0 0 0,133-14 15,-133 13-15,13 1 0,0-14 16,-13 14-16,278-54 15,-265 54-15,1-1 0,-14 1 0,13 0 16,252-67 0,-265 67-16,0-1 0,0 1 0,238-80 15,-251 79 1,0 1-16,0-14 0,-27 27 16,0-14-16,1 1 0,-1 0 0,0 12 0,-12-12 15,78-14 1,-79 14-16,0 13 0,-13-1 0,-13 1 15,79-27-15,-92 40 16,-1-13-16,-13 13 0,1-13 0,-1 13 16,13 0-1,-26-13-15,-13 13 47,0 0-16</inkml:trace>
  <inkml:trace contextRef="#ctx0" brushRef="#br0" timeOffset="-182065.72">14155 10120 0,'27'0'15,"26"0"-15,-27 0 16,14 14-16,-1-14 0,1 13 0,0 0 15,-1 0-15,-12 0 0,13 1 16,-14-1-16,27 40 16,-53-40-16,0 80 15,-13-54-15,-14 1 0,-12 13 16,-80 106 0,79-106-16,-13-14 0,13 14 0,1-13 15</inkml:trace>
</inkml:ink>
</file>

<file path=ppt/ink/ink19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39:48.889"/>
    </inkml:context>
    <inkml:brush xml:id="br0">
      <inkml:brushProperty name="width" value="0.05292" units="cm"/>
      <inkml:brushProperty name="height" value="0.05292" units="cm"/>
      <inkml:brushProperty name="color" value="#0070C0"/>
    </inkml:brush>
  </inkml:definitions>
  <inkml:trace contextRef="#ctx0" brushRef="#br0">741 1548 0,'53'-27'16,"-27"27"-16,14-13 0,66 0 15,-27 0-15,159-14 16,-145 14-16,171-13 16,-184 26-16,12 0 0,1-14 15,-14 14-15,1 0 0,118 0 16,-145 0-16,40 0 15,-54 0 1,14 14-16,-39-14 0,-1 13 0</inkml:trace>
  <inkml:trace contextRef="#ctx0" brushRef="#br0" timeOffset="253.39">1032 1879 0,'66'0'0,"93"-27"16,-93 27-16,344-66 31,-317 53-31,-14 13 0,0-14 0,133 1 31,-172 13-31,-14 0 0,1 0 16,-1 0-16,-13 0 0,27 0 16,-27 13-16,0-13 15</inkml:trace>
  <inkml:trace contextRef="#ctx0" brushRef="#br0" timeOffset="936.17">8903 1177 0,'27'0'31,"92"0"-15,-53 0-16,53 0 16,-66 0-16,132-13 15,-132 13-15,0 0 16,-13 0-16,-1 0 0,-12 0 0,26 0 16</inkml:trace>
  <inkml:trace contextRef="#ctx0" brushRef="#br0" timeOffset="1191.16">8599 1363 0,'0'13'16,"26"-26"-16,14 13 0,0 0 0,39-14 0,80 1 15,-66 0-15,171-14 16,-185 27-1,80-13-15,-79 0 0,-14 13 16,79-13 0,-105 13-16,-14-13 0,-12 13 0,12 0 15,-13 0-15,1 0 0,-1 0 16,0 0-16</inkml:trace>
  <inkml:trace contextRef="#ctx0" brushRef="#br0" timeOffset="5151.99">10821 12131 0,'0'13'16,"-13"1"-1,0-28 32,13 1-47,-13-27 16,13 27-16,13 0 0,-13 0 0,0 0 0,0-1 16,13-25-1,0 39-15,1 0 16,25 26-1,-12 1 1,-14-14-16,0 0 0,1-13 0,25 26 16,-26-12-1,1-14 1,-1-14-16,0 14 0,14-39 16,-27 26-16,0-40 15,0 26-15,-14-13 0,14 1 0,-13 12 16,-13-65-1,26 79-15,0-1 16,-14 14-16,14-13 0,0 40 16,14 12-1,-1-12 1</inkml:trace>
  <inkml:trace contextRef="#ctx0" brushRef="#br0" timeOffset="5532.21">11364 11880 0,'-53'0'16,"26"26"-16,27-13 15,0 1-15,0 25 16,14-12 0,-1-14-16,0 0 15,0-13 1,14-13-16,-14 13 0,0-26 16,-13 12-1,-26-39 1,13 53-1,13-13-15,-27 0 16,14 13-16,0 0 0,-1 0 16,-12 13-1</inkml:trace>
  <inkml:trace contextRef="#ctx0" brushRef="#br0" timeOffset="5792.28">11311 11880 0,'93'-13'0,"-80"13"0,0 13 16,0-13-16,-13 13 0,13-13 16,-13 13-16,14 0 0,-1 1 15,0 25 1,0-39-16,-13 14 16,14-28 15,-14-12-16,0 13-15,13-40 16,-13 40-16,13-1 0,14-25 16,-27 25-16,13 1 15,13 0 1,-13 0-16,1 13 0,-1 0 16</inkml:trace>
  <inkml:trace contextRef="#ctx0" brushRef="#br0" timeOffset="6323.04">11708 11748 0,'13'13'16,"-13"26"-1,0-25-15,0-1 0,13 0 16,-13 0 0,0-39 30,14 26-30,-14-13-16,13 13 16,0 0-1,0 13 1,0-13-16,1 0 0,-14 13 16,13-13-16,0 13 15,0-26 32,1 0-31,-1 13-16,-13-13 0,13 13 15,0 0 1,0-14-16,14 14 31,-14 0-31,27 0 16</inkml:trace>
  <inkml:trace contextRef="#ctx0" brushRef="#br0" timeOffset="6816.25">12171 11695 0,'-27'0'0,"14"0"16,13 13-16,-13-13 0,0 13 15,13 0 1,0 14 0,13-1 15,0-13 16,0-13-47,1 0 15,-14-13-15,13 0 16,0 0-16,-13 0 16,13-14-1,-13 14-15,0 0 0,14 13 16,-14-14-1,13 41 1,-13-14 0,13 0-16,0 14 31,14-14-31,-14 0 16,13-13-1</inkml:trace>
  <inkml:trace contextRef="#ctx0" brushRef="#br0" timeOffset="7243.24">12369 11470 0,'27'39'0,"-14"28"15,-13-41-15,0 0 0,13 1 0,-13-1 16,0 1-1,13 52-15,-13-66 0,14 1 16,12 12-16,-13-13 16</inkml:trace>
  <inkml:trace contextRef="#ctx0" brushRef="#br0" timeOffset="7867.22">13137 11284 0,'0'27'31,"-14"26"-15,14-27-16,0 1 0,0-1 0,0-13 0,0 27 16,14-13-1,-14-14-15,26 53 16,-13-53-1,-13 0-15,-26-26 32,13 13-17,-1-13-15,1 13 0,0 0 16,0 0-16,-14 0 16,14 0-16,0 0 0,0 13 0,-1-13 15,-12 27 1,26-14-16,0 0 15,13-13 1,0 0-16,1 0 0,-1 0 16,13-13-16,-13 13 0,14 0 0,-14-13 0,14 13 15,-14-14-15,13 14 16,1 0-16,-14 0 16,0 0-16,14 27 15,-14-27-15,0 13 16,0 14-1,-13-14-15,14 0 0,-14 0 16</inkml:trace>
  <inkml:trace contextRef="#ctx0" brushRef="#br0" timeOffset="8008.04">13348 11456 0,'-13'-13'0,"0"13"16</inkml:trace>
  <inkml:trace contextRef="#ctx0" brushRef="#br0" timeOffset="8330.9">13520 11509 0,'-13'0'16,"0"14"-16,26 12 31,0-13-16,-13 1-15,13-1 16,-13 0-16,14 0 16,-14 0-16,0 14 15,-14-27-15,1 13 0,-13 0 32,-1 14-32,1-14 0,13-13 15,-1 0-15,1 0 0,13 13 0,-13-13 16</inkml:trace>
  <inkml:trace contextRef="#ctx0" brushRef="#br0" timeOffset="8645.54">13983 11390 0,'0'-13'0,"13"40"15,-13-1 1,14 14-16,-14-27 0,13 13 15,0 67 1,-13-53 0,0-27-16,0 0 0,0 14 15,0-14-15</inkml:trace>
  <inkml:trace contextRef="#ctx0" brushRef="#br0" timeOffset="9090.34">13970 11708 0,'-13'-27'0,"13"14"0,13 0 16,27-27 15,-27 40-31,0 0 0,0-13 16,1 13-16,-1 0 15,0 0-15,0 0 0,1 13 0,12 0 16,-13-13-1,0 14-15,-13-1 0,14 0 0,-1 0 16,-13 1 0,13-1-16,-13 0 15,13-13 1,-13-13 15,14 0-31,-1-14 16,0 14-1,0 0 1,1 13-16,-1 13 16,0-13-16,-13 13 15,13 0-15,-13 1 16,0-1 0,13-13-16,-13 13 0,0 0 15</inkml:trace>
  <inkml:trace contextRef="#ctx0" brushRef="#br0" timeOffset="9215.4">14380 11602 0,'-13'0'0,"0"0"16</inkml:trace>
  <inkml:trace contextRef="#ctx0" brushRef="#br0" timeOffset="9608.44">14446 11364 0,'0'26'15,"0"80"17,0-93-32,0 14 0,0-1 15,-13-12-15,13 12 0,0-13 16,0 0-16,0 1 0,0-1 0,0 0 16,0 0-16,13-13 0,-13 14 15,13-41 1,1 14-1,-14 0-15,13 13 0,0-14 32,-13 1-32,13 13 0,1 13 15,-14 14 1,-14 13 0,1-27-16,0 0 0,13 0 15,-27 14 1,27-14-16,-13 0 0</inkml:trace>
  <inkml:trace contextRef="#ctx0" brushRef="#br0" timeOffset="10099.11">14631 11576 0,'-13'26'31,"13"-13"-31,0 0 16,13-13-1,-13 14-15,14-28 16,-1 14-1,0-13 1,0 13-16,1 0 0,-1 0 31,0 13-15,0-13 0,1 14-1,-1-28-15,0 14 0,13-26 16,-12 26-16,-14-13 0,13 0 15,27-40 1,-40 39-16,13 1 16,0 0-1,-13 26 1,0 0-16,0 27 16,0-13-1,0-14-15,-13 13 0,13-13 0,0 1 16,-13 39-1,13-40-15,-14 0 0,14 0 0,-13 1 0</inkml:trace>
  <inkml:trace contextRef="#ctx0" brushRef="#br0" timeOffset="10261.37">14803 11695 0,'53'-40'0,"-39"40"0,-1-13 0,26-14 16,-25 14 0,-1 0-16,27-14 15</inkml:trace>
  <inkml:trace contextRef="#ctx0" brushRef="#br0" timeOffset="14099.55">17859 3585 0,'0'-13'16,"-13"13"15,0 0-31,0 0 15,-1 0-15,1 13 0,-13-13 0,13 0 16,-1 0-16,-12 13 0,-14-13 16,14 14-16,12-14 0,-12 0 15,-53 26 1,65-26-16,-12 13 16,13-13-16,-1 0 15,1 0-15,0 13 16,0 1-16,13-1 15,0 0-15,-13 0 16,-1 54-16,14-41 16,0 14-16,-13-1 0,0 226 31,13-212-31,0-13 0,0 12 16,0 41-1,0-53-15,0-1 0,0 1 0,0 53 16,0-80-16,0 13 15,0-12-15,0 12 0,0-13 16,0 1-16,13-1 0,-13 13 16,0 14-1,0-27 17,40-13-17,-27 0-15,13 0 0,41 0 16,-41 0-16,67 0 15,-40 0 1,0 0-16,-1 0 0,1 0 0,14 0 16,78 13-16,-79-13 15,93 14-15,-93-14 0,0 0 16,159 0 0,-146 0-16,-12 0 0,-1 0 0,66 13 15,-79-13-15,13 0 0,-13 0 16,185 0-1,-211 0-15,39 0 16,13 13 0,-66-13-16,14 0 0,-14-13 0,27 13 15,-27 0 1,0 0 0,0 0-16,1 0 0,-1-13 15,0 13-15,-13-14 0,13 14 16,-13-13-1,14 0-15,-14 0 0,13 13 16,-13-14-16,0 1 16,13 0-16,-13 0 15,13 13-15,-13-13 0,0-1 0,14 1 16,-1 0-16,-13 0 16,13-14-16,0 1 15,-13 13-15,13-14 0,-13 14 16,0-14-16,14 1 0,-14-1 15,0-12-15,13-1 0,-13 0 0,13 14 16,-13-27-16,27-92 16,-27 118-1,0 1-15,13 12 0,-13-12 0,0-1 0,0 1 16,0 13-16,0 0 0,13-14 0,-13 14 16,0 0-16,0-1 0,0-25 15,0 25-15,0 1 16,0 0-16,0 0 15,0 0-15,0-1 16,0 1 0,0 0-1,-13 0 1,13-1 0,-13 14 15,-1 0-31,1-13 15,-13 13 1,-1 0-16,14 0 16,0 0-16,0-13 0,-1 13 0,-52 0 15,40-13-15,-27 13 16,26 0-16,-12-14 16,12 14-16,-158-13 15,145 13-15,-13 0 16,14-13-16,-14 13 0,13 0 0,0 0 15,1 0-15,-67-13 16,79 13-16,-12 0 0,-1 0 16,14 0-16,-14 0 0,-92 13 31,92-13-31,0 0 0,14 0 0,-27 0 16,-40 13-16,54-13 15,12 0-15,-66 13 16,67-13-16,0 14 0,-54-1 15,14 0 1,53-13-16,-27 0 0,27 0 16,-14 13-16,1-13 0,0 0 0,-1 14 15,14-14-15,0 0 0,-14 13 0,14-13 16,0 0-16,-27 13 16,0 0-1,27-13-15,0 14 0,0-14 16,-1 26-1</inkml:trace>
  <inkml:trace contextRef="#ctx0" brushRef="#br0" timeOffset="15240.47">21418 4128 0,'13'26'0,"0"-39"16,1 0-16,-1-1 16,13-65-1,-12 66 1,-14-14-16,0 14 0,0-13 0,0 12 16,0-12-16,13 13 0,-13-1 0,-13 1 15,13 0-15,0 0 16,0 39 15,0 14-15,0-27-16,0 0 0,0 14 0,13 12 15,0-39-15,0 27 16,-13-14 0,14-13-1,-1-13-15,0 13 0,-13-13 0,13-1 0,0 1 16,-13 0-16,0 0 0,14 0 15,-14-1-15,13-12 16,-13 13-16,13 13 31,-13 13-31,13 0 0,-13 0 16,0 1-16,14-1 0,-14 0 16,13 0-16,-13 0 0,0 1 0,13-1 15,-13 0 1,13-13-16,1 13 0,-14 1 15,13-14-15,0 0 0,13-14 16,-12 14-16</inkml:trace>
  <inkml:trace contextRef="#ctx0" brushRef="#br0" timeOffset="15452.42">22000 3850 0,'27'-14'0,"-1"1"16,-13 13-16,0 0 15,1 0 1,-1 0-16</inkml:trace>
  <inkml:trace contextRef="#ctx0" brushRef="#br0" timeOffset="15640.31">22040 3969 0,'39'-13'62,"-25"13"-46,-1-14-16,0 14 0,40-13 15,-40 13-15</inkml:trace>
  <inkml:trace contextRef="#ctx0" brushRef="#br0" timeOffset="16457.18">22662 4075 0,'-14'-27'15,"28"1"1,-14 12-16,0-25 16,13-27-1,-13 39-15,0 14 0,0 0 16,0-1-16,0 1 16,0 0-16,0 53 31,13-1-16,-13-25 1,0-1-16,13-13 16,0 26-16,14-26 15,-14 0-15,0-13 16,-13 0-16,14-14 16,-1 1-1,0-1-15,-13 14 0,0 0 0,13 0 16,-13 0-1,14 26 17,-14 0-32,0 13 15,0 1 1,0-14-16,0 0 16,13 1-16,0-14 15,0 0 1,0 0-16,1 0 0,-14-14 15,13 14-15,0-13 0,14 0 16,-27 0-16,13 13 16,0 13 15,-13 0-31,0 0 16,0 1-1,13-1-15,1 0 16,-1-13-16,0 0 15,13-13-15,-12 13 16,-14-13-16,26-14 16,-26-13-1,-26 14 17,12 13-17,-12 26-15,0 0 16,-14 14-16,13-14 0</inkml:trace>
  <inkml:trace contextRef="#ctx0" brushRef="#br0" timeOffset="17306.99">22344 4273 0,'66'0'16,"-53"0"-16,106-13 0,-66 13 16,0-13-16,93-1 15,-80 1-15,0 0 0,133-27 16,-80 14-16,-53 13 16,-27-1-16,14 1 0,27-27 15,-54 27-15,67-53 16,-67 40-16,1-1 0,-1 14 15,-13-14-15,1 1 16,-1-1-16,-13 14 0,13-13 0,-13 13 16,0-14-16,-13 1 0,0-1 0,-1 1 15,1-14-15,-13 14 0,13-1 0,-40-39 16,13 39-16,13 1 16,-78-53-16,65 52 15,0 1-15,-13-1 0,14 14 0,-14-13 16,-146-41 15,-171 41-15,224 26-16,67 0 15,-278 40-15,291-27 16,0 0-16,-54 14 16,54-14-16,-92 53 15,105-40-15,-80 54 16,94-54-16,12 1 15,-65 52 1,52-26-16,13-13 0,14-14 0,0 1 16,0 12-16,13-12 15,0 65-15,0-65 0,0-1 16,13 14-16,-13-14 0,13 1 0,14 39 31,-14-53-31,-13 14 0,13-14 0,40 27 16,-27-14-16,1-13 15,-1 1-15,54-1 16,-41-13-16,107 26 16,-53-26-16,12 0 15,-25 0 1,-54 0-16,1 0 0,-1 0 0,1 0 16,-1 0-16,14 0 15,-27 0-15,13 0 16,-12 0-16,-1 0 0,0 0 15,0 0 1,1 0 0,-1 0 15,-13-13 0</inkml:trace>
  <inkml:trace contextRef="#ctx0" brushRef="#br0" timeOffset="19115.4">22053 3823 0,'26'-13'32,"-26"0"-32,14 13 15,-1-13-15,0 13 16,0 0-1,1-14 1</inkml:trace>
  <inkml:trace contextRef="#ctx0" brushRef="#br0" timeOffset="19539.93">22066 3995 0,'13'0'0,"14"-13"15,-14 13 1,14-13 0,-14 13-1,0 0 1,-13-13-16</inkml:trace>
  <inkml:trace contextRef="#ctx0" brushRef="#br0" timeOffset="23482.25">22119 5768 0,'27'-13'15,"-1"13"1,-13 0-16,1 0 0,-1 0 16,0 0-16,0 0 0,0 0 0,27-14 15,-27 14 1,1 0-16,-1 0 15,0 14-15,0-14 16</inkml:trace>
  <inkml:trace contextRef="#ctx0" brushRef="#br0" timeOffset="23803.32">22159 5953 0,'26'13'0,"-12"-13"0,12-13 16,-13 13-1,14 0-15,-14 0 0,0 0 0,0 0 16,1-13 0,-1 13-16,0 0 0,14 0 31,-14 0-31,13-13 16,-13 13-16</inkml:trace>
  <inkml:trace contextRef="#ctx0" brushRef="#br0" timeOffset="24391.37">22741 5702 0,'-13'26'32,"13"14"-32,0-14 15,0-12-15,0 12 0,-14 53 31,14-65-31,0-1 0,0 0 0,14 14 16,-14-14-16,13 0 16,0-13-1</inkml:trace>
  <inkml:trace contextRef="#ctx0" brushRef="#br0" timeOffset="24740.35">22886 5808 0,'-26'13'31,"26"13"-15,0-12-16,13 12 15,0-26-15,1 13 16,12-13-1,-13 0-15,1 0 0,25-13 32,-25 0-32,-14 0 15,13 13-15,-13-27 16,-13 1 0,13 12-16,-14 14 0,14-13 15,-13 13-15,0-13 16,0 13-16,-1 0 15,1 0 1</inkml:trace>
  <inkml:trace contextRef="#ctx0" brushRef="#br0" timeOffset="24891.48">23138 5741 0,'0'-13'16</inkml:trace>
  <inkml:trace contextRef="#ctx0" brushRef="#br0" timeOffset="25386.24">23310 5636 0,'0'39'16,"0"-25"-16,13 12 16,0 0-16,-13-12 15,13-1-15,-13 0 0,14 14 16,-14-14-16,0 0 16,-14 14-16,1-27 15,13 13-15,-13-13 0,0 0 16,0 0-1,-1 0 1,14-13-16,14-1 16,12-12-1,-26 13-15,13-1 0,0 14 0,1-13 16,-14 0-16,26-27 16,-26 27-16,13 0 0,-13 0 15,0-1-15,0 1 0,0 0 16,-13 13-16,13-27 15,-13 27-15,0-13 16,-1 13 0</inkml:trace>
  <inkml:trace contextRef="#ctx0" brushRef="#br0" timeOffset="25687.37">23574 5517 0,'0'13'15,"-13"13"1,13-13-16,-26 54 16,26-54-16,-14 40 15,14-40-15,-13 53 16,13-53-16,0 1 0,0-1 15,0 0-15,27 14 16,-14-14 0,13-13-16,-12 0 15,-1 0-15,27-13 16,-14 13-16,-13 0 0,0 0 16,1 0-16,-14-14 0,26 1 15,-13 13-15</inkml:trace>
  <inkml:trace contextRef="#ctx0" brushRef="#br0" timeOffset="26170.27">23918 5689 0,'-13'26'16,"13"-13"-16,0 27 15,-13 0-15,13-27 0,0 13 16,0-12-16,-13 25 16,13-26-16,0 1 0,0-1 0,0 0 15,0 14 1,-14-14-16,14-40 31,0 14-31,14-66 31,-1 39-31,-13 14 0,13 12 0,0-12 16,14-14-16,-14 27 16,0 0-16,0 13 0,-13-13 15,27 13 1,-14 13-16,-13 0 15,0 13 1,-13-12-16,13-1 0,-13 0 0,13 0 16,-40 14-16,14-14 15,12 0-15,1-13 16,0 14-16</inkml:trace>
  <inkml:trace contextRef="#ctx0" brushRef="#br0" timeOffset="26566.01">24143 5662 0,'27'53'15,"-27"-27"1,-14 1-16,14-14 15,0 0 1,14-39 15,-1-53-15,0 65 0,-13-12-16,13 26 0,-13-13 0,0-1 15,14 14-15,-14-13 0,13 13 16,0 13-1,0 1-15,-13-1 16,14 27-16,-1-40 16,-13 13-16,0 13 15,13-26-15,-13 40 16,0-27 0</inkml:trace>
  <inkml:trace contextRef="#ctx0" brushRef="#br0" timeOffset="26697.77">24209 5755 0,'0'0'16,"40"-14"15,-27 14-31,1 0 0,-1-13 16,53 0-1,-40 0-15</inkml:trace>
  <inkml:trace contextRef="#ctx0" brushRef="#br0" timeOffset="27793.16">21114 5834 0,'13'27'0,"-13"-14"15,0 13 1,0 14-16,0 13 16,0-40-16,0 13 0,0-12 0,0-1 15,0 0 1,0 27-16,0-27 0,0 0 16</inkml:trace>
  <inkml:trace contextRef="#ctx0" brushRef="#br0" timeOffset="28011.03">21259 5847 0,'0'-13'0,"13"40"31,-13-1-15,0-13-16,14 0 0,-14 1 0,13 52 15,-13-53 1,13 0-16,0 27 16,-13-27-16,0 0 0,0 1 15</inkml:trace>
  <inkml:trace contextRef="#ctx0" brushRef="#br0" timeOffset="28492.14">21180 6072 0,'0'-13'16,"13"0"-1,14-1 1,-14 14-16,0-13 0,0 13 0,14 0 15,-14-13-15,0 13 0,0-13 0,27 13 16,-27-13-16,1 13 16,-1 0-1,0 0-15,0-14 16,-13 28 0,0-1-1,13 13 1,1-13-1,12 1 1,-13-14 0,14-14-1,-14 14-15,0-13 16,-13 0 0,-13 0-16,13 0 0,-26-1 15,12 14-15,1-13 16,0 13-1,0 13-15,-1-13 16,14 27-16</inkml:trace>
  <inkml:trace contextRef="#ctx0" brushRef="#br0" timeOffset="29316.89">22185 5794 0,'0'-13'0,"14"13"15,-14-13-15,26 13 16,-13 0-16,-13-13 0,13 13 16,1 0-16,-1 0 15,13 0 1</inkml:trace>
  <inkml:trace contextRef="#ctx0" brushRef="#br0" timeOffset="29531.96">22265 5980 0,'0'13'0,"13"-13"16,0-13-16,0 13 15,1 0-15,-1 0 16</inkml:trace>
  <inkml:trace contextRef="#ctx0" brushRef="#br0" timeOffset="30553.57">21471 6787 0,'13'52'0,"-13"-25"0,0-14 16,0 14-16,0-14 0,0 13 0,0 1 16,0-1-16,-13 1 0,13 39 15,0-40 1,-13 1-16,13 12 16,0-25-16,0-1 15</inkml:trace>
  <inkml:trace contextRef="#ctx0" brushRef="#br0" timeOffset="30758.91">21656 6866 0,'-13'53'16,"13"-40"-16,-13 0 0,13 14 0,13-14 15,-13 13-15,0 1 16,0-14-16,0 0 0,0 1 0,0-1 16,13 0-16,-13 0 0,0 1 15</inkml:trace>
  <inkml:trace contextRef="#ctx0" brushRef="#br0" timeOffset="30971.13">21484 7144 0,'0'-13'16,"13"13"-16,14-14 15,-14 14-15,0-13 0,14 13 16,-14-13-16,40 13 15,-40-13-15</inkml:trace>
  <inkml:trace contextRef="#ctx0" brushRef="#br0" timeOffset="31495.98">21881 7025 0,'-53'26'0,"53"-13"16,-13-13-16,13 14 0,-13 12 16,-1-13-16,14 1 15,27-1 1,-14-13-16,0-13 15,14-1 1,-14 1-16,0 0 0,1 0 16,-1-1-16,-13 1 15,13 13-15,0 0 32,-13 13-17,0 1-15,13-14 0,-13 13 16,0 0-16,0 0 0,14 14 15,-1-14-15,-13 0 16,13-13 0</inkml:trace>
  <inkml:trace contextRef="#ctx0" brushRef="#br0" timeOffset="31852.3">22225 6959 0,'26'0'15,"14"0"1</inkml:trace>
  <inkml:trace contextRef="#ctx0" brushRef="#br0" timeOffset="32041.24">22199 7078 0,'13'13'16,"13"-26"-1,-13 13 1,27-14 0,-27 14-16</inkml:trace>
  <inkml:trace contextRef="#ctx0" brushRef="#br0" timeOffset="32960.05">22913 6800 0,'-27'13'0,"14"-13"16,-13 26-1,13-26-15,-1 14 0,1-1 0,-13 13 16,-1-12-1,27-1-15,-13 0 0,0 0 16,13 1 0,0-1-16,13 0 15,0-13-15,14 13 16,-14-13-16,0 0 16,0 0-16,1 0 15,38-13-15,-38 13 16,-1 0-16,0-13 0,0 13 15</inkml:trace>
  <inkml:trace contextRef="#ctx0" brushRef="#br0" timeOffset="33316.67">23204 6694 0,'0'26'31,"0"1"-15,0-14-16,0 0 0,0 1 15,0-1-15,0 40 16,0-40-16,0 0 0,0 0 16,0 1-16,0-1 0,0 0 15,0 0 1</inkml:trace>
  <inkml:trace contextRef="#ctx0" brushRef="#br0" timeOffset="33667.96">23336 6747 0,'0'0'0,"-26"26"31,26-12-15,0 12 0,0-13-16,13-13 0,-13 13 0,13 1 15,14-14 1,-14 0-16,0 0 0,0 0 16,1 0-16,-1 0 0,0-14 15,0 14 1,-13-13-16,0 0 0,0 0 0,0-14 15,0 14 1,-13-13 0,0 12-16,0 14 15,13-13-15,-14 13 16,1 0 0</inkml:trace>
  <inkml:trace contextRef="#ctx0" brushRef="#br0" timeOffset="33792.16">23535 6694 0,'13'0'16</inkml:trace>
  <inkml:trace contextRef="#ctx0" brushRef="#br0" timeOffset="34263.16">23746 6575 0,'-13'-13'0,"13"26"16,27 40 0,-1 0-1,0-14 1,-26-25 0,0-1-16,0 0 0,-13 0 15,13 1-15,-13-14 0,0 13 16,13-40 15,13 14-15,0 13-1,0-26-15,1 12 0,-1 1 16,-13 0-16,13-13 16,-13 12-16,13 1 0,-13 0 0,0 0 15,0-1-15,0-12 16,-13 26-16,13-13 0,-13 13 15,-14 0 1,14 0 0,0 0-16,13 13 15</inkml:trace>
  <inkml:trace contextRef="#ctx0" brushRef="#br0" timeOffset="34516.28">23958 6522 0,'0'53'16,"0"-40"-16,-13 0 0,13 1 0,0-1 0,0 0 16,0 0-16,13 1 0,-13-1 0,13-13 15,0 13 1,1 0-16,-1-13 0,0 0 0,0 13 0,1-13 15,-1 0-15,0 0 16,0 0-16,1 0 0,-1 0 0,13 14 16,-26-1-1</inkml:trace>
  <inkml:trace contextRef="#ctx0" brushRef="#br0" timeOffset="35437.93">22913 7408 0,'13'0'0,"14"0"15,-1 14 1,-13-14-16,27 13 15,-27-13-15,0 0 0,14 13 0,-14-13 16,0 0-16,1 0 0,12 13 16,1-13-1,-14 13 1,-13 27 0,-13-27-1,-27 27 1,27-27-16,-1 1 0,-12 25 15,13-26 1,-14 1-16,27-1 0,-13-13 0,0 13 16,13 0-16,-13-13 0,13 14 15,13-14 17,0 0-17</inkml:trace>
  <inkml:trace contextRef="#ctx0" brushRef="#br0" timeOffset="35746.11">23442 7355 0,'-13'27'31,"13"-14"-15,0 0-16,0 1 0,-13 38 15,-1-12 1,14-13-16,0-14 0,0 0 0,0 0 16,0 1-16,0-1 0</inkml:trace>
  <inkml:trace contextRef="#ctx0" brushRef="#br0" timeOffset="36060.14">23535 7448 0,'-27'13'15,"27"0"-15,0 1 16,13 12 0,1-13-16,12-13 15,-13 0-15,1 0 16,-1-13-1,-13 0-15,0 0 16,0-1-16,0 1 16,-13 0-16,-1-13 15,1 26 1,0 0 0,-14 0-16,27 13 15</inkml:trace>
  <inkml:trace contextRef="#ctx0" brushRef="#br0" timeOffset="36544.14">23826 7302 0,'26'14'0,"-13"-1"0,1 13 15,-1 1 1,-26 26-1,13-40-15,-14 0 16,14 0-16,-13 1 16,13-1-16,-13-13 0,13-27 31,26-12-15,-26 26-1,14-1-15,-14 1 0,13 0 16,-13-27-16,13 27 15,-13 0-15,0-1 0,0 1 16,-13 0 0,0 0-16,-1 13 15,1 0-15,0 0 16</inkml:trace>
  <inkml:trace contextRef="#ctx0" brushRef="#br0" timeOffset="36781">23971 7197 0,'27'26'0,"-27"-13"0,0 1 16,-14 12 0,14-13-16,0 0 0,0 1 0,14-1 15,-14 0-15,13 14 16,0-27-16,14 13 15,-14-13 1,0 0-16,0 13 0,1-13 16,-1 0-1</inkml:trace>
  <inkml:trace contextRef="#ctx0" brushRef="#br0" timeOffset="36960.28">23826 7474 0,'-14'0'0,"14"-13"31</inkml:trace>
  <inkml:trace contextRef="#ctx0" brushRef="#br0" timeOffset="41416.22">22900 6641 0,'-14'-13'16,"1"0"-16,0 13 16,13-14-16,-13 14 15,0-13 1,-1 13-1,14-13 1,-26 13-16,13 0 16,-1 0-16,1 13 15,-13-13 1,12 0-16,1 13 16,0 1-16,0-14 15,0 13-15,-1 0 0,1 0 0,0 1 16,-27 38-16,27-25 15,0-1-15,13-12 0,-40 78 16,27-65 0,13 12-16,-13-12 0,13 12 0,0-12 15,-14-1-15,14 67 16,0-53-16,14-1 0,-14 1 16,0 13-16,0-13 0,13 39 15,0-39-15,-13-1 0,13 14 16,-13-13-16,27 79 15,-14-92-15,0 12 0,0 1 0,-13-14 16,14-12-16,12 52 16,-26-40-16,13-13 15,1 1-15,-14-1 0,13 13 0,0-26 0,0 27 16,0-14 0,1-13-16,-1 13 0,0-13 0,0 13 0,27 1 15,-27-14 1,27 13-1,-27-13-15,0 0 0,27-13 16,-27 13-16,1 0 16,39-14-16,-40 14 15,0-13-15,0 13 0,0-13 0,1 13 16,-1-13-16,0 13 16,0-13-16,1 13 0,-14-14 0,13 14 15,0-13-15,14-27 16,-27 27-16,13 0 15,0-27-15,-13 27 16,13-13-16,0 12 0,-13 1 16,0 0-16,14-14 15,-14 14-15,0-13 0,0 13 16,13-1-16,-13-65 16,0 52-1,-13-25-15,13 25 0,0 14 0,0-14 16,0-26-16,0 27 15,0 0 1,0-1-16,0 14 0,-14-53 16,1 0-1,13 39 1,-13 1-16,13-1 0,-13-12 0,13 12 16,-13-13-16,-1 1 0,1-41 15,0 41-15,-14-14 0,-26-119 31,40 132-31,0 0 0,0 1 0,-27-41 16,27 54-16,13-1 16,-13 14-16,-1 0 0,14-14 15,-13 14-15,13 0 16,0-13 0</inkml:trace>
  <inkml:trace contextRef="#ctx0" brushRef="#br0" timeOffset="44499.9">21405 9327 0,'0'13'0,"13"0"0,-13 13 15,0 1-15,0-14 0,13 93 32,-13-40-32,0-39 15,0-1-15,0 27 16,0-27-16,0 1 15,0-1-15,-13-12 0,13-1 16,0 0-16</inkml:trace>
  <inkml:trace contextRef="#ctx0" brushRef="#br0" timeOffset="44776.59">21656 9366 0,'0'-26'0,"13"52"16,-13-13-16,0 1 16,0 12-16,0 1 0,0-1 0,0 1 15,0-14-15,0 40 16,0-27-16,0-13 0,0 14 0,0-14 15,0 27-15,0-27 0,14 0 16,-14 14 0,0-14-16,0 0 15</inkml:trace>
  <inkml:trace contextRef="#ctx0" brushRef="#br0" timeOffset="45011.06">21444 9684 0,'27'-27'0,"-1"27"15,1 0-15,-27-13 16,53 13-16,-40 0 16,40-13-16,-40 13 15</inkml:trace>
  <inkml:trace contextRef="#ctx0" brushRef="#br0" timeOffset="45362.45">21881 9591 0,'-26'13'0,"12"1"0,14-1 0,0 0 16,0 27-1,0-27-15,0 0 0,14 0 16,12 27-1,-13-40-15,-13 13 0,14-13 0,-1 0 0,0 0 16,0 0 0,0 0-16,1 0 0,-1-13 0,-13 0 15,0-14 1,0 14-16,-27-26 16,14 25-1,0 1-15,13 0 0,-13 0 0,0-1 16,-1 14-16,1-13 0,0 13 15,0 0-15,-1-13 16,1 13-16</inkml:trace>
  <inkml:trace contextRef="#ctx0" brushRef="#br0" timeOffset="45573.13">22066 9472 0,'13'-13'0,"1"13"16,12 0 0,1 0-1,-14 0 1</inkml:trace>
  <inkml:trace contextRef="#ctx0" brushRef="#br0" timeOffset="45803.24">22146 9604 0,'13'0'0,"0"-13"16,0 13-16,1 0 0,-1 0 15,0 0 1,0 13 0,0-13-1</inkml:trace>
  <inkml:trace contextRef="#ctx0" brushRef="#br0" timeOffset="51396.52">22106 9459 0,'0'13'110,"13"-13"-110,-13 13 15,13-13-15,1 0 16,-1 0-16,13 14 15,-12-14-15,-1 13 0,0-13 16,0 0-16,40 13 16,-40-13-16,-13 13 15,14-13-15,-1 0 0,0 0 0,0 13 0,1-13 16,-1 0 0,0 14-16,0-14 31,-39 13 0,13-13-15,-14 13-1,14-13-15,0 0 16,-1 0-16,-12 13 16,-1-13-1,14 14-15,-13-14 16,26 13-16,-27-13 15,14 13 1,-13-13 0,26 13-16,-14-13 15,1 0-15,0 14 16,0-14 0,-1 13-1,28-26 63,12-1-62,-13 14-16,1-13 0,-1 13 16,0-13-16,0 13 15,14-13 1,-14 13-16,0-14 0,0 14 15,1-13 1,-1 13-16,0 0 16,0-13-16,1 13 15,-1 0 17,-26-13 46,-1-1-78,1 14 15,0-13 17,0 13-32,-1-13 15,1 13-15,0 0 16,0-13-16,0 13 15,-1 0 1,1 0-16,0-13 16,0 13-16,-1 0 15,1 0 17,0-14-32,0 14 31,-1 0-16,41 14 32,-14-14-31</inkml:trace>
  <inkml:trace contextRef="#ctx0" brushRef="#br0" timeOffset="51715.28">22582 9499 0,'13'0'31,"1"0"-15,-1-14-16,0 14 0,0 0 15,1 0-15,12 0 16,-13 14-1</inkml:trace>
  <inkml:trace contextRef="#ctx0" brushRef="#br0" timeOffset="51913.98">22582 9657 0,'-13'0'31,"39"14"-15,-12-14 0,-1-14-16,0 14 0,14 0 15,-14 0 1,0-13-16,0 13 16</inkml:trace>
  <inkml:trace contextRef="#ctx0" brushRef="#br0" timeOffset="52167.32">22966 9353 0,'0'40'31,"0"-27"-31,0 0 16,0 0-16,-13 1 0,13-1 0,0 0 16,0 14-16,0-14 0,-14 13 15,14-13-15,0 1 0,0-1 16,0 0 0</inkml:trace>
  <inkml:trace contextRef="#ctx0" brushRef="#br0" timeOffset="52503.02">23111 9393 0,'-26'13'0,"26"0"0,0 0 15,0 14 1,0-14-16,0 0 0,13-13 15,-13 14-15,40 12 16,-27-26-16,0 0 0,1 0 0,12 0 31,-13 0-31,-13-13 0,13 13 0,1-13 16,-14-1-16,0 1 16,-14-13-1,14 12-15,-13 1 0,0 0 0,13 0 16,-13-1-16,0 14 0,-1-13 0,1 13 15,0-13-15,0 13 0,-14 0 16,14 13-16,0-13 16</inkml:trace>
  <inkml:trace contextRef="#ctx0" brushRef="#br0" timeOffset="52640.25">23323 9353 0,'0'-13'15</inkml:trace>
  <inkml:trace contextRef="#ctx0" brushRef="#br0" timeOffset="53115.3">23469 9274 0,'13'26'31,"-13"-13"-31,13 14 16,0-1-16,0-13 16,-13 1-16,0 25 15,-13-25-15,13-1 16,-13-13-16,0 26 16,0-26-16,13 14 0,-14-14 15,1 0-15,26-14 31,14-12 1,-14 13-32,-13-1 0,13 1 0,0 0 15,1-14-15,-14 14 0,13 0 16,-13 0-16,13 0 16,-13-14-1,-13 14-15,13 0 0,-27-1 16,14 14-1,-13 0 1,13 14-16,-1-14 0,14 13 0</inkml:trace>
  <inkml:trace contextRef="#ctx0" brushRef="#br0" timeOffset="53411.15">23693 9260 0,'0'14'0,"0"-1"0,-13 27 16,13-27-16,-13 0 16,13 13-1,-13-12-15,13 12 16,0-13-16,13-13 0,-13 14 15,13-14-15,14 0 16,-14 13-16,0-13 16,0 0-16,1 0 0,12 0 0,-13 0 15,0 0-15,14 0 0,-14 0 0,0 0 16,1 0-16,-1 0 0</inkml:trace>
  <inkml:trace contextRef="#ctx0" brushRef="#br0" timeOffset="53856.09">24051 9327 0,'0'79'31,"0"-66"-31,-14 67 16,14-67-16,-13 26 16,13-25-16,0-1 0,-13 0 15,13 0-15,0 1 16,0-41 31,13-39-32,0 53-15,14-53 16,-27 52-16,13 1 0,0 0 16,1 0-1,-1 13 1,-13 13 0,-13 0-1,13 0-15,-14 1 0,1-14 16,13 13-16,-13 0 15,0 0-15,-1-13 16</inkml:trace>
  <inkml:trace contextRef="#ctx0" brushRef="#br0" timeOffset="54263.3">24262 9300 0,'0'53'0,"-13"-40"0,13 14 16,-13-14-16,13 0 0,0 0 16,0 1-1,-13-14-15,26 13 16,0-26 15,0-27-31,1 27 16,-14-1-16,13 1 0,-13 0 0,13 0 15,13-14 1,-26 14-16,14 13 16,-1 0-1,0 0-15,-13 13 0,13 1 16,1 12-1,-14-13-15,0 0 0,0 14 16,0-14 0,0 0-1</inkml:trace>
  <inkml:trace contextRef="#ctx0" brushRef="#br0" timeOffset="54422.97">24236 9432 0,'53'0'0,"-40"-13"16,27 0 0,-27 13-16,0 0 0</inkml:trace>
  <inkml:trace contextRef="#ctx0" brushRef="#br0" timeOffset="56964.04">21484 10385 0,'0'40'16,"0"-27"-1,0 0-15,0 0 0,0 1 0,0-1 16,0 0-16,-13 66 16,0-26-1,13-40-15,0 1 0,0 12 16,0-13-1</inkml:trace>
  <inkml:trace contextRef="#ctx0" brushRef="#br0" timeOffset="57176.02">21722 10319 0,'0'13'31,"0"0"-31,14 0 0,-14 14 0,0-14 16,0 0-16,0 14 0,0-14 15,0 40-15,0-27 16,0-12-16,0 12 0,0-13 0,0 1 16,0-1-16,0 0 0</inkml:trace>
  <inkml:trace contextRef="#ctx0" brushRef="#br0" timeOffset="57406.33">21471 10649 0,'53'-26'16,"-13"13"0,-27 13-16,0 0 0,0 0 0,14-13 15,-14 13-15,0 0 0,0 0 16,1 0-16</inkml:trace>
  <inkml:trace contextRef="#ctx0" brushRef="#br0" timeOffset="57827.96">22053 10517 0,'-13'0'0,"-14"13"16,14 1-16,0-1 15,0-13-15,13 13 0,-14-13 16,14 13-16,-13 1 0,13-1 16,0 0-16,0 0 0,0 0 15,13-13 1,14-13-1,-14 13-15,-13-13 16,13 13-16,1 0 0,-1-13 31,0 26-31,0-13 16,0 0 0,1 26-1,-1-26-15,0 0 0,0 0 16</inkml:trace>
  <inkml:trace contextRef="#ctx0" brushRef="#br0" timeOffset="60891.11">22675 10332 0,'13'0'0,"-26"13"47,0 14-47,-1-14 15,1 0-15,0-13 0,0 13 0,-1 1 16,1-1-16,0 0 0,0-13 16,-27 40-1,27-40-15,13 13 0,-27 13 16,1-12 0,-1-1-1,14 0 16,26 0-15,1-13-16,-1 0 16,0 14-16,0-14 0,1 0 15,12 0-15,-13 0 16,0 0-16,1 0 0,-1 0 16,0 0-16,-13 13 0,27-13 15,-14 0 1,0 0-1,-13 13 1,13-13 0,1 0 31,-14 13-1</inkml:trace>
  <inkml:trace contextRef="#ctx0" brushRef="#br0" timeOffset="63172.22">23032 10279 0,'0'27'31,"0"-14"-31,0 0 0,0 0 0,0 0 15,0 14-15,0-14 0,0 14 0,0-14 16,-13 13-16,13 1 16,0-14-16,0 13 0,0-12 15,0-1-15,0 0 0,0 0 16,13 1-16</inkml:trace>
  <inkml:trace contextRef="#ctx0" brushRef="#br0" timeOffset="63533.34">23244 10345 0,'0'-26'15,"-14"52"1,1-13-16,13 1 0,0-1 15,0 0-15,0 0 0,0 1 16,13-1-16,-13 0 0,14 0 16,-1 1-1,0-14-15,0 0 0,1 0 16,12 0-16,-13-14 16,0 1-16,-13 0 15,0 0 1,0-1-16,0 1 0,0 0 15,-13 0-15,13-1 0,-13 1 16,13 0-16,-13 13 16,0 0-16,-1 0 15,1 0-15,0 0 16</inkml:trace>
  <inkml:trace contextRef="#ctx0" brushRef="#br0" timeOffset="63651.74">23416 10332 0</inkml:trace>
  <inkml:trace contextRef="#ctx0" brushRef="#br0" timeOffset="64128.28">23627 10173 0,'14'27'16,"12"39"0,-26-53-16,13 27 15,-13-1 1,-13-39-16,13 27 16,-26-14-1,39-53 48,0 40-63,13-26 15,-12 13-15,12-27 16,-26 27-16,0-27 16,0 27-16,0-27 46,-13 27-46,-27 26 16,14 0 0</inkml:trace>
  <inkml:trace contextRef="#ctx0" brushRef="#br0" timeOffset="64441.11">23892 10147 0,'-93'159'31,"93"-146"-31,-13 0 0,13 0 16,0 0-1,0 14-15,13-27 16,0 13 0,1-13-1,12 0-15,-13 0 16,14 0 0,-1 0-16,-26-13 15</inkml:trace>
  <inkml:trace contextRef="#ctx0" brushRef="#br0" timeOffset="64873.11">24077 10239 0,'-53'119'15,"27"14"1,12-94 0,14-12-16,0-1 15,-92-462-15,184 886 16,-92-437-16,0-40 31,0 14-15,14-53-16,-1 53 15,-13-14-15,13 1 0,0-14 16,14 14 0,-27 12-1,13 14-15,0 14 16,1 12 0,-14-13-16,0 1 15,-14-1-15,1 13 16,0-12-16,13-1 15,-13-13-15,13 13 16,-14-13-16</inkml:trace>
  <inkml:trace contextRef="#ctx0" brushRef="#br0" timeOffset="65315.5">24249 10279 0,'0'27'31,"0"-14"-31,-13 0 16,13 13-1,0-12-15,0-1 16,0 0-1,0 0-15,0-39 32,13 13-17,-13-14-15,13-12 16,1 25-16,-14 1 16,13-13-16,0-1 15,-13 14-15,13 13 0,0 13 31,1 0-31,-1 1 16,-13-1-16,13 13 16,0-12-16,-13-1 15,0 0-15,14 0 0,-14 0 16,0 1 0,0-1-16</inkml:trace>
  <inkml:trace contextRef="#ctx0" brushRef="#br0" timeOffset="65514.23">24236 10358 0,'53'-13'16,"53"-13"15,-93 13-15,0-1-16</inkml:trace>
  <inkml:trace contextRef="#ctx0" brushRef="#br0" timeOffset="67632">22595 10821 0,'14'-13'47,"-1"13"-31,13 0-1,-26-13-15,27 0 0,-14 13 16,0-13-16,27-27 15,-14 13 1,-12 1 0,-1 13-16,0-1 0,14-38 15,-14-15 1,0 28 0,-13 12-16,13 14 15,-13-13-15,0-14 16,0 13-16,0 1 15,-13 0 1,13-27 0,0 39-1,0 1-15,-13-13 0,13 12 0,-13-25 16,-1 12 0,1 14-1,-13-13 1,-1 26-16,14-14 15,-14 14-15,1 0 16,13 0-16,0 0 16,-40 14-16,39-1 15,-25 0-15,12 14 16,-26 12 0,14-12-16,-1-1 15,27-13-15,-40 54 16,26-28-1,14-26-15,13 14 16,-13-14-16,0 27 0,-1-14 16,1 14-16,13-27 15,0 14-15,0-14 0,0 13 16,0-12-16,13 25 0,-13-26 16,14 14-16,-1-14 15,0 0-15,14 1 16,-1 12-16,14-13 15,-1 1-15,-25-14 16,25 13-16,-25-13 16,25 0-16,-12 13 15,-14-13-15,0 0 0,0 0 16,1 0 0,-1 0-1,0 0 1,0 13-1,1-13 32,-1 0 63</inkml:trace>
  <inkml:trace contextRef="#ctx0" brushRef="#br0" timeOffset="72359.32">7369 11192 0,'-27'13'62,"14"27"-46,13-27-16,0 0 16,0 0-16,0 1 15,13-1-15,-13 0 0,13-13 16,1 0 0,-1 0-16,0-13 15,-13 0-15,13-1 0,-13 1 16,0 0-1,0 0-15,0 0 16,-13 39 0,0 0-1,13-12 1,0-1-16,0 0 16,13-13-16,0 0 31,1-13-31,-14-14 31,0 14-31,-14 13 16,14 13 15,0 1-15,14 12-1,-1-26 1,0-13-1,-13 0 1,0-1 0,0 1-16,-13 0 15,13 0-15,-13 13 16,-1-13 15,1 26-15,13 0-1</inkml:trace>
  <inkml:trace contextRef="#ctx0" brushRef="#br0" timeOffset="75212.06">21220 11933 0,'0'-14'0,"0"41"62,0-14-62,0 0 0,13-13 0,-13 14 16,0 12-16,0-13 0,0 1 0,0-1 15,0 0-15,0 0 0,0 14 16,0-14-16,0 0 0,0 14 16,-13-14-16,13 0 0,0 0 15,13 1-15,-13-1 0,0 0 16,13-13-1</inkml:trace>
  <inkml:trace contextRef="#ctx0" brushRef="#br0" timeOffset="75454.97">21431 11959 0,'0'-13'0,"0"0"0,-13 39 31,13 1-15,0-14 0,0 0-16,0 0 0,0 1 15,0-1-15,0 0 0,0 0 0,0 14 16,0-14-16,0 0 0,0 14 16,0-14-16,0 0 0,0 0 15,0 1 1,0-1-16</inkml:trace>
  <inkml:trace contextRef="#ctx0" brushRef="#br0" timeOffset="75732.1">21286 12131 0,'66'-40'16,"-40"40"-1,-12-13-15,12 13 16</inkml:trace>
  <inkml:trace contextRef="#ctx0" brushRef="#br0" timeOffset="76137.34">21603 12105 0,'-39'39'16,"39"-12"-16,-14-27 0,14 13 15,0 0-15,14 1 0,-14-1 0,13 0 16,-13 0 0,13-13-16,0 13 0,0-13 15,1-13-15,-1 13 16,-13-13-16,13 13 0,-13-13 16,0 0-16,0-1 15,0 1-15,0 0 0,-13 0 16,13-1-16,-13 1 15,-14 0-15,14 13 0,0 0 16,-14 0 0,14 0-16,0 0 15</inkml:trace>
  <inkml:trace contextRef="#ctx0" brushRef="#br0" timeOffset="78249.53">22119 11959 0,'13'-13'16,"-26"39"-1,13-12 1,-13-1-16,0 0 0,-1 0 16,1 1-16,0-1 0,0 0 15,0 0-15,-14 0 16,14 1-16,13-1 0,-13-13 16,-1 13-16,1-13 0,13 13 15,-13 1-15,13-1 31,13 0-15,14-13 0,-14 13-1,0-13-15,0 0 16,14 0-16,-14 0 16,0 0-1,0 14-15,1-14 31,-1 0-15,0-14 0</inkml:trace>
  <inkml:trace contextRef="#ctx0" brushRef="#br0" timeOffset="78627.85">22357 11972 0,'27'-13'15,"-14"13"1,0 0-16,0 0 15,1 0-15,-1 0 16,0 0-16,0 13 16</inkml:trace>
  <inkml:trace contextRef="#ctx0" brushRef="#br0" timeOffset="78844.22">22318 12118 0,'26'0'47,"1"0"-47,-14-13 16,0 13-16,27 0 15,-14 0 1,1-14-1,-1 1-15</inkml:trace>
  <inkml:trace contextRef="#ctx0" brushRef="#br0" timeOffset="79248.08">22860 11946 0,'13'26'16,"-13"1"0,0-14-16,0 14 15,0-1-15,0 14 31,-13-27-31,13 13 16,0-12-16</inkml:trace>
  <inkml:trace contextRef="#ctx0" brushRef="#br0" timeOffset="79608.23">23045 11959 0,'-13'0'16,"-13"27"15,26-14-31,0 0 16,0 14-1,13-14-15,13-106 0,-26 199 16,13-106-1,1 0-15,12 0 0,-13-13 16,14 13-16,-27-13 16,13-1-1,0 1-15,-13 0 0,0 0 16,-13-1-16,0 1 16,13 0-1,-13 13-15,-14 0 0,1-13 16,12 26-1,-12 0 1</inkml:trace>
  <inkml:trace contextRef="#ctx0" brushRef="#br0" timeOffset="79760.27">23270 11946 0,'13'-13'31</inkml:trace>
  <inkml:trace contextRef="#ctx0" brushRef="#br0" timeOffset="80309.44">23521 11893 0,'0'26'16,"14"-12"-1,25 52 1,-25-40-16,-14-12 15,0-1-15,-14 0 0,1 0 16,0-13 0,0 0-1,13-13 17,0 0-32,13 0 0,0-1 15,0 1-15,1 0 16,-14 0-16,13-1 15,-13 1-15,13 0 0,-13-14 16,0 14-16,-13-13 16,13 13-1,-13 13-15,-1-14 16,-12 28 0,13-14-16,-1 0 15,14 13-15</inkml:trace>
  <inkml:trace contextRef="#ctx0" brushRef="#br0" timeOffset="80646.39">23839 11800 0,'0'14'15,"-13"-1"1,-1 13-16,1-12 16,-13 25-16,26-26 15,-27 14-15,27 13 16,-13-27 0,13 0-1,13 0-15,1 1 16,-1-1-16,0-13 0,27 0 15,-27 0 1,27 0 0,-80-252-16,106 504 0,-53-252 0,1 0 15</inkml:trace>
  <inkml:trace contextRef="#ctx0" brushRef="#br0" timeOffset="81145.14">24223 11906 0,'-53'66'31,"26"53"-15,27-105-1,-13 12-15,13 14 16,-13-14 0,13-12-16,0-1 15,0-40 16,0 14-31,13-27 16,-13 27-16,26-53 16,-26 40-16,14-1 15,12-39 1,1 53 15,-27 26-15,-14 13-1,1 1-15,-13-14 16,12 14 0,1-27-1,0 13-15</inkml:trace>
  <inkml:trace contextRef="#ctx0" brushRef="#br0" timeOffset="81593.17">24395 11800 0,'0'40'32,"-27"26"-17,14-39-15,0 12 16,13-12 15,0-14-31,13-39 31,-13 12-15,13-39 0,0 40-16,1-13 15,-1-27-15,13 40 16,-12-1-1,-1 28 1,0-1 0,-13 13-1,13 1-15,-277-1 16,528-39-16,-264 26 0,0 0 16,0 14-1,0-14 1,0 0-1,-13-13-15</inkml:trace>
  <inkml:trace contextRef="#ctx0" brushRef="#br0" timeOffset="81790.49">24289 11946 0,'106'-13'16,"-53"-1"0,-27 1-1,-13 13-15,0 0 16,1 0-16</inkml:trace>
  <inkml:trace contextRef="#ctx0" brushRef="#br0" timeOffset="82509.2">21233 12793 0,'0'53'15,"0"-27"-15,0 0 16,0 1-16,-13 13 15,13-14-15,0 1 16,0-14-16,-14 0 0,14 13 16</inkml:trace>
  <inkml:trace contextRef="#ctx0" brushRef="#br0" timeOffset="82740.8">21405 12687 0,'0'-13'0,"13"79"31,-13-53-15,0 13-16,0 1 15,0-14-15,13 27 0,-13-27 16,0 27-16,0-27 15,13 0-15,-13 0 0,0 1 16,0-1-16</inkml:trace>
  <inkml:trace contextRef="#ctx0" brushRef="#br0" timeOffset="82958.14">21193 13018 0,'40'-27'0,"-14"14"16,-13 13-16,1 0 15,-1-13-15,13 13 0,1-14 16,-14 14-16</inkml:trace>
  <inkml:trace contextRef="#ctx0" brushRef="#br0" timeOffset="83412.39">21775 12859 0,'-13'0'16,"-40"13"0,27 13-1,12-12 1,1-1-16,0 0 15,13 0-15,0 1 0,0-1 16,13 0 0,0-26-1,14 13-15,-14-13 16,0-1 0,1 1-16,-1 26 31,0-13-31,-13 14 15,0-1 1,13 0-16,-13 0 0,0 1 16,13-1-16,1 13 15,12-26 1,-13 0-16</inkml:trace>
  <inkml:trace contextRef="#ctx0" brushRef="#br0" timeOffset="84141.88">22079 12700 0,'53'13'31,"-39"-13"-31,-1 13 0,0-13 0,14 0 15,-14 14-15,13-14 16,-13 13-16,14-13 16,-14 13-16,0 0 15,-13 1-15,0-1 16,0 0-16,-13 0 16,13 1-16,-13-1 0,-14 0 15,1 13-15,13-12 0,-14 12 16,1 1-16,-1-14 15,14 0-15,0 0 16</inkml:trace>
  <inkml:trace contextRef="#ctx0" brushRef="#br0" timeOffset="84551.55">22767 12674 0,'-13'52'16,"13"-38"-1,0-1-15,0 13 0,0-12 16,-13-1-16,13 0 0,0 0 16,0 14-16,0-1 15,0 1-15,0-14 16,0 0-16</inkml:trace>
  <inkml:trace contextRef="#ctx0" brushRef="#br0" timeOffset="84903.45">22926 12713 0,'-26'0'16,"26"13"-16,0 1 15,-14 25 1,28-12-16,-1-14 16,0 14-16,0-27 15,14 13-15,-1-13 16,1 0 0,-1 0-16,-26-13 0,13-14 15,1 14 1,-28-14-16,14 14 15,0 0-15,-13 0 16,0-1-16,0 1 16,0 0-16,-1 13 15,1 0-15</inkml:trace>
  <inkml:trace contextRef="#ctx0" brushRef="#br0" timeOffset="85080.01">23336 12687 0</inkml:trace>
  <inkml:trace contextRef="#ctx0" brushRef="#br0" timeOffset="85677.14">23521 12568 0,'14'26'16,"-1"1"-16,-13-14 0,13 0 15,-13 0-15,0 1 0,0 12 16,0-13-16,-13 14 15,0-14-15,13 0 0,-14 0 16,1 1-16,0-14 16,0-14-1,13 1 1,0 0-16,13-14 16,0 27-16,0-26 15,1 0-15,-1 26 16,0-27-16,0-13 15,-13 27 1,-13 0-16,0 0 16,-14-1-1,14 14-15,0 0 16,0 0-16</inkml:trace>
  <inkml:trace contextRef="#ctx0" brushRef="#br0" timeOffset="86111.88">23905 12568 0,'-13'39'15,"0"-25"-15,13-1 16,0 13 0,0 1-1,13-1-15,-13-13 16,13 1-16,0-1 16,1 0-16,-1-13 15,13 0-15,-13 0 16,14 0-1,-14 0-15,0 0 0,14-13 16</inkml:trace>
  <inkml:trace contextRef="#ctx0" brushRef="#br0" timeOffset="86589.37">24223 12581 0,'-27'66'16,"14"-13"0,13 0-16,0-40 15,0 0-15,0 14 16,0-1-16,0 1 0,0-14 15,-13 0-15,13 0 0,0 1 16,0-1 0,0-40 15,0 14-31,0 0 16,13-53-16,0 26 15,0 0 1,1 14-16,-1 13 0,0 0 15,14-1-15,-14 14 16,-13 14 0,13-1-16,-13 0 15,0 0-15,0 0 0,-13 1 16,13-1-16,-13 0 0,-1 0 16,1 1-16,0-1 0,-14 13 15,14-26 1,0 0-16</inkml:trace>
  <inkml:trace contextRef="#ctx0" brushRef="#br0" timeOffset="87053.32">24434 12568 0,'0'39'16,"0"-25"-16,-13 25 15,13-25 1,-13 12-16,13-13 16,0 0-16,-13 1 15,13-1 1,13-40 15,-13 14-31,13-13 16,0 13-16,1-27 15,-14 27-15,13-1 0,0 1 16,0-13-16,0 12 16,-13 1-16,14 13 15,-1 0-15,-13 13 16,13-13-1,-13 14-15,0-1 0,13 0 16,-13 14-16,0-1 16,0-13-16,-13 1 15,13-1-15,0 0 16,0 0-16,-13 0 16,13 1-1</inkml:trace>
  <inkml:trace contextRef="#ctx0" brushRef="#br0" timeOffset="87262.24">24302 12700 0,'79'-13'15,"-52"13"-15,-14-13 16,27 13-16,-14-14 16,1 14-1</inkml:trace>
  <inkml:trace contextRef="#ctx0" brushRef="#br0" timeOffset="89036.09">22146 13176 0,'13'0'16,"0"0"-16,0 0 0,1 0 16,-1 0-16,0 0 15,0 0-15,14-13 16,-14 0-16,0 13 0,0-13 0,14-1 15,-14 1-15,14 0 16,-14 0-16,0-1 0,0 1 16,0-13-16,14-1 15,-27 14-15,13 0 0,-13 0 0,0-14 16,13 14-16,-13-27 16,0 27-16,0-13 0,0-1 15,0 14-15,0 0 16,-13-1-16,13 1 0,0 0 0,0 0 15,-13-1-15,13 1 0,0 0 16,-13 13-16,13-26 0,-14 12 16,1 1-16,0 0 15,0 0-15,0 13 0,-1-14 16,1 14-16,-13-13 16,-14 13-1,27 0-15,-27 13 16,27-13-16,-14 0 15,14 14-15,-13-1 16,12 0-16,-12 14 16,26-14-16,-13 0 15,-1 13-15,14 1 16,0-1-16,0-12 0,0 12 16,0-13-16,0 14 15,14-1-15,-14-13 16,26 14-16,-13-1 15,-13-12-15,14-1 0,-1 0 16,-13 0-16,13-13 0,0 27 0,-13-14 16,14 0-16,-1 0 31</inkml:trace>
  <inkml:trace contextRef="#ctx0" brushRef="#br0" timeOffset="90969.08">22304 6112 0,'53'26'15,"-39"-26"-15,-1 0 0,0 0 0,0-13 16,0 13-16,14-13 0,-14 13 0,14-13 15,-14-1-15,13 14 0,-13-26 0,1 13 16,12-1-16,-13 1 0,14-13 16,-14-1-16,0 14 0,-13-13 15,14 12-15,-1-12 0,-13 13 16,13-14-16,-13 1 0,13 13 0,-13-14 16,0 14-16,0-14 0,0 14 0,0-13 15,-13-1-15,13 1 0,-13-14 16,0 14-16,-1-1 0,1 1 0,-13-1 15,12 14-15,1-13 0,-13 12 0,12 1 16,-12 13-16,0-13 0,-1 0 16,14 13-16,-14 0 0,1 0 0,0 0 15,-1 13-15,1-13 0,12 13 0,-12 0 16,-1 1-16,1-1 16,0 0-16,-1 14 0,14-14 0,-14 13 15,14-13-15,0 14 0,0-14 0,-1 14 16,1-14-16,0 13 0,13 1 15,-13-14-15,13 13 0,0-12 16,0 12-16,-13-13 0,13 1 0,13 12 16,-13-13-16,0 1 0,13 25 15,-13-26-15,13 1 0,-13-1 0,13 0 16,-13 0-16,14-13 0,-1 27 16,13-14-16,-12 0 15,-1-13-15,-13 13 16,13-13-16,-13 14 15,13-14 1,-13 13-16,14 0 31,-14 0-15,13-13 0,-13 14-1,26-14 126,-26-14-141,13 14 15</inkml:trace>
  <inkml:trace contextRef="#ctx0" brushRef="#br0" timeOffset="92280.05">2580 1416 0,'39'-14'15,"-25"14"-15,12-13 0,-13 13 0,14 0 16,12-13-16,1 0 0,0 13 15,0-14-15,-1 1 0,1 0 0,-14 13 16,1-13-16,-1 13 0,1-14 16,-1 14-16,-13 0 0,1-13 0,-1 13 15,0 0-15,0 0 0,1 0 16</inkml:trace>
  <inkml:trace contextRef="#ctx0" brushRef="#br0" timeOffset="92592.08">2408 1720 0,'-14'13'16,"54"-26"-16,-13 13 16,12-13-16,14 13 0,-13-14 0,26 1 0,0-13 15,0 12-15,1-12 0,65 0 16,-66-1-16,-13 14 0,-13 0 15,-1-1-15,1 14 0,0-13 0,-14 13 16,1-13-16,-14 13 16,0 0-16,0 0 0,0-13 0,1 13 0,-1 0 15,0 0-15,0-14 16,1 14-16,-1 0 16,0 0 15</inkml:trace>
  <inkml:trace contextRef="#ctx0" brushRef="#br0" timeOffset="94719.23">22278 9776 0,'26'14'32,"-12"-14"-17,-1 0-15,0 0 0,0 13 16,27-13-16,-14 0 0,-12 13 15,-1-13-15,13 0 0,-12 0 16,-1 0-16,0 0 0,0 0 0,14 0 16,-14 0-16,0 0 0,0 0 0,1 0 15,-1 0-15,0-13 16,14 13-16,-14 0 16,0-13-1,0 13 1,0-14-1,1 1-15,-14 0 16,13 0 0,0-1-16,-13 1 15,13 0-15,-13 0 16,14 13-16,-14-13 0,0-1 16,0 1-16,13 13 0,-13-13 0,0 0 15,13 13-15,-13-14 0,0 1 0,13 0 16,-13 0-1,0-1-15,0 1 0,0 0 16,0 0 0,0 0-16,0-1 0,0 1 15,0 0-15,-13 13 0,13-13 0,-13-14 16,13 14 0,-13 0-16,13-1 0,0 1 15,-14 13-15,14-13 16,-13 0-16,13 0 0,-13-1 15,0 14-15,13-13 16,-14 13-16,14-13 16,-13 13-16,13-13 0,-13 13 15,0 0-15,0-14 16,-1 14 0,1 0-16,0 0 0,0 0 15,-14-13-15,14 13 0,0 0 16,-1 0-16,1 0 15,0 0-15,0 0 0,0 0 0,-1 0 16,1 0-16,0 0 16,0 0-16,-1 0 0,1 13 0,0-13 15,0 0-15,0 0 0,-1 0 0,1 14 16,0-14-16,0 0 16,-1 13-16,1-13 0,0 0 15,0 13-15,-1-13 16,1 0-16,0 0 15,13 13-15,-13-13 0,-14 14 16,14-1-16,0-13 0,0 13 16,-1 0-16,1 0 15,0-13-15,0 14 0,-1-14 16,1 13-16,0 0 0,0 0 16,13 1-1,-13-14-15,13 13 0,0 0 16,13-13-16,-13 13 15</inkml:trace>
  <inkml:trace contextRef="#ctx0" brushRef="#br0" timeOffset="96015.36">21947 12356 0,'13'13'31,"1"0"-15,-1-13-16,0 0 0,0 14 16,1-14-16,-1 0 15,0 0-15,13 0 0,1 0 16,-14 0-16,0 0 0,14 0 16,13-14-16,-14 14 0,-13-13 15,14 13-15,-14 0 0,0-13 16,27 0-16,-14 13 15,1-13-15,-14-1 0,0 14 0,0-13 16,1 0-16,-1 13 0,0 0 16,14-13-16,-27-1 15,13 1-15,0 13 16,0-13-16,0 13 16,-13-13-16,14 0 15,-1 13-15,-13-14 0,0 1 16,13 13-1,0-13-15,-13 0 0,14-1 16,-14 1-16,13 13 16,-13-13-16,13 0 15,-13-1-15,13 1 16,-13 0 0,0 0-16,0 0 15,14-1-15,-14 1 16,0 0-1,0 0-15,0-1 0,0 1 16,-14 0-16,1 0 0,0-14 16,13 14-1,-27 0-15,27 0 0,-13-1 16,0 14-16,-14-26 0,14 13 16,-13 13-16,13-14 0,-1 1 15,1 13-15,-13-26 0,-1 26 16,14-13-16,0 13 0,0-14 15,-40 1 1,13 0-16,27 13 16,-1-13-16,1 13 0,-13 0 15,13 0-15,-1 0 16,1 0-16,0 0 0,0 0 0,-1 0 16,1 13-16,0-13 0,0 0 15,-1 13-15,1-13 0,0 13 16,0 1-16,-14-1 0,14-13 15,0 13-15,0-13 0,-14 26 16,14-26-16,-13 14 16,12-14-1,1 13-15</inkml:trace>
  <inkml:trace contextRef="#ctx0" brushRef="#br0" timeOffset="126413.2">20161 304 0,'-13'-26'16,"0"13"-16,13-1 31,-13 41-15,13-14-16,0 0 15,0 1-15,0 12 0,13 27 16,-13-40-16,0 14 16,0-14-16,0 13 0,0-13 0,0 1 15,0-1-15,0 0 16,0 0-16,0 1 0,-13-41 47,26 14-47,-13-14 15,13 14 1,0 0-16,14 26 31,-14-13-31,0 13 0,0-13 0,-13 14 16,14-1-16,-1-13 0,-13 13 15,0 0-15,13-13 0,-13 14 0,0-1 16,13-13-16,-13 13 0,14-13 16,-14 13-16,13-13 15,0 14 1,0-14-16</inkml:trace>
  <inkml:trace contextRef="#ctx0" brushRef="#br0" timeOffset="126936.33">20413 476 0,'-14'-13'16,"1"26"15,26 14-15,1-14-16,-1 0 0,0 0 15,0-13-15,-13 14 16,14-14-16,-1 0 0,0 0 16,0 13-16,0-13 0,1-13 15,-1 13-15,0 0 16,-13-14-16,13 14 0,-13-13 16,0 0-16,0 0 0,14 13 15,-14-14-15,0 1 16,0 0-1,0 39 17,0-12-17,13-1-15,-13 0 0,0 0 0,0 1 16,0 12-16,13-13 0,-13 1 16,0 12-16,0-13 0,0 0 0,0 14 15,0-1-15,0-12 16,-13-1-16,13 0 0,0 0 15,-27 14-15,14-14 16,0-13-16,0 0 0,-1 13 0,1-13 16,0 0-16,0 0 15,-14 0-15,14 0 0,0-13 16,0 0 0,-1 13-16,14-13 0</inkml:trace>
  <inkml:trace contextRef="#ctx0" brushRef="#br0" timeOffset="127357.34">20585 450 0,'13'13'15,"0"13"-15,-13-12 16,13-1-16,-13 13 0,14 1 15,-14-14-15,13 14 0,-13-14 16,0 0-16,13 0 0,-13 0 16,13 14-16,-13-14 0,0 0 15,0 1-15,-13-41 47,13 14-47,0 0 0,-13-1 16,13-25-16,0 26 15,0-1-15,0 1 0,0 0 16,13 13-16,-13-13 16,13-1-16,0 14 15,1 0-15,-1 0 16,-13 14-16,13-1 16,-26 0-16,13 14 15,-13-14-15,13 0 0,-27 13 16,14-12-16,0-14 15,13 13-15,-13-13 0</inkml:trace>
  <inkml:trace contextRef="#ctx0" brushRef="#br0" timeOffset="127694.45">20876 476 0,'-40'40'16,"40"-27"-1,0 0-15,0 1 0,0-1 16,0 0-16,0 0 16,13-13-16,0 14 15,14-14-15,-14-14 16,0 14-16,1 0 15,-14-13-15,0 0 16,0 0-16,0-1 16,-14 1-16,1 0 15,0 13-15,0-13 16,-1 13-16,1 0 16,0 13-16,0-13 15</inkml:trace>
  <inkml:trace contextRef="#ctx0" brushRef="#br0" timeOffset="127957.2">21074 278 0,'0'-13'15,"0"39"1,0 1-1,13-14-15,-13 26 16,0-12-16,0-1 0,0 14 16,0-14-16,0 1 15,0-14-15,0 0 16,0 14-16,0-14 0,0 0 16,14-13-16,-14 14 15,0-1-15,13-13 16</inkml:trace>
  <inkml:trace contextRef="#ctx0" brushRef="#br0" timeOffset="128326.21">21220 318 0,'0'-14'16,"0"54"0,0-27-16,0 0 15,0 14-15,13-1 16,-13-12-16,0-1 0,0 0 16,0 0-16,0 0 15,13 1 1,0-14-1,0 0 1,27 13 15,-27-13-31,1 0 16,-1 0-16,0 0 16,0 0-16,1 0 15,-14-13 1</inkml:trace>
  <inkml:trace contextRef="#ctx0" brushRef="#br0" timeOffset="128517.16">21048 516 0,'26'-27'16,"-13"27"-16,14-13 15,-14 0-15,40 0 0,-40 0 16,14 13-16,-1-14 0,-13 14 16,14-13-1,-14 13-15</inkml:trace>
  <inkml:trace contextRef="#ctx0" brushRef="#br0" timeOffset="129105.12">20598 966 0,'13'26'32,"0"-13"-32,1 54 15,-14-41 1,0-13-16,0 14 0,13-1 16,-13-13-16,0 1 0,0-1 15,0 0-15,13 0 16,-13 1-16,0-1 0,13-13 31</inkml:trace>
  <inkml:trace contextRef="#ctx0" brushRef="#br0" timeOffset="129327.07">20770 1005 0,'-13'-26'0,"26"52"31,-13-26-15,0 14-16,0-1 0,0 0 15,13 0-15,-13 14 0,13-1 16,-13-13-16,0 1 16,13-1-16,-13 0 15,14-13-15,-14 13 0,0 1 16</inkml:trace>
  <inkml:trace contextRef="#ctx0" brushRef="#br0" timeOffset="129568.12">20677 1177 0,'27'-26'16,"-14"13"-16,0 13 0,0 0 16,-13-14-16,14 14 15,25-13-15</inkml:trace>
  <inkml:trace contextRef="#ctx0" brushRef="#br0" timeOffset="129856.99">20995 1058 0,'-27'40'15,"27"0"1,0-27-1,13-13-15,-13 13 0,14-13 16,-1 0-16,0 0 16,14 0-16,-27-13 15,-53-80-15,119 173 16,-66-94-16,-13 1 16,-1 0-1,14 0-15,-13 13 16,0 0-16,0 0 0,-1 0 0,-25 13 15,12 0-15,14 0 16</inkml:trace>
  <inkml:trace contextRef="#ctx0" brushRef="#br0" timeOffset="130400.23">20717 1482 0,'0'-14'16,"13"41"-1,0-14 1,-13 0-16,0 1 15,14-1-15,-14 0 0,0 0 16,0 27-16,0-14 0,13-12 16,-13-1-16,0 0 15,13 0 1</inkml:trace>
  <inkml:trace contextRef="#ctx0" brushRef="#br0" timeOffset="130624.3">20876 1429 0,'0'-13'16,"0"-1"-16,0 54 31,13-53-31,-26 13 0,26 13 0,-13 0 16,13 0-16,-13 14 0,0-14 15,13 14-15,-13-1 16,14-13-16,-14 1 0,0-1 15,13 0-15,-13 0 16,13-13-16,-13 13 16</inkml:trace>
  <inkml:trace contextRef="#ctx0" brushRef="#br0" timeOffset="130824.05">20770 1640 0,'26'-26'16,"-26"13"-16,13 13 0,1-13 16,-1 13-16,13-14 15,-12 14-15,12-13 0</inkml:trace>
  <inkml:trace contextRef="#ctx0" brushRef="#br0" timeOffset="131252.09">21193 1482 0,'-13'0'16,"26"0"-16,-39-14 15,12 28 1,1-1 0,0 0-16,13 0 0,-13-13 15,13 27 1,0-14-16,0 0 0,13 1 31,0-14-31,0-14 16,1 1-1,-1 13-15,-13-13 0,13 13 16,-13-13-16,13 13 0,-13-14 31,27 28-31,-27-1 16,13 0-1,-13 0-15,0 1 16,13-1-16,-13 0 16,13-13-16</inkml:trace>
  <inkml:trace contextRef="#ctx0" brushRef="#br0" timeOffset="133367.2">21471 979 0,'13'-27'0,"0"27"16,14-13-16,-14 13 15,0 0-15,1-13 16,-1 13-16,0 0 0,0 0 15,0 0 1,-13 13-16</inkml:trace>
  <inkml:trace contextRef="#ctx0" brushRef="#br0" timeOffset="133611.97">21471 1085 0,'26'0'16,"1"0"0,-1 0-1,1 0 1,-1 0 15,-13-13-31</inkml:trace>
  <inkml:trace contextRef="#ctx0" brushRef="#br0" timeOffset="134211.22">22053 807 0,'40'26'31,"-27"-26"-31,0 0 16,-13 14-16,13-14 0,1 0 15,-1 0-15,-13 13 0,13-13 0,0 13 31,-13 14-15,-13-27-16,0 26 31,0-26-31,-1 13 0,1 0 16,0-13 0,13 14-16,-13-14 15,13 13-15,-14-13 0</inkml:trace>
  <inkml:trace contextRef="#ctx0" brushRef="#br0" timeOffset="134512.1">22437 794 0,'39'-13'0,"-25"13"16,-1 0-16,0 0 0,0 0 16,0 0-16,1 0 0</inkml:trace>
  <inkml:trace contextRef="#ctx0" brushRef="#br0" timeOffset="134701.1">22450 900 0,'26'0'31,"1"0"-15,-14 0-16,0 0 15,0-14-15,1 14 0,-1 0 0,0 0 16,14-13-16</inkml:trace>
  <inkml:trace contextRef="#ctx0" brushRef="#br0" timeOffset="135181.29">23098 714 0,'-26'0'16,"12"14"-16,1-1 0,0-13 16,0 13-16,0-13 15,-1 27-15,1-14 0,0-13 0,0 13 16,-1-13-16,14 13 16,-13-13-16,0 13 0,13 1 0,-13-14 15,13 13-15,0 0 31,13-13-31,0 13 0,0-13 16,1 0-16,25 0 16,-25 0-16,-1 0 0,0 0 15,27 0-15,-27 0 0,13-13 16,-12 13-16,-1 0 16,0 0-16,0 0 0,1 0 0</inkml:trace>
  <inkml:trace contextRef="#ctx0" brushRef="#br0" timeOffset="135485.07">23363 675 0,'0'0'15,"13"0"-15,0-14 16,0 14-16,1 0 15,-1 0 1,0 14-16</inkml:trace>
  <inkml:trace contextRef="#ctx0" brushRef="#br0" timeOffset="135635.26">23336 820 0,'40'-13'16,"-14"13"-16,-12-13 0,12 13 31,-13-13-31</inkml:trace>
  <inkml:trace contextRef="#ctx0" brushRef="#br0" timeOffset="136143.35">21908 767 0,'0'27'15,"0"-14"-15</inkml:trace>
  <inkml:trace contextRef="#ctx0" brushRef="#br0" timeOffset="136282.76">21947 807 0,'13'13'15,"1"0"1</inkml:trace>
  <inkml:trace contextRef="#ctx0" brushRef="#br0" timeOffset="136759.47">22728 595 0,'-14'27'47,"14"-14"-47,0 0 15</inkml:trace>
  <inkml:trace contextRef="#ctx0" brushRef="#br0" timeOffset="136889.07">22741 635 0,'0'0'15,"13"13"17,-13 0-17</inkml:trace>
  <inkml:trace contextRef="#ctx0" brushRef="#br0" timeOffset="137483.98">23535 463 0,'13'13'16</inkml:trace>
  <inkml:trace contextRef="#ctx0" brushRef="#br0" timeOffset="137627.93">23614 489 0,'0'14'0,"0"12"16</inkml:trace>
  <inkml:trace contextRef="#ctx0" brushRef="#br0" timeOffset="138277.01">21299 833 0,'-13'27'31,"13"-14"-31</inkml:trace>
  <inkml:trace contextRef="#ctx0" brushRef="#br0" timeOffset="138431.98">21497 688 0,'0'0'16,"0"13"-16,0 0 16,0 1-16,0-1 15</inkml:trace>
  <inkml:trace contextRef="#ctx0" brushRef="#br0" timeOffset="139852.07">21696 1416 0,'0'39'0,"0"-26"16,13 27-16,-13-27 0,13 1 15,-13-1-15,0 0 0,0 0 0,0 1 16</inkml:trace>
  <inkml:trace contextRef="#ctx0" brushRef="#br0" timeOffset="140033.43">21722 1759 0,'-13'14'16</inkml:trace>
  <inkml:trace contextRef="#ctx0" brushRef="#br0" timeOffset="140320.39">21934 1508 0,'26'-26'16,"-12"26"-16,-1 0 0,0-14 0,0 14 16,1 0-1,-1 0 1</inkml:trace>
  <inkml:trace contextRef="#ctx0" brushRef="#br0" timeOffset="140499.97">21947 1614 0,'-13'0'0,"39"13"31,1-26-16,-14 13 1,0 0-16,1-13 0,-1 13 16,0 0-16</inkml:trace>
  <inkml:trace contextRef="#ctx0" brushRef="#br0" timeOffset="141225.24">22754 1310 0,'-13'13'31,"-14"13"-15,14-12-16,0-14 15,0 13 1,0 13-16,-1-12 15,1-1-15,13 0 16,-13-13 0,26 13-16,0 0 15,1-13 1,-1 0-16,0 0 16,13 0-16,1 0 15,-14 0-15,0 0 16,14-13-1,-14 13-15,0 0 0,1 0 16</inkml:trace>
  <inkml:trace contextRef="#ctx0" brushRef="#br0" timeOffset="141759.62">23482 1177 0,'-13'0'0,"52"14"32,1-14-17,-27 0-15,14 13 0,-1 0 16,-13 0 15,-26 14-15,0-14-16,0 0 0,-27 27 15,27-27-15,-1 0 16,1-13-16,0 14 0,0-1 0,-14 13 16,14-12-16,0-14 0,13 13 15</inkml:trace>
  <inkml:trace contextRef="#ctx0" brushRef="#br0" timeOffset="146636.72">21365 1971 0,'-13'66'16,"0"-52"-16,-1-1 0,14 0 16,-13 0-16,0 0 0,13 1 0,-13-1 15,-1 0-15,1 0 0,0-13 0,0 14 16,0-1-16,-1-13 16,14 13-16,-26-13 0,13 0 15,-1 0-15,1 0 16,0-13-1,13 0 1,0-1 0,13 1-1,0 13 1,14 13 0,-14 1-16,0-14 0,1 13 15,-1 0-15,0-13 0,0 13 0,0-13 16,1 13-16,-1-13 0,0 14 15,0-14-15,1 13 0,-1-13 0,0 0 16,0 13-16,1-13 16,-1 0-16,0 0 0,0 0 0,0 0 15,1 0-15</inkml:trace>
  <inkml:trace contextRef="#ctx0" brushRef="#br0" timeOffset="148139.79">22463 1931 0,'13'-13'0,"-13"40"16,14-1-1,-14-13-15,0 1 16,0-1-16,13 0 0,-13 0 15,0 1-15,0-1 0,0 0 16,0 0-16,0 0 16,0 1-16,13-1 0,0 0 15</inkml:trace>
  <inkml:trace contextRef="#ctx0" brushRef="#br0" timeOffset="148380.57">22701 1998 0,'13'-14'16,"1"14"-16,-1-13 15,13 13-15,-12 0 16,-14-13-16,13 13 16,0 0-16,0-13 0,1 13 0</inkml:trace>
  <inkml:trace contextRef="#ctx0" brushRef="#br0" timeOffset="148747.03">23230 1799 0,'0'27'16,"-13"12"0,0-25-1,13-1-15,-13 0 0,0 0 16,-1 0-16,1 1 0,0-1 0,0-13 0,-1 13 15,1 0-15,0-13 0,0 14 16,-1-14 0,28-14 31,-1 28-32,27-14 1,-27 0-16,0 0 0,0 0 0,1 0 15,25 0-15,-26 0 16,1 0-16,-1 13 16,0-13-16</inkml:trace>
  <inkml:trace contextRef="#ctx0" brushRef="#br0" timeOffset="154521.22">18666 4194 0,'14'-14'32,"52"14"-17,-13 0-15,0 0 0,-1 0 16,28 0-16,-1 0 0,-13-13 0,14 13 15,158 0 1,-172 0-16,-13 0 0,13 13 0,-13-13 16,-13 0-16,-1 0 0,-12 0 0,-14 0 15,14 0 1</inkml:trace>
  <inkml:trace contextRef="#ctx0" brushRef="#br0" timeOffset="154707.45">19090 4260 0,'53'13'16,"-40"-13"-16,27 0 0,12 0 0,1 0 16,0 0-16,0 0 0,13 0 15,-13 0-15,13 0 0,-13 13 16,0-13-16,-13 0 0,0-13 0,-1 13 0</inkml:trace>
  <inkml:trace contextRef="#ctx0" brushRef="#br0" timeOffset="148354">16417 9803 0,'0'13'16,"0"27"-1,0-27 1,0 0-16,0 0 0,-26 40 15,26-39-15,-13 12 0,13-13 16</inkml:trace>
  <inkml:trace contextRef="#ctx0" brushRef="#br0" timeOffset="148521.87">16907 10186 0,'-27'120'0,"27"-107"0,-13 13 0</inkml:trace>
  <inkml:trace contextRef="#ctx0" brushRef="#br0" timeOffset="149390.94">6853 9803 0,'-27'79'0,"14"-66"16,13 1-16,-13 25 16,13-25-16</inkml:trace>
  <inkml:trace contextRef="#ctx0" brushRef="#br0" timeOffset="149510.08">7183 9895 0,'14'53'16,"-14"-39"-16,0-1 0,0 0 0</inkml:trace>
</inkml:ink>
</file>

<file path=ppt/ink/ink19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42:32.339"/>
    </inkml:context>
    <inkml:brush xml:id="br0">
      <inkml:brushProperty name="width" value="0.05292" units="cm"/>
      <inkml:brushProperty name="height" value="0.05292" units="cm"/>
      <inkml:brushProperty name="color" value="#0070C0"/>
    </inkml:brush>
  </inkml:definitions>
  <inkml:trace contextRef="#ctx0" brushRef="#br0">19275 4101 0,'-13'0'31,"39"13"126,-13 1-142,1-1 1,-1-13 0,0 13-1,0 0-15,1-13 16,-1 0-1,-13 13 1,13-13-16,-13 14 31,-13-14 1,0 13-17,-1 0-15,1-13 16,13 13-16,-13-13 0,13 14 15,-13-14-15,13 13 0,-14-13 16,1 13-16,0 0 16,0 0-1,-1 1-15,1-1 16,0 0 0,0 0-1,0 1 16,26-14 63,0-14-78,0 14-16,0-13 15,1 13-15,-14-13 0,13 0 16,0 13 0,0 0-16,-13-14 0,14 14 0,-14-13 15,13 13-15,0-13 0,0 0 16,1 0 0,-1-1-1,0 1 16,0 0-15,0 13 15,-13-13 1,-13-1 46,0 1-47,0 13-15,0-13-1,-1 13-15,14-13 16,-13 13-16,13-13 15,-13 13-15,0-14 16,-14 1 0,14 13-1,0-13 1,-1 13-16,1 0 16,0 13-1</inkml:trace>
  <inkml:trace contextRef="#ctx0" brushRef="#br0" timeOffset="3513.03">18918 5398 0,'119'-14'0,"13"14"15,-79-13-15,26 13 16,-12-13-16,-1 13 0,0 0 0,13-13 16,-26 13-16,0-14 0,-13 14 0,13 0 15,-14-13-15,1 13 0,-14 0 16,1 0-16,-14-13 0,0 13 0,1 0 15</inkml:trace>
  <inkml:trace contextRef="#ctx0" brushRef="#br0" timeOffset="3738.87">19090 5490 0,'-14'13'15,"54"-26"-15,13 13 16,-13-13-16,-1 13 0,28-13 0,-1 13 16,0-14-16,13 1 0,-13 13 15,1-13-15,-15 13 0,-12-13 0,13 13 16,-13-13-16,13 13 0,-27-14 16,14 1-1,-27 13-15</inkml:trace>
  <inkml:trace contextRef="#ctx0" brushRef="#br0" timeOffset="4872.06">5305 12263 0,'53'14'16,"-40"-14"-16,14-14 0,-1-12 15,0 0-15,1 12 0,-14-12 0,14-1 16,-14-12-16,0 12 0,0 14 0,-13-13 15,13 12-15,-13 1 0,0 0 16,-13 0-16,13-1 0,-13 14 0,0 0 16,-14 0-16,1 27 15,-14-14-15,1 14 0,-1-1 0,0 14 16,0-1-16,-12 28 0,38-41 16,1-13-16,13 14 0,-13-14 15,13 0-15,13 0 0,0 1 16,1-14-16,-1 0 0,13 0 0,1-14 15,-1 1-15,-13 0 0,14 0 16,-14-14-16,0 27 0,1-13 16,-14 0-16,0 0 0,0-1 0,-14 1 15,1 13-15,0 0 0,-14 0 16,1 0-16,-1 13 0,-52 14 16,53-14-16,-14 13 15,27-26-15,-1 14 0</inkml:trace>
  <inkml:trace contextRef="#ctx0" brushRef="#br0" timeOffset="6190.96">18071 6244 0,'0'27'16,"0"-14"0,-13 40-1,13-40-15,0 53 16,0-53-16,-13 14 0,13-1 15,0 27 1,0-26-16,0-14 0,0 0 16,0 0-16,0 1 15</inkml:trace>
  <inkml:trace contextRef="#ctx0" brushRef="#br0" timeOffset="6412.1">18217 6324 0,'0'-40'0,"0"27"16,0 52-1,0-25 1,0-1-16,0 0 0,0 0 16,0 14-16,0-14 0,0 27 15,0-27-15,0 0 0,0 14 0,13-14 16,-13 0-16,0 0 0,0 0 15,0 1-15,0-1 16,0 0-16</inkml:trace>
  <inkml:trace contextRef="#ctx0" brushRef="#br0" timeOffset="6640.13">18071 6522 0,'-13'0'0,"26"-13"16,0 13-16,27-13 31,-14-1-15,-12 14-16,-1 0 0,13 0 0,1-13 15</inkml:trace>
  <inkml:trace contextRef="#ctx0" brushRef="#br0" timeOffset="7033.86">18468 6376 0,'-13'-13'0,"-1"26"15,14 1-15,-13-1 0,13 0 0,0 0 16,0 1-16,0-1 0,0 0 16,0 0-16,0 1 15,13-1-15,1 0 0,12 0 16,1-13-1,-14-13 1,0 13-16,-13-13 16,13 13-16,-13-13 0,0-1 0,0 1 15,-13-27 1,0 27 0,0 0-16,-1 0 0,1 13 31,0 0-31,0 0 31</inkml:trace>
  <inkml:trace contextRef="#ctx0" brushRef="#br0" timeOffset="8273.95">19050 6271 0,'-26'0'0,"12"13"0,1-13 16,0 13-16,0-13 0,-27 27 16,27-14-16,-1-13 15,1 13-15,0 0 0,0-13 16,0 13-16,-14 1 16,14-1-16,26 0 46,14-13-30,-14 13-16,13-13 16,1 0-16,-14 0 15,0 0-15,0 0 0,-13 14 16,27-14-16,-14 0 16,0 0-1,1 0-15,-1 0 16,13-14-1,-13 14 1</inkml:trace>
  <inkml:trace contextRef="#ctx0" brushRef="#br0" timeOffset="8519.37">19341 6257 0,'13'-13'16,"14"13"-1,-1 0-15,-13 13 16,1-13-1,-14 14-15</inkml:trace>
  <inkml:trace contextRef="#ctx0" brushRef="#br0" timeOffset="8698.87">19301 6416 0,'-13'13'15,"53"-13"1,-27 0-16,14-13 16,-14 13-1,13 0 1</inkml:trace>
  <inkml:trace contextRef="#ctx0" brushRef="#br0" timeOffset="9607.75">19698 6588 0,'13'-40'31,"1"27"-31,-14 0 16,0 0-16,13-14 0,-13 14 0,0-13 0,0-1 15,13 1-15,-13 12 16,0-12-16,0 13 0,13-27 15,-13 27-15,0 26 47,0 0-47,0 1 0,0-1 16,0 0-16,14 0 16,-14 14-16,13-14 0,-13 0 15,0 0-15,13-13 0,-13 14 0,13-14 16,-13 13-16,14-13 0,12 0 15,0-13 1,-12-14 0,-1 14-16,0 0 15,0-1-15,-13 1 16,14 0 0,-14 0-1,0 39 32,0-13-31,13 1-16,-13-1 0,0 0 15,13 0 1,0 1 0,0-14-1,1 0 16,-1 0-15,0 0 0,0 0-1,-13 13 1,14-13-16,-1 0 16,13 0-1,-12 0-15,-14-13 0,13 13 16,0-14-16,0 14 15,-13-13 1,0 0-16,-26 0 16,-1 13-1,1 13 1,13-13-16,-1 13 16,1-13-16,13 13 0,-13-13 15</inkml:trace>
  <inkml:trace contextRef="#ctx0" brushRef="#br0" timeOffset="10244.34">18111 7263 0,'0'39'16,"0"-12"-16,13-14 0,-26 0 0,13 14 16,0-14-16,0 14 0,0-1 0,0-13 15,0 0-15,0 14 0,0 26 16,0-40 0,0 0-16,0 1 0,0-1 0,0 0 15</inkml:trace>
  <inkml:trace contextRef="#ctx0" brushRef="#br0" timeOffset="10467.2">18256 7329 0,'0'-27'0,"0"54"46,0 13-30,0-14-16,0-13 0,0 1 0,13 12 16,-13-13-16,0 0 15,0 14-15,14-14 0,-14 0 0,0 1 0,0-1 16,13 0-16,-13 0 0,0 1 16</inkml:trace>
  <inkml:trace contextRef="#ctx0" brushRef="#br0" timeOffset="10668.67">18137 7567 0,'13'-13'0,"1"13"16,-1-13-16,0 13 0,0 0 0,1 0 16</inkml:trace>
  <inkml:trace contextRef="#ctx0" brushRef="#br0" timeOffset="11028.76">18508 7448 0,'-67'0'0,"54"0"15,0 13-15,0 0 16,13 1 0,0-1-1,13-13-15,0 0 16,0 0-1,1 0-15,-1-13 16,0 26 15,0-13-15,-13 13-16,14 0 16,-1 14-1,-13-14 1,13 0-1,0 1 1</inkml:trace>
  <inkml:trace contextRef="#ctx0" brushRef="#br0" timeOffset="11614.77">18878 7223 0,'40'0'31,"13"13"-15,-27-13 0,-13 0-16,14 0 0,-1 14 0,14-14 15,-14 0-15,-12 13 0,12-13 0,-13 0 16,1 13-16,-1-13 16,-13 13-16,13-13 0,-13 13 15,-13 14-15,0-14 16,-1 0-16,1 14 0,0-14 15,-14 0-15,14 14 0,-13-14 0,-1 0 16,14 0-16,0 1 0,-14-1 0,14 0 16,0 0-16,0 1 0,-1-14 15,1 13-15,0 0 16,39-13 15</inkml:trace>
  <inkml:trace contextRef="#ctx0" brushRef="#br0" timeOffset="12460.22">19579 7474 0,'0'14'0,"13"-41"78,1 14-78,-14 0 16,13-27-1,0 27-15,-13-14 16,13 14-16,-13 0 0,0 0 0,0-1 0,14 1 16,-14 0-16,0 0 15,13 0-15,-13-1 16,0 41 15,0-14-15,0 27-1,0-27-15,13 0 0,0 14 16,0-14 0,14 0-1,-14-13-15,14-13 31,-14 13-31,0-13 16,0-1 0,1-12-1,-14 13 1,13-1 0,-13 1-16,0 40 31,0 12-16,0-25 1,0 12 0,0-13-16,0 1 0,13-1 15,-13 0-15,13 0 0,0 0 16</inkml:trace>
  <inkml:trace contextRef="#ctx0" brushRef="#br0" timeOffset="12794.33">20029 7382 0,'-13'26'0,"13"-12"15,0-1 1,13-13 15,0 0-31,-13-13 0,13 13 16,-13-14-16,0-12 31,-13 26-31,0-13 16,-14 13-1,14 13 17</inkml:trace>
  <inkml:trace contextRef="#ctx0" brushRef="#br0" timeOffset="13767.57">17291 10358 0,'-14'93'0,"14"-53"16,0-1-16,-13 67 0,0-53 16,0 13-16,-1 0 15,14-13-15,-13 14 0,0-1 0,13-13 16,-13 13-16,-1-27 0,1 1 0,13-13 0,0-1 15</inkml:trace>
  <inkml:trace contextRef="#ctx0" brushRef="#br0" timeOffset="13990.26">17621 10583 0,'-13'53'16,"13"-26"-16,-13 12 16,0 1-16,-1 0 0,1 13 0,0 13 0,-14-13 15,14 0-15,0 0 0,0 13 16,-1-13-16,14 0 0,-26 26 16,26-39-16,0-14 0,0-13 15,0 14-15</inkml:trace>
  <inkml:trace contextRef="#ctx0" brushRef="#br0" timeOffset="14214.69">18018 10597 0,'-26'92'0,"26"-52"15,-40 79 1,14-26-16,12-1 16,1-52-16,0-1 0,0 1 15,13 0-15,-14 13 16,14-40-16,14 0 0</inkml:trace>
  <inkml:trace contextRef="#ctx0" brushRef="#br0" timeOffset="14426.87">18574 10610 0,'-13'26'0,"-1"14"16,1-14-16,0 14 15,0 0-15,-14 13 0,1-14 0,12 14 16,-12 0-16,0 0 0,12 0 0,-12-13 15,13-1-15,-1 1 0,1-13 16,0-1-16,13-13 0,-13 0 0,13 1 16</inkml:trace>
  <inkml:trace contextRef="#ctx0" brushRef="#br0" timeOffset="14647.94">18799 10716 0,'13'-14'16,"-26"28"-16,26-1 16,-13 0-16,0 0 0,-13 14 0,13-1 15,-14 14-15,1 0 0,0-1 0,0 14 16,-1 0-16,-12 0 16,13 0-16,0-27 0,-1 14 0,1 0 0,13-1 15,-13-12-15,0-1 0,13 1 16,-14-14-16,14 14 15,0-14-15,-13 0 0</inkml:trace>
  <inkml:trace contextRef="#ctx0" brushRef="#br0" timeOffset="15155.9">17396 10649 0,'-66'133'0,"53"-94"0,-13 1 0,12 26 16,-12-13-16,-1 0 0,1 13 15,13 0-15,-14-13 0,1 13 0,-27 54 16,40-68-16,-1-12 15,1 0-15,0 0 0,0-27 0,13 13 16</inkml:trace>
  <inkml:trace contextRef="#ctx0" brushRef="#br0" timeOffset="15390.93">17304 10478 0,'-53'251'15,"40"-185"-15,-1 0 16,1 0-16,0 14 0,0-14 0,-1 13 16,1 1-16,0-14 0,13 0 0,-26 119 15,26-145-15,0-1 16,13-12-16,-13-14 15,13 0-15</inkml:trace>
  <inkml:trace contextRef="#ctx0" brushRef="#br0" timeOffset="15614.88">17873 10530 0,'-27'53'15,"14"-39"1,0 25-16,-1 1 0,-12 0 0,13 13 16,-14-1-16,14 15 0,-13-14 0,12 13 15,-12 0-15,13 0 0,-14 0 0,14 0 16,0 0-16,0-13 0,-1 13 0,1 14 16,13-40-1,0-14-15,0 0 0,0-12 0</inkml:trace>
  <inkml:trace contextRef="#ctx0" brushRef="#br0" timeOffset="15835.91">18322 10676 0,'-79'106'15,"66"-80"-15,-14 27 0,14-13 0,-13 0 16,12 12-16,-12 1 0,13 0 0,-27 53 16,27-27-16,0-39 15,13 0-15,-14-14 0,14 1 16,0-1-16,14 1 0</inkml:trace>
  <inkml:trace contextRef="#ctx0" brushRef="#br0" timeOffset="16042.12">18944 10623 0,'-13'40'16,"0"-27"0,-1 13-16,1 1 0,0 13 15,-13-1-15,-1 14 0,-13 53 16,14-53-16,-1-13 0,14 12 0,-13-12 15,-1 0-15,14-14 0,0 27 16,13-40-16,0 1 0</inkml:trace>
  <inkml:trace contextRef="#ctx0" brushRef="#br0" timeOffset="16204.64">19301 10689 0,'-158'291'0,"25"-106"16,94-132-1,-1 13-15,0-13 0,1 0 16</inkml:trace>
</inkml:ink>
</file>

<file path=ppt/ink/ink19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42:58.912"/>
    </inkml:context>
    <inkml:brush xml:id="br0">
      <inkml:brushProperty name="width" value="0.05292" units="cm"/>
      <inkml:brushProperty name="height" value="0.05292" units="cm"/>
      <inkml:brushProperty name="color" value="#0070C0"/>
    </inkml:brush>
  </inkml:definitions>
  <inkml:trace contextRef="#ctx0" brushRef="#br0">20479 3215 0,'13'-14'0,"-39"28"78,-1 12-62,14-26-16,0 13 0,-1-13 0,-12 27 15,13-14-15,-1-13 16,1 13-16,0 1 0,0-14 0,13 13 16,-13-13-16,-1 13 15,1 0-15,13 0 16,0 14 0,0-14-16,0 0 15,13-13-15,14 40 16,-14-40-16,0 13 0,-13 0 15,13 1-15,1-1 0,-1-13 16,0 13-16,0 0 0,14-13 0,-27 14 16,13-14-16,14 13 0,-14 0 0,0-13 15,-13 13-15,13 1 0</inkml:trace>
</inkml:ink>
</file>

<file path=ppt/ink/ink19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43:30.862"/>
    </inkml:context>
    <inkml:brush xml:id="br0">
      <inkml:brushProperty name="width" value="0.05292" units="cm"/>
      <inkml:brushProperty name="height" value="0.05292" units="cm"/>
      <inkml:brushProperty name="color" value="#0070C0"/>
    </inkml:brush>
  </inkml:definitions>
  <inkml:trace contextRef="#ctx0" brushRef="#br0">12898 4167 0,'14'0'62,"-1"13"-62,27-13 16,-1 0 0,-25 0-1,-1 0-15,0 0 16,13 0-16,-12 0 0,25 0 15,-25 0 1,-1 0-16,0 0 16,0 0-1,-52 0 17,12 14-17,1-14-15,12 0 16,1 0-16,0 0 0,0 0 15,-14 0-15,14 0 16,0 0-16,0 0 16,-1 13-16,41-13 47,-14 0-47,0 0 0,1 0 15,-1 0-15,0 0 16,0 0-16,14 0 0,-14 0 0,0 0 0,0 0 15,1 0-15,-14-13 0,13 13 16,0 0-16,0 0 16,0 0-16,1 0 15,-41 13 48,14-13-48,0 0-15,0 0 0,13 13 16,-14-13 0,1 0-16,40 0 78,-1 0-63,-13 0-15,0 0 16,1 0 0,-1 0 15,-53-13 0,14 13-31,13 0 16,-14 0-16,14 0 0,0 0 15,-1 0-15,1 0 0,0 0 0,0 0 16,0 0-16,-14 0 16,1 0-1,52-13 63,-13 13-62</inkml:trace>
  <inkml:trace contextRef="#ctx0" brushRef="#br0" timeOffset="4779.46">2844 10663 0,'-13'13'0,"40"-26"78,-27-1-63,13-12 1,0 13-16,-13 0 0,0-1 0,26-25 16,-26 12-1,0 14-15,0 0 0,14-14 0,-14 14 16,0 0-16,0 0 0,0-1 0,13 1 16,-13 0-16,0 0 15,0-1 1,0 1-16,0 53 47,0 0-32,13-27-15,-13 0 0,27 27 16,-27-27 0,26 13-1,-13-26-15,0 0 0,1 0 16,-1 0-16,0 0 0,14-26 15,-14 13 1,-13 0-16,13-1 0,0-12 16,1 13-16,-14-1 0,13 1 15,-13 0-15,13-27 16,-13 27-16,0 0 0,0 0 16,13-1-1,-13 41 32,0-14-47,0 0 0,0 40 16,0-26-16,13-14 0,-13 27 15,0-14-15,0-13 16,14 0-16,-14 1 0,26 25 16,-13-12-1,1-27 1,-14 13-16,13-13 0,0 0 15,0 0 1,1 0 0</inkml:trace>
  <inkml:trace contextRef="#ctx0" brushRef="#br0" timeOffset="6311.17">3003 11642 0,'-13'26'16,"13"-13"-16,-13 1 16,13-1-16,-14 0 0,-12 14 15,-1 12 1,14-26-16,0-13 15,0 14-15,13-1 0,-13-13 0,-1 0 16,1 13 0,0-26-16,0 13 15,13-13-15,-14-1 0,14 1 16,-13-26 0,13 25-16,0 1 0,0 0 0,0 0 15,13-1-15,-13 1 0,14-40 16,-1 40-16,0 13 15,-13-13-15,13 0 0,1 13 0,-1-14 16,0 1-16,0 13 0,40-13 16,-26 13-16,12 0 15,-12 0-15,-1 0 0,1 0 16,26 0 0,-27 13-16,-13-13 0,14 0 0,-1 0 0,1 0 15,-14 0-15,13 13 0,-12-13 0,-1 0 16,13 0-16,-13 0 0,1 0 15,12 14 1,-13-14-16,1 0 16,-1 0-16</inkml:trace>
  <inkml:trace contextRef="#ctx0" brushRef="#br0" timeOffset="7172.06">2633 9512 0,'0'26'16,"0"1"-16,0-14 0,13 0 0,-13 27 16,0-14-1,0-12-15,0-1 0,0 0 0,0 0 0,0 0 16,13 27-1,-13-27-15,0 1 16,0-1-16,0 0 31</inkml:trace>
  <inkml:trace contextRef="#ctx0" brushRef="#br0" timeOffset="7530.28">2606 9499 0,'13'-27'15,"1"14"-15,-1 13 16,13 0-16,-12 13 0,-1-13 16,13 13-1,-13 1-15,1-1 0,-14 0 0,13 0 16,-13 0-16,-13 1 0,13-1 16,-14 0-16,14 0 0,-39 27 15,26-40 1,-14 27-16,14-27 0,0 13 0,-1-13 15,14 13-15,-13-13 16,13 13-16,-13-13 16</inkml:trace>
  <inkml:trace contextRef="#ctx0" brushRef="#br0" timeOffset="7940.19">2844 9684 0,'-13'13'16,"13"0"-16,0 0 0,0 14 15,13-27 1,-13 13-16,0 0 0,14 1 16,-1-14-16,13 13 15,-13-13 1,1 0-16,12-27 16,-26 14-1,0 0-15,-13 13 16,0-27-1,-1 14-15,1 13 16,0-13-16,0 13 16,0 0-1,-14 13 1,14-13-16</inkml:trace>
  <inkml:trace contextRef="#ctx0" brushRef="#br0" timeOffset="8413.29">3016 9551 0,'13'0'15,"-13"14"-15,14 12 0,-14-13 0,0 1 0,13-1 16,-13 0-16,13 14 0,-13-14 15,0 0-15,13 13 0,-13-12 16,14-1-16,-14 13 0,0-12 0,13-1 16,-13 0-16,0 0 0,0 0 15,13 1-15,-13-1 0,0 0 16,0 0 0,-13-39 15,13 13-31,0-14 0,-13 14 15,13-27 1,13-13 0,-13 40-16,13 0 0,-13 0 15,13 0-15,1-1 16,-1 14-16,0 0 0,0 0 16,0 14-16,1-14 15,-14 13-15,0 0 16,-14 13-16,1-12 15,0-1-15,0 0 16,0 0-16,-1-13 0,1 14 16</inkml:trace>
  <inkml:trace contextRef="#ctx0" brushRef="#br0" timeOffset="9570.96">7766 9551 0,'-14'-13'16,"1"13"-16,0 13 0,0-13 15,-14 14 1,14-14-16,0 13 0,-1-13 0,1 13 16,0 0-16,0-13 0,0 0 0,13 14 15,-14-14-15,14 13 0,-13-13 16,13 13-16,0 0 16,0 1-1,13-14-15,1 13 0,-1-13 16,0 0-16,0 13 0,0-13 0,1 13 15,-1-13-15,0 13 0,0-13 16,1 0-16,-1 14 0,0-14 0,0 13 16,-13 0-16,14-13 15,-14 13-15,-14 1 16,1-1-16,13 0 16,-13-13-16,0 13 0,-1-13 0,1 13 0,0-13 15,0 0-15,-14 14 16,14-14-16,0 0 0,0 0 15,-1 0-15,1 0 0,0 0 16,0 0-16,-1 0 16,54-14 31,-27 14-47</inkml:trace>
  <inkml:trace contextRef="#ctx0" brushRef="#br0" timeOffset="10492.43">8070 9631 0,'-53'-13'0,"26"13"15,27 13-15,-13-13 16,0 0-16,0 13 0,13 0 16,-13-13-16,13 14 15,0-1-15,0 13 16,26-26 0,0 0 15,1-13-16,-14 0 1,0 0 0,-13-1-16,14 14 15,-28 14 17,28-1-17,-14 0 1,0 0-1,13-13-15,0 0 32,13 0-17,-12-13-15,12 0 16,-13 13-16,1 0 16,-1 0-1,13 0 1,-12 13-16,-1 0 15,0 0 1,-13 1 0,0-1-1,13-26 48,0-1-48,1 14 1,-1 0 0,0 0 15,0 0 0,-13-13-15,14 13-16,-1-13 15,-13 0 1,13 13-16,0 0 16,1 13-1,-1-13-15,0 13 16,0 0-16,-13 1 16,13-14-1,-13 13-15,14-13 0,-14 13 16,13-13-16,0 0 15</inkml:trace>
  <inkml:trace contextRef="#ctx0" brushRef="#br0" timeOffset="10978.49">8665 9538 0,'0'-13'16,"-13"39"-16,13-12 0,0-1 16,0 0-16,0 14 0,0-14 0,0 13 15,13 1-15,-13-1 0,0 14 16,13 0-16,-13-14 0,0 0 0,14 14 16,-14-13-16,13-1 0,-13-13 15,0 14-15,0-14 0,13 0 0,-13 0 16,0 14-16,0-14 15,13 0-15,-13 1 16,-13-54 15,13-13-15,0 27-16,13-1 16,-13 1-16,0-1 0,13 1 15,1-14-15,-1 14 0,-13 12 16,13 1-16,0 0 0,1 0 15,-1 13-15,0 0 16,0 13-16,-13 0 16,0 0-16,-13 40 15,13-40-15,-13 1 16,0-1-16,13 0 0,-14-13 16,14 13-16,-13 1 0,0-14 15,13 13-15</inkml:trace>
  <inkml:trace contextRef="#ctx0" brushRef="#br0" timeOffset="11437.03">8996 9499 0,'-13'26'47,"13"-13"-47,0 0 0,0 14 0,-14-14 15,14 40 1,0-40-16,14 14 0,-14-1 16,0-13-16,13 1 0,0-1 15,0 0-15,1-13 16,-1 0-16,0 0 0,0 0 0,0 0 15,1-13-15,-1 0 0,0-1 0,0 1 16,1 0-16,-1 0 0,-13 0 16,13 13-16,-13-14 0,13 1 15,-13 0-15,-13 39 32,13-12-32,-13-1 15,13 26 1,-13-25-16,13-1 0,13 0 15,-13 0-15,13 1 16,0-14-16,1 13 16,-1-13-16,0-13 15,0 13 1,0-14-16</inkml:trace>
  <inkml:trace contextRef="#ctx0" brushRef="#br0" timeOffset="13090.3">463 10557 0,'0'26'16,"0"-12"-1,13-1-15,-13 0 16,0 13 0,13-12-1,-13-41 16,14 1-15,-1 13 0,-13-1-16,13 14 0,0-26 15,1 26-15,-1 0 16,0 0-16,14 0 16,-27 13-16,26 0 15,-13 1-15,0-1 16,-13 0-16,14-13 15,-14 13-15,0 0 16,13-13-16,0-13 31,-13-13-15,0 13-16,0-1 16,13 14-16,-13-13 15,14 13-15,-1-13 16,13 26-1,-12 0-15,-1 1 16,-13-1-16,13-13 0,0 39 16,0-25-16,-13-1 15,0 0-15,14 14 16,-14-14 0,13-13-16</inkml:trace>
  <inkml:trace contextRef="#ctx0" brushRef="#br0" timeOffset="13525.42">1085 10689 0,'13'-53'0,"-13"40"16,0 0-16,0 0 15,0-1-15,0 1 16,-13 13-16,13-13 16,-13 26-1,-1 14 17,14-14-32,0 0 0,0 0 15,0 0-15,0 1 16,14-14-16,-14 13 0,13-13 0,-13 13 15,13-13-15,0 0 0,0 13 0,1-13 16,-1 0-16,0-13 0,0 13 16,14 0-16,-14-13 0</inkml:trace>
  <inkml:trace contextRef="#ctx0" brushRef="#br0" timeOffset="14321.59">1442 10530 0,'-26'-13'16,"12"13"-16,1 0 0,0 13 15,0-13 1,-1 14-16,1-1 16,0 0-1,13 0 1,0 1-1,0-1-15,0 0 16,0 0 0,26-26 31,-26 0-32,14 13 1,-14-13-16,13-1 31,0 28 32,-13-1-48,13-13 1,-13 13-16,14-13 15,-1 13 1,0-13 0,0 0-1,0 0-15,1-13 32,-1 13-32,0-13 15,0 13 1,1-13 15,-1 26-15,0-13-1,0 13-15,1-13 32,-1 0-17,0 0 16,13 0-15,-12-13-16,-1 13 16,0-13-1,0 13-15</inkml:trace>
  <inkml:trace contextRef="#ctx0" brushRef="#br0" timeOffset="15545.97">913 11681 0,'-53'14'16,"40"-1"-16,-1 0 16,-12 0-16,13 1 0,0-1 0,-1 0 15,1 0 1,13 0 0,13 1-1,1-14-15,12 13 16,-13-13-16,0 0 0,27 26 15,-13-26 1,-14 14-16,0-1 0,0-13 16,0 0-16,-13 13 0,14 0 15,-14 0-15,-14 1 16,14-1-16,-13 0 0,0-13 16,0 13-16,0 1 0,-14-1 0,14 0 15,-14-13-15,14 13 0,-13-13 16,13 14-16,-14-14 0,14 0 0,0 0 15,-1 0-15,1 13 0,0-13 16</inkml:trace>
  <inkml:trace contextRef="#ctx0" brushRef="#br0" timeOffset="15947.02">1072 11867 0,'-14'0'16</inkml:trace>
  <inkml:trace contextRef="#ctx0" brushRef="#br0" timeOffset="16335.95">1310 11628 0,'0'27'63,"13"-14"-63,-13 0 0,0 1 15,0 12-15,0-13 0,0 1 0,0 12 16,0 0-16,0-12 0,0-1 0,13 13 16,-13-12-16,0-1 0,0 0 15,0 0-15,0 0 0,0 1 0,0-1 16,0 0-16,0 0 16,13-13-16</inkml:trace>
  <inkml:trace contextRef="#ctx0" brushRef="#br0" timeOffset="16673.02">1230 11721 0,'40'-53'0,"-27"40"0,27 13 16,-14 0-1,-12 0-15,12 0 0,-13 13 0,14 0 16,-14 1-16,0-1 0,14 0 0,-14 14 15,-13-14-15,13 26 16,-13-25-16,0 12 0,-13 1 0,0-1 16,-14 0-16,14 1 0,-40 13 15,27-27-15,12 13 0</inkml:trace>
  <inkml:trace contextRef="#ctx0" brushRef="#br0" timeOffset="18547.91">1601 10636 0,'0'-13'16,"0"39"0,0-12-16,0-1 15,0 0 1,0 0-16,0 1 15,13-28 48,-13 1-47,13 0-16,0 13 15,1 0 1,-14-13-1,26 13-15,-13 0 16,1 0-16,25-14 16,1 1-1</inkml:trace>
  <inkml:trace contextRef="#ctx0" brushRef="#br0" timeOffset="23460.04">7938 10504 0,'13'-40'15,"0"40"-15,0-13 16,14 13 0,-14 0-16,0 0 0,0 0 0,1 0 0,-1 13 15,0-13-15,0 0 0,0 14 16,-13-1-16,14-13 0,-1 13 0,-13 0 15,0 0-15,0 1 0,0-1 16,-13 27 0,-1-27-16,14 0 0,-13 0 0,0 0 15,0 1-15,13-1 0,-13-13 16,-1 13 0</inkml:trace>
  <inkml:trace contextRef="#ctx0" brushRef="#br0" timeOffset="23749.98">8281 10464 0,'-13'0'16,"-13"14"-1,13-1 1,-1 0-16,14 0 15,-13 0-15,13 1 16,0-1-16,13 13 31,1-12-31,-1-1 16,0-13-16,0 0 16,0 13-16,1-26 15,-1 13-15,0 0 16,0-13-16,1 13 15,-14-14-15</inkml:trace>
  <inkml:trace contextRef="#ctx0" brushRef="#br0" timeOffset="24239.77">8017 10292 0,'26'0'15,"-12"0"-15,-1 0 0,0 0 0,13-13 16,-12 13 0,25 0-16,1 0 0,-27 0 15,14 0-15,-14 0 0,0 0 16,0 0-16,1 0 0,-1 0 15,0 0-15,0 0 0,1 0 16,-1 0 0,0 0-16,0 0 31,1 0-15</inkml:trace>
  <inkml:trace contextRef="#ctx0" brushRef="#br0" timeOffset="25666.81">8427 11615 0,'-13'-26'16,"0"26"-16,-1 0 16,1 0-16,0 0 0,0 13 15,-1-13-15,1 13 16,0-13 0,13 13-1,26 1 1,-12-1-16,-1-13 15,0 0-15,0 0 0,1 13 0,-1-13 16,0 13-16,0-13 16,0 14-16,1-14 0,-14 13 0,13-13 15,-13 13-15,13 0 16,-26 14-16,0-1 16,-1-26-1,1 13-15,0 1 0,-13-14 0,12 13 16,-12 0-16,13-13 0,-14 13 0,14-13 15,-14 14-15,14-14 0,-13 0 16,13 0-16,-1 13 0,1-13 16,0 0-16,0 0 0,-1 0 15,1 0-15</inkml:trace>
  <inkml:trace contextRef="#ctx0" brushRef="#br0" timeOffset="28591.34">8361 11615 0,'13'-13'31,"14"13"-15,-14-13-1,0 13-15,0 0 0,0 0 0,14-13 16,-14 13-16,0 0 16,14 0-1,-14 0-15,0 0 16,0-14-1,-52 14 17,12 14-17,14-14-15,0 0 0,-14 0 16,14 0-16,0 13 0,-13-13 0,12 13 16,1-13-16,-13 13 15,12 0-15</inkml:trace>
</inkml:ink>
</file>

<file path=ppt/ink/ink19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46:16.640"/>
    </inkml:context>
    <inkml:brush xml:id="br0">
      <inkml:brushProperty name="width" value="0.05292" units="cm"/>
      <inkml:brushProperty name="height" value="0.05292" units="cm"/>
      <inkml:brushProperty name="color" value="#0070C0"/>
    </inkml:brush>
  </inkml:definitions>
  <inkml:trace contextRef="#ctx0" brushRef="#br0">10147 6535 0,'-13'0'16,"-1"0"-16,14-13 15,40 13 17,-27 0-17,0 0-15,1 0 0,12 13 0,-13-13 16,27 0-16,13 0 16,-27 0-16,-12 0 15,25 0-15,-25 0 0,25 0 16,-25 0-1,-1 0-15,0 0 16,0 0 0</inkml:trace>
  <inkml:trace contextRef="#ctx0" brushRef="#br0" timeOffset="281.82">10372 6390 0,'-14'0'0,"54"0"32,-27 13-32,1-13 0,-1 0 15,0 13-15,14 0 0,12 1 16,-12 12-1,-14 14-15,-13-1 16,-13-25 0,-14 25-16,1-12 0,13-14 0,-14 14 15,1-1-15,-1 0 0,1 1 0,12-14 16,1 0-16,0-13 0</inkml:trace>
  <inkml:trace contextRef="#ctx0" brushRef="#br0" timeOffset="1056.15">11681 6363 0,'-13'0'15,"53"-13"1,-14 13 0,-12 0-16,-1 0 0,0 0 0,13 0 15,-12 13-15,39-13 16,-40 0-1,0 0-15,0 13 0,0-13 16,-13 14-16,-26 25 16,13-25-1,0-1-15,-1 13 0,-12-12 0,13 12 0,-14 0 16,14-12-16,0-1 0,0 0 16,13 0-16,-14 1 0,14-1 15,-13 0-15,13 0 16,13 14-1,1-14-15,-1 0 0,0-13 16,0 0-16,0 13 16,1-13-16,-1 0 0,0 0 0,14-13 15,-14 13-15,0 0 16,0-13 0,0 13-1</inkml:trace>
  <inkml:trace contextRef="#ctx0" brushRef="#br0" timeOffset="1289.27">11668 6615 0,'40'-14'16,"-27"14"-16,0 0 0,14-13 15,-14 13-15,13 0 0,-12-13 16,39 13-16,-40-13 16,13 13-16,-13 0 15,1-14-15,-1 14 0,0 0 16,0 0-16,14 0 16</inkml:trace>
  <inkml:trace contextRef="#ctx0" brushRef="#br0" timeOffset="1681.89">12515 6324 0,'-13'39'16,"13"-26"-16,-14 1 0,14-1 0,-13 13 16,13 1-16,-13-14 0,13 14 15,-13-14-15,13 0 0,0 0 16,0 0-16,13 27 15,0 0-15,14-27 16,-14-13 0,0 0-16,13 0 0,-12 0 0,-1 0 15,0 0-15,0 0 0,1 0 16,12-13 0,-13 13-16</inkml:trace>
  <inkml:trace contextRef="#ctx0" brushRef="#br0" timeOffset="1852.36">12343 6548 0,'26'-13'15,"-13"13"-15,40-13 16,-39 13-1,12 0-15,-13 0 0,14-13 0,-1 13 16</inkml:trace>
  <inkml:trace contextRef="#ctx0" brushRef="#br0" timeOffset="2254.38">12846 6469 0,'-14'-13'16,"1"13"0,-13 13-1,12 0 1,1 1-16,13-1 16,13 0-1,14-26 1,-14 0-1,0 13-15,-13-14 0,14 14 16,-14-13-16,13 13 16,-13-13-16,13 26 31,-13 0-15,0 1-16,0-1 0,0 0 0,0 0 15,0 0-15,13 1 16,-13-1-1,0 0-15,13-13 0,1 0 16,-1 0 0,0 0-1</inkml:trace>
  <inkml:trace contextRef="#ctx0" brushRef="#br0" timeOffset="2637.54">13018 6324 0,'-14'0'16,"1"13"-1,0 13 1,13-13 0,0 1-16,13-1 15,-13 0 1,13-13-1,1 0-15,-14 13 16,13-13-16,0 14 16,0-1-16,0-13 15,1 13 1,-14 0-16,0 1 16,0 12-1,-14-26-15,1 13 0,0 0 16,0-13-1,0 0-15,-1 0 16,14-13 0,0 0-1</inkml:trace>
  <inkml:trace contextRef="#ctx0" brushRef="#br0" timeOffset="3045.47">13388 6218 0,'-13'0'0,"-1"0"16,1 13-16,13 0 16,-13 0-16,0 1 0,13-1 0,-13 0 0,13 0 15,-14 14-15,14-1 16,0-13-16,0 1 0,27 25 15,-14-25-15,13-14 16,-12 0 0,-1 0-16,0 0 0,0-14 0,1 14 15,12-13-15,-13 0 0,1 13 16,-14-13-16,13 13 0,0-14 16,0 28 15,0-1-16,1 0 1,-1-13 0,0 0-16,0 0 0,1 0 15,-1 13-15,13-13 16,-13-13-16</inkml:trace>
  <inkml:trace contextRef="#ctx0" brushRef="#br0" timeOffset="4281.89">13004 6416 0,'0'-40'16,"0"27"-16,0 0 0,0 0 15,0 0 1,0-1 0,0 1-1,14 13-15</inkml:trace>
  <inkml:trace contextRef="#ctx0" brushRef="#br0" timeOffset="5053.45">13388 6165 0,'-13'0'0,"-1"13"15,1 0 1,13 0-16,-13 1 0,13-1 0,0 0 16,0 0-16,-13 1 0,13-1 15,0 27-15,0-27 16,-13 0-16,13 0 0,0 0 16,13 27-16,0-27 15,13 1 1,-12-14-16,-1 0 15,0 0-15,0 0 0,1 0 16,-1-14-16,0 14 0,14-13 0,12 0 16,-26 0-16,1 13 15,-1-14-15,-13 1 0,13 13 0,-13-13 16,0 0 0,0 0-1,-26 39 1,12-13-1,14 14-15,0-14 16,14 13 0,-1-26-16,0 14 15,27-1 1,-27-13-16,27 13 16,-27-13-16</inkml:trace>
  <inkml:trace contextRef="#ctx0" brushRef="#br0" timeOffset="5820.21">14420 6416 0,'0'-13'15,"-27"39"17,14-12-32,13 12 15,0-13 1,13 14-16,-13-14 0,14 0 15,12 14 1,-13-27-16,14 13 16,-14-26-16,13-1 15,-26 1-15,0 0 16,0 0 0,0 0-16,-13-1 0,13 1 15,-13 0-15,13 0 16,0-1-16,13 1 31,14 26-15,-27 1-16,13-1 0,40 13 15,-40 1-15,0-14 0,-13 0 16,13 0-16,1 1 0,-1-1 16,-13 0-16,13 14 15,-13-54 32,40-39-16,-27 66-31,0-13 0,1 13 16,25-13-16,-26 13 16,27 0-1,-27 0-15,1 0 0,-1 13 0,0-13 16</inkml:trace>
  <inkml:trace contextRef="#ctx0" brushRef="#br0" timeOffset="6448.74">15862 6363 0,'39'-13'15,"14"0"-15,-26 0 16,13 13-16,39-27 0,-53 27 16,40-26-16,-39 26 15,39-40 1,-53 27-16,-13-1 16,-26 28 15,13-1-16,-1 0-15,1 14 0,0-14 16,13 13-16,-13-12 0,13 12 0,-14 0 16,14 1-16,-13-14 0,13 0 0,0 27 15,0-13-15,0 12 16,13-26-16,-13 1 16,0 12-16,14-26 0,-1 40 15,0-40 1,0 13-16</inkml:trace>
  <inkml:trace contextRef="#ctx0" brushRef="#br0" timeOffset="6828.62">16894 6244 0,'0'-13'0,"0"79"16,0-53-16,0 14 0,0-1 15,0 1-15,0-1 0,13 54 16,-13-54-16,13 53 16,0-52-1,-13-14 1,14-13-16,-14 13 0</inkml:trace>
  <inkml:trace contextRef="#ctx0" brushRef="#br0" timeOffset="7381.78">16761 6535 0,'53'-26'0,"-26"13"0,26 13 0,-27-14 0,80 1 15,-80 0-15,1 13 16,13-13 0,-14 13-16,-13 0 0,0-14 0,1 14 15,-14-13 1,-27 13-1,14 13 1,0-13-16,0 14 16,-1-1-1,14 0 1,14 0-16,-1 1 16,13-14-1,-13 0 1,1-14-1,-1 14-15,-13-13 0,13 0 0,-13 0 16,13-1 0,-13 41 31,0 26-16,0-40-31,14 13 0,-14-12 15,13 12 1,0-26-16,0 0 16</inkml:trace>
  <inkml:trace contextRef="#ctx0" brushRef="#br0" timeOffset="7807.88">17370 6297 0,'0'-13'0,"-13"26"31,-1-13-31,14 13 0,-13-13 0,13 14 16,0 25-1,0-26 1,0 1-1,13-14 1,1 0-16,-1 0 16,13 13-1,1 0 1,-14 0 0,0 27-1,-39-13 1,26-14-16,-13 0 15,-1-13-15,-12 13 0,13-13 16,-1 0-16,1 13 16,-13-26-16,13 13 15,26-13 17,0 0-32,0 0 15</inkml:trace>
  <inkml:trace contextRef="#ctx0" brushRef="#br0" timeOffset="8173.98">17608 6138 0,'0'-13'16,"-13"53"15,0-14-31,13-13 0,-14 1 0,14 12 15,0-13-15,14 40 16,-14-26-16,0-14 0,13 0 16,0-13-16,0 13 0,14 1 15,-14-14-15,27 0 16,-14 0 0,-13-14-16,1 14 0,-14-13 0,13 13 15,0-13-15,0 0 16,0 26 15,1 0-15,-14 0-16,13 1 15,0-1-15,0 0 16,-13 0 0,0 1-16</inkml:trace>
  <inkml:trace contextRef="#ctx0" brushRef="#br0" timeOffset="8472.94">16695 6747 0,'66'-13'16,"-26"-1"-16,92 1 15,27-13 1,-106 26-16,53-13 0,-53 13 0,-14-14 16,1 14-16,-13 0 0,39-13 15,-53 13-15,0 0 16</inkml:trace>
  <inkml:trace contextRef="#ctx0" brushRef="#br0" timeOffset="8692.2">16708 6813 0,'-39'13'0,"65"-13"16,14 0-1,-14 0-15,14-13 0,13 13 0,0 0 16,132-26 0,-119 12-16,-13 14 0,0-13 15,40 0-15,-54 13 16,1-13-16,0 13 0,-1 0 16,-25-14-16</inkml:trace>
  <inkml:trace contextRef="#ctx0" brushRef="#br0" timeOffset="9291.98">12369 6959 0,'66'0'15,"-26"-14"-15,53 1 16,26 0-16,-66 13 0,132-13 15,-119-1-15,40 14 16,-53 0-16,-14 0 16,-12 0-16,-1 0 0,1 0 0,-14 0 15,14 0-15,-14 0 16</inkml:trace>
  <inkml:trace contextRef="#ctx0" brushRef="#br0" timeOffset="9525.85">12449 7078 0,'-14'13'0,"94"-13"31,-1 0-31,-39-13 16,13 13-16,0 0 0,92-14 15,-92 1-15,0 13 16,-13 0-16,-1-13 0,1 13 0,-13 0 15,25-13-15,-38 13 16,-1 0-16,0 0 0,0 0 16</inkml:trace>
  <inkml:trace contextRef="#ctx0" brushRef="#br0" timeOffset="10180.73">5226 6998 0,'119'-13'0,"-80"13"0,14-13 15,13 13-15,14-13 0,-1 13 0,14-14 16,-14 14-16,14 0 0,-1-13 16,1 13-16,-14 0 0,1 0 0,-1 0 15,106 0 1,-132 0-16,27 0 16,-54 0-16,0 0 0,-12 0 0,-1 0 15</inkml:trace>
  <inkml:trace contextRef="#ctx0" brushRef="#br0" timeOffset="10529.6">5622 7144 0,'344'-40'0,"-278"27"16,146-14-1,-146 27-15,0-13 0,1 13 0,-14 0 16,-1 0-16,94-13 16,-106 13-16,-14 0 0,-13 0 15,14 0-15,-1 0 0,-13 0 0,1 0 16,-1 0-16,0 0 0,0 0 15,1 0 1,-41 13 31</inkml:trace>
  <inkml:trace contextRef="#ctx0" brushRef="#br0" timeOffset="11946.51">9909 8308 0,'26'-13'0,"1"13"15,-1 0-15,-13 0 0,14 0 16,12 0-16,-12 0 0,-1 0 0,14 0 16,-14 0-16,1-14 0,-1 14 0,1 0 15,-1 0-15,14 0 16,-27 0-16,27 0 16,-27 0-16,-13-13 0,13 13 0,1 0 15</inkml:trace>
  <inkml:trace contextRef="#ctx0" brushRef="#br0" timeOffset="12172.83">10332 8176 0,'40'0'16,"-27"13"-1,0-13-15,0 13 0,1 0 0,-1 1 16,0-14-16,0 13 0,14 26 15,-14-25-15,-13-1 16,0 0-16,0 0 0,0 1 0,0-1 16,-13 0-16,-27 40 15,27-40-15,0 0 0,13 1 16,-14-1-16,1-13 0,13 13 16</inkml:trace>
  <inkml:trace contextRef="#ctx0" brushRef="#br0" timeOffset="13286.78">11509 7845 0,'0'-13'16,"-13"13"-16,0 13 16,0 13-16,-1-12 0,14 12 15,-13 14-15,13-1 0,-13 1 16,13 92 0,0-39-16,0-40 0,13 26 15,-13-39-15,13 0 0,1-14 16,12 40-1,-13-53-15,14 27 16,-27-27-16,13-13 0,-39-13 31,12 0-15,14 0-16,-39-1 16,25 1-16,-12 0 0,0-13 15,-1 12-15,14 1 0,0 0 0,-1 13 16,1-13-16,0-1 0,0 1 15,13-13 1,0 13-16,13-1 16,0 14-16,0-13 0,1 0 15,12-14-15,-13 14 0,14 0 0,-1 0 16,1-14-16,39-12 16,-53 39-16,0-14 0,1 1 15,-1 13-15,13-13 16,-13 26 15,-13 0-31,0 1 16,0-1-16,0 0 0,0 0 15,14 0 1,-14 1-16,13-1 0,0-13 16,14 13-16,-14-13 15,13-13 1,-12 13-16,-1-13 0,-13-1 15,13 1-15,-13 0 0,-13-13 16,0-1 0,-1 14-16,1 0 15,0-1-15,0 1 16,26 13 15,13 0-15,-12 13-1,-1-13-15,0 14 0,0-14 0,0 13 16,1 0-16,-1 0 0,-13 1 0,13-1 16,0 0-16,1 0 0,-1 14 15,0-14 1,-13 0-16,13 0 16,0-26 15,-13 0-31,14 13 0,-14-13 0,0-1 15,26-12 1,-13 13-16,-13 0 0,14-1 0,-1 14 16,0-13-16,0 13 0,-13-13 15,14 13-15,-1 13 16,0-13-16</inkml:trace>
  <inkml:trace contextRef="#ctx0" brushRef="#br0" timeOffset="14038.82">12422 8202 0,'-13'27'31,"13"-14"-31,0 26 16,0-25-16,0-1 0,0 0 16,0 0-16,0 1 15,0-1-15,13-40 47,-13 14-31,0 0-16,13 0 0,-13-1 0,27-12 15,-14 13-15,0 13 16,1-13 0,12 13-16,-13 13 15,0 0-15,1 0 16,-1 0-1,-13 1-15,0-1 16,13 0-16,0-26 47,1 0-31,-14-1-16,13 14 15,0-26-15,0 26 16,1 0-16,-1 0 0,0 0 15,13 0 1,-26 13-16,14-13 16,-1 13-16,0-13 15,-13 14-15,13-14 0,1 0 16,-14 13-16,13-13 0</inkml:trace>
  <inkml:trace contextRef="#ctx0" brushRef="#br0" timeOffset="14899.78">12951 8229 0,'0'-14'16,"-13"28"31,0 12-32,13-13 1,13 0-1,0-13 1,1 0 0,-1 0-1,0 14 1,0-14 0,1 0-1,-1 0 1,0 0-16,13-27 15,-12 14-15,-14 0 0,26-14 16,-26 14-16,13 0 16,14-80-1,-27 67-15,0-1 0,13-12 16,-13 12-16,0 14 16,0 0-16,0 0 0,13-1 15,-26 41 16,13-1-31,0-13 0,-13 14 0,13-14 16,0 14-16,0-14 0,0 13 0,13 14 16,-13-27-1,13 0-15,-13 1 0,13-1 0,1 0 0,-1-13 16,0 13-16,0-13 0,1 0 0,-1 14 16,0-14-16,14-14 15,-14 14-15,0 0 0,0 0 0,-13-13 16,13 13-16,1-13 15,-14 0-15,0-1 16,-14 14 0,1 0-1,0 0-15,-13 14 16,26-1-16,-14 0 16,14 0-1,14-13 1,-14 14-16,13-14 15,13 0 1,-13 0-16,1 0 16,12 0-1,-13 0-15,1 0 0,12 0 16</inkml:trace>
  <inkml:trace contextRef="#ctx0" brushRef="#br0" timeOffset="15388.74">12052 8572 0,'132'-39'16,"-79"26"-16,92-1 15,-39 1-15,-53 0 0,0 13 16,-13 0-16,39-13 15,-39 13-15,-14 0 0,27 0 16,-26 0-16,-14 0 16,-39 13-1</inkml:trace>
  <inkml:trace contextRef="#ctx0" brushRef="#br0" timeOffset="15594.12">12039 8692 0,'66'-14'15,"-27"14"-15,80-13 0,-66 13 0,13-13 16,-13 13-16,0 0 0,106-13 16,-106 13-16,13 0 15,-26 0-15,52-14 16,-65 14-16,39 0 15</inkml:trace>
  <inkml:trace contextRef="#ctx0" brushRef="#br0" timeOffset="16066.21">14195 8176 0,'40'0'16,"-14"0"0,1 0-16,-1 0 0,27 0 15,-27 0-15,14 0 16,-27 0-16,0 0 0,14 0 16,-27-14-16,13 14 0,0 0 15,1 0-15,-1 0 16</inkml:trace>
  <inkml:trace contextRef="#ctx0" brushRef="#br0" timeOffset="16311.89">14314 7990 0,'93'14'0,"-54"-1"15,-26 0 1,14 0-16,-14 1 0,0-1 0,14 0 16,-14 13-16,0-12 0,-13-1 0,0 0 15,-13 53 1,-27 0-16,-65 27 16,65-66-16,0 12 0,-13-12 15,0-14-15</inkml:trace>
  <inkml:trace contextRef="#ctx0" brushRef="#br0" timeOffset="21826.42">11020 10266 0,'13'0'0,"14"0"15,-1 0 1,-13 13-16,0-13 0,14 0 16,-14 0-16,14 0 0,-1 0 0,-13 0 15,14 0-15,-1 13 0,-13-13 0,14 0 16,-1 0-16,-12 0 16,-1 0-16,13-13 15,-12 13-15,-1 0 16</inkml:trace>
  <inkml:trace contextRef="#ctx0" brushRef="#br0" timeOffset="22092.72">11324 10120 0,'93'14'0,"-67"-1"16,1 0-16,-14-13 0,13 13 0,1 0 16,-14 1-16,14-1 0,-14-13 15,0 13-15,0 0 0,-13 1 0,13-1 16,-13 0-16,-13 0 0,0 14 16,-27 26-16,14-27 15,-1-13-15,1 14 0,-1-14 0,-25 14 16,38-14-16,1-13 0,0 13 15,0-13-15</inkml:trace>
  <inkml:trace contextRef="#ctx0" brushRef="#br0" timeOffset="24364.6">13137 10081 0,'-14'-40'0,"1"40"15,0-13-15,0 26 16,-1-13-16,1 13 0,0-13 15,13 13-15,-13 1 0,0-1 16,-1 0-16,14 0 0,-13 1 0,13-1 16,-13 0-16,13 0 0,0 0 15,0 1-15,0-1 0,13 0 16,-13 0-16,13-13 16,1 0-16,-1 0 0,0-13 15,0 13-15,0-13 0,1 0 16,-1-1-16,0 14 0,-13-13 15,13 0-15,1-13 0,-1 26 16,-13-14-16,13 1 16,0 26-1,-13 1-15,13-14 16,-13 13-16,0 0 0,14-13 16,-14 13-16,0 0 0,13 1 0,0-1 15,-13 0-15,13 0 16,1-13-16,-14 14 0,13-14 15,0 0-15,0 0 0,14 0 16,-14 0-16</inkml:trace>
  <inkml:trace contextRef="#ctx0" brushRef="#br0" timeOffset="25356.48">13560 10001 0,'-53'0'0,"40"13"16,0 1-16,-1-1 0,1 0 15,13 27 1,-13-14-16,26 1 15,-13-14-15,0 0 0,13 0 0,-13 1 16,40 12 0,-40-13-16,40-13 0,-27 14 15,0-14-15,0 0 0,14-14 0,-14 14 16,13-13-16,-12 13 0,12-13 16,14-14-16,-27 14 15,0 0-15,-13 0 0,14 0 0,-1-1 16,-13-12-1,-13 13 1,-1 13 0,-12 26-1,26-13-15,-13-13 16,13 40 0,0-27-16,0 0 15,0 1-15,13-1 0,13 0 31,-12-13-31,25 13 16,-12-26-16,-14 13 16,13-13-16,-12 0 0,-1 13 15,0-14-15,0 1 0,1 0 16,-14 0-16,13 0 0,-13-14 0,13 14 16,-13-40-1,0 40-15,0-1 0,0 1 0,0 0 16,0 0-16,0 0 0,0-1 15,-13 14 1,0 14 0,-1 25-1,14-12-15,-13-14 0,13 40 16,-13-40-16,13 14 0,0-14 16,0 13-16,0-13 0,0 14 0,0-14 0,13 14 15,-13-14-15,0 0 0,0 0 16,0 14-16,0-14 15,0 0-15,0 0 0,13-13 0,-13 14 16,0-1-16,0-40 47,0 1-31,0 0-16,0 12 15,14-12-15,-14-1 0,13 14 0,-13 0 0,13 0 16,-13-1-16,13 1 0,0 0 0,-13 0 15,14 13-15,-1 0 16,0 0-16,27 0 16,-40 13-16,13-13 0,0 26 15,-26 14 1,-13-27 0,12 1-16,1-14 15,0 13-15,0-13 16,-1 0-16,1 0 0,0 0 15,13-13 1</inkml:trace>
  <inkml:trace contextRef="#ctx0" brushRef="#br0" timeOffset="25748.94">14288 9842 0,'0'-13'0,"-14"53"16,1-27-1,0 27 1,13-27-16,0 14 0,0-14 0,0 0 15,0 0-15,0 0 0,0 1 0,0-1 16,0 0-16,13-13 0,0 13 16,1-13-1,-1 0-15,0 0 0,0 0 32,0 0-32,1 14 0,-1-14 15,0 0 1,0 0-16,1 0 15,-1 0 1,0 0-16,-13-14 16</inkml:trace>
  <inkml:trace contextRef="#ctx0" brushRef="#br0" timeOffset="25958.5">14155 9975 0,'40'13'16,"-27"-13"-16,0 0 0,14-13 0,-14 13 16,14 0-16,-1 0 0,-13 0 0,14-13 15,-1 13-15,-13 0 16,14 0-16,12-14 0,-25 14 0</inkml:trace>
  <inkml:trace contextRef="#ctx0" brushRef="#br0" timeOffset="26324.5">15042 9671 0,'-27'171'0,"14"-131"0,0 0 15,-1 13-15,-25 79 16,25-92-16,1-1 0,0 1 0,0 0 16,13-14-16,0-12 0,-13 25 15,26-12 1</inkml:trace>
  <inkml:trace contextRef="#ctx0" brushRef="#br0" timeOffset="27332.43">15438 9922 0,'0'40'0,"0"-27"16,0 53-16,0-40 0,0-12 0,0 12 16,0 1-16,0-14 0,0 0 0,0 0 15,0 14-15,0-14 16,0 0-16,0 0 0,0 1 16,0-54 15,14-26-16,-14 26-15,0 0 0,13 1 0,0 12 16,-13-12-16,40-14 16,-27 39-1,-13 1-15,13 13 0,1-13 0,-1 13 0,0 0 16,0 0-16,0 26 16,-13-12-16,-13 12 15,13-13-15,-13 14 0,0-1 0,0 1 16,-1-14-16,1 13 0,13-12 15,-13-1-15,0 0 0,-1 0 16,1 1-16,13-1 0,-13-13 16,13 13-16,0 0 15,0 0 1,13 1-16,14-14 16,-14 0-16,13 0 15,-12 0-15,12 0 0,-13 0 16,40-14-16,-26 1 15,-1 13-15,14-26 0,-14 13 16,-13-1-16,1 14 0,-1-26 16,0 13-16,0-1 0,-13 1 15,-26 26 17,13 14-17,-1-14-15,14 0 16,0 1-16,14-1 15,-1 13 1,0-26-16,14 0 16,-14 0-16,0-13 15,0 13-15,0 0 0,-13-13 16,14 13-16,-1 0 0,0-13 0,14 26 31,-14 0-31,-13 0 16,13 0-16,-13 1 0,0 12 15,13-13-15,-13 1 16,0 12-16,-13-13 0,13 40 16,-26-13-1,12-40-15,14 13 16,-13-13-16,0 0 0,-14 0 16,14 0-16,0-13 15,0-27-15,13 27 16,-13-13-16,13 12 0,0-12 0</inkml:trace>
  <inkml:trace contextRef="#ctx0" brushRef="#br0" timeOffset="27445.06">15994 9948 0</inkml:trace>
  <inkml:trace contextRef="#ctx0" brushRef="#br0" timeOffset="28064.68">16232 10134 0,'0'-14'15,"13"1"1,-13-13 0,14 12-1,-14 1 1,-27 26 15,27 14-15,0-14-16,0 0 15,0 1-15,13-14 0,1 13 16,-1-13 0,0-13-16,0 13 15,1 0-15,-1-14 0,0 14 0,0 0 16,0-13-16,1 13 16,-1 0-1,0 0 1,0 0-1,27 0 1,-27-13-16,14 0 16,-14 13-16,0-27 0,0 14 15,1 0-15,-1-1 0,13-12 0,-12 0 16,-1-1-16,-13 14 0,13-14 0,0 1 16,-13 13-16,14-1 0,-14 1 15,0 0-15,13 0 0,-26 52 31,13-25-15,0-1-16,0 13 0,13 14 16,-13-13-16,0-14 0,13 0 15,-13 0-15,13-13 0,-13 13 16,0 1-16,13-14 0,1 13 16</inkml:trace>
  <inkml:trace contextRef="#ctx0" brushRef="#br0" timeOffset="28221.43">16470 9856 0,'40'0'32,"-27"0"-32,67-14 15,12 1-15,-39 0 16,13 0-16,0 0 0,1-1 15,12-12-15,-13 13 0,13-14 0</inkml:trace>
</inkml:ink>
</file>

<file path=ppt/ink/ink19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46:55.356"/>
    </inkml:context>
    <inkml:brush xml:id="br0">
      <inkml:brushProperty name="width" value="0.05292" units="cm"/>
      <inkml:brushProperty name="height" value="0.05292" units="cm"/>
      <inkml:brushProperty name="color" value="#0070C0"/>
    </inkml:brush>
  </inkml:definitions>
  <inkml:trace contextRef="#ctx0" brushRef="#br0">2963 2553 0,'27'13'16,"-14"-13"-16,13 0 0,107 0 15,-80 14-15,0-14 0,0 0 16,-1 0-16,1 0 0,93-14 16,-106 14-16,-1 0 15,-12 0-15,26 0 0,-27 0 16,-13 0-16,1-13 0,-1 13 16,0 0-16,0 0 0,-39 13 31,13-13-16</inkml:trace>
  <inkml:trace contextRef="#ctx0" brushRef="#br0" timeOffset="305.26">2977 2738 0,'-27'0'16,"54"0"-16,-27 0 15,105-13 1,-52 13-16,13-13 15,-13 13-15,14-13 0,-15 13 16,1-13-16,0 13 0,0 0 16,79-14-16,-105 14 15,-1 0-15,1 0 0,-1 0 16,1 0-16,-14 0 0,0 0 0,0 0 16,1 0-16,-1 0 0,0 0 15,14 0-15,-14 0 16,0 0-1,0 0 1,-13 14 0</inkml:trace>
  <inkml:trace contextRef="#ctx0" brushRef="#br0" timeOffset="1020.83">6019 2580 0,'66'0'16,"-39"0"-16,26 0 0,0 0 0,145 0 16,-118-14-16,-14 14 15,13 0-15,0 0 0,1 0 16,-14-13-16,13 13 0,-26 0 0,13 0 16,-13 0-16,0-13 0,-13 13 15,0 0-15,-14 0 0,0-13 16,1 13-16,-14 0 0,0 0 0,1 0 15,-1-13-15,-40 13 16</inkml:trace>
  <inkml:trace contextRef="#ctx0" brushRef="#br0" timeOffset="1317.94">6085 2712 0,'159'0'0,"-79"-13"0,-14 0 0,13 13 0,0-14 0,1 1 15,79 0-15,-80 13 16,-13-13-16,13-1 0,-12 14 16,-14-13-16,-1 13 0,-12 0 0,0-13 15,-14 13-15,40 0 16,-52 0-16,-1 0 0,0 0 15,0 0-15,1 0 0,-1-13 16,0 13-16,-13 13 16,-26 0 15</inkml:trace>
  <inkml:trace contextRef="#ctx0" brushRef="#br0" timeOffset="2415.46">1535 3731 0,'39'13'31,"41"-26"-15,-27 13-16,-1 0 0,28 0 16,-14 0-16,13-14 0,173 1 15,-160 13-15,1 0 0,-14 0 16,14-13-16,0 13 16,-14 0-16,0 0 0,1 0 0,-27-13 0,66 13 15,-66 0-15,-1 0 16,-12 0-16,-13 13 0,12-13 0,-12 0 15,-1 0-15,27 13 16,-40-13 0</inkml:trace>
  <inkml:trace contextRef="#ctx0" brushRef="#br0" timeOffset="2787.75">1918 3916 0,'119'-13'16,"-53"-1"-16,1 1 0,12 13 0,14-13 0,-1 0 0,1-1 15,132 1-15,-133 0 16,1 0-16,-1 0 0,1 13 0,-14-14 0,14 14 16,-27 0-16,14 0 0,-28-13 15,1 13-15,0 0 0,13 0 16,-39 0-16,-1 0 0,-12 0 16,12 0-16,-13 0 0,1 0 15,-1 0-15,0 0 0,-13 13 16,13-13-16,0 0 0,1 0 47</inkml:trace>
  <inkml:trace contextRef="#ctx0" brushRef="#br0" timeOffset="31683.23">15438 2619 0,'-13'-13'16,"26"13"46,27 0-46,-27 13-16,1-13 16,39 0-16,39 0 31,-79 0-31,53 0 0,-52 0 15,-1 0-15,0 0 0,14 14 16,-14-14-16,-13 13 16</inkml:trace>
  <inkml:trace contextRef="#ctx0" brushRef="#br0" timeOffset="31924.28">15333 2778 0,'26'13'16,"-13"-13"-16,14 0 0,-14 14 0,13-14 16,1 0-16,-1 0 0,80-14 15,-79 14-15,39 0 16,-53-13-1,13 13-15,1 0 16,-14 0-16,14-13 16,-14 13-16,-13-13 15</inkml:trace>
  <inkml:trace contextRef="#ctx0" brushRef="#br0" timeOffset="32241.23">15690 2434 0,'-27'27'16,"14"-14"-16,-27 53 16,14-26-16,13-14 0,0 14 0,-27 13 15,13-14-15,14-12 16,0-1-16,0 1 0,-27 26 16,40-40-1,-13 13-15,13-12 0,-13-1 16</inkml:trace>
  <inkml:trace contextRef="#ctx0" brushRef="#br0" timeOffset="33079.18">14870 2844 0,'0'14'32,"13"-41"14,0 1-30,-13 12-16,13-12 16,0-27-1,-13 40-15,14 0 0,-14-14 0,0 1 16,0 12-16,13 1 16,-13 0-16,-13 39 46,13 1-30,0-1-16,13 1 16,-13-14-16,13-13 15,-13 13-15,13-13 0,1 0 16,12-13 0,-13 0-1,1 0 1,-1 13-16,0 0 15,0 26 1,0-13 0,-13 0-16,40 14 15,0-1 1,-27-26-16,0 0 0,1 0 16,-1 0-16,0 0 0</inkml:trace>
  <inkml:trace contextRef="#ctx0" brushRef="#br0" timeOffset="33443.87">16140 2540 0,'0'-13'0,"0"39"15,0 1 1,-14 12 0,14-25-16,0-1 0,0 13 15,0-12-15,0-1 0,0 0 16,0 0-16</inkml:trace>
  <inkml:trace contextRef="#ctx0" brushRef="#br0" timeOffset="33980.85">16272 2580 0,'0'-14'0,"-13"14"31,-1 14-31,14-1 16,0 0-1,27 14 1,-14-14-16,0-13 15,1 0-15,-1 0 0,0 0 0,0 0 16,27-27 0,-40 14-16,0 0 15,0 0-15,0-1 16,-13 1-16,-1 0 16,1 0-16,0 13 15,13-13-15,-13 13 16,39 0 15,1 0-15,-14 13-1,0 0-15,0-13 16,-13 13-16,14 0 16,-1-13-1,0 14-15,0-14 0,1 0 0,12 0 16,-13 0-16,40-14 31,-26 14-31,-14-13 0,-13 0 0,13 13 16,0-40-1,-13 27-15,0 0 16,-13 13-16,0 0 16,-27 13-1,27 0-15,0-13 0,-27 40 16</inkml:trace>
  <inkml:trace contextRef="#ctx0" brushRef="#br0" timeOffset="39755.47">1402 5001 0,'27'0'0,"-1"0"16,1 0-1,-14 0-15,0 0 0,0 0 16,67 13-16,-54 0 15,1-13-15,105 27 16,-92-27-16,13 13 0,-1-13 16,1 13-16,106 27 15,-93-27-15,-13-13 0,132 40 16,-118-27-16,-1 0 16,-13 0-16,132 14 15,-132-14-15,13 0 0,0 0 16,-13 1-16,13-1 0,0-13 15,67 26-15,-67-26 0,0 14 16,0-1-16,-13-13 0,13 13 0,13 0 16,-12-13-16,-1 14 0,0-14 15,0 13-15,0-13 0,146 26 32,145-13-32,-291 1 15,0-14-15,-13 13 0,93-13 16,-67 13-16,-13-13 0,0 0 15,1 13-15,105 1 16,-120-14-16,147 13 16,-120 0-16,-13-13 15,1 13-15,-1-13 0,0 13 0,0-13 0,0 0 16,0 14-16,-13-14 0,13 13 16,-13-13-16,0 13 0,132 0 15,-132-13-15,13 14 0,1-14 16,-1 13-16,0-13 15,132 26-15,-145-26 16,0 0-16,13 14 0,-13-14 0,0 13 16,0-13-16,0 0 0,0 13 0,0-13 15,238 13 1,-238-13 0,53 13-16,-54-13 0,1 0 15,0 0-15,0 0 0,0 0 0,13 0 16,-13 0-16,106 0 15,-106 0-15,0-13 0,0 13 16,39-13-16,14 13 16,-66-13-16,13 13 0,-14-13 15,14 13-15,-13-14 0,13 14 0,-13-13 16,-1 13-16,14-13 0,-13 0 16,0 13-16,-1-14 0,67-12 15,-79 13-15,12-1 0,-12 14 16,-1-13-16,80-26 15,-66 25-15,66-25 16,-40 12 0,-40 14-16,1 0 0,-1 0 15,14-1-15,-14 1 0,14-13 0,-14 12 16,1 1-16,26-13 16,-27 12-16,1-12 0,39-14 15,-13 14 1,-27-1-16,27-12 0,-40 25 15,1 1-15,12 0 0,-13-13 16,0 12-16,1 1 0,39-40 16,-53 27-16,13 12 15,13-38 1,-12 38-16,-14 1 0,0-27 16,13 14-16,-13 13 15,0-14-15,0 14 0,0 0 0,0 0 16,0-1-16,0-12 15,-13 13-15,13-1 0,0-12 0,0 13 16,-14 0-16,14-1 0,-13-12 0,13 13 16,-26-14-16,26 1 15,-14 12-15,1 1 0,0-13 16,0 13-16,-1-1 0,1 1 0,0-13 0,13 12 16,-13 1-16,-27-27 15,27 27-15,-14-13 16,14 13-16,0-1 0,0 1 15,-14 0-15,14 0 0,0-1 16,0 1-16,-1 0 0,1 0 0,0 0 16,0-1-16,-1 1 15,-25-13-15,26 12 0,-1 14 16,-12-13-16,13 0 0,-1 13 0,-12-13 16,13-1-16,-1 14 0,-12-13 0,13 13 15,0 0-15,-14-13 0,14 13 16,-14-13-16,-39 0 15,53 13-15,-27-14 16,14 14-16,13 0 0,-14 0 16,1 0-16,12-13 0,1 13 15,0 0-15,-27 0 16,27 0-16,-13 0 0,-40-13 16,13 13-1,26 0-15,-13 0 0,14 0 0,-14 0 16,1 0-16,-1 0 0,0 0 0,1-13 15,-1 13-15,13 0 0,-25 0 16,12 0-16,0 0 16,-13-14-16,-79 14 0,79 0 15,0 0-15,13-13 0,-13 13 0,1 0 16,12 0-16,0-13 0,-13 13 16,14 0-16,-1 0 0,-13-13 0,27 13 15,-14 0-15,0-14 0,-145 1 16,145 13-1,-39 0-15,26-13 0,27 13 16,-27 0-16,-40-13 16,27 13-16,39-13 15,-12 13-15,12 0 0,-39-14 16,40 14-16,-67-13 16,53 13-16,14 0 0,-14 0 15,14 0-15,-1 0 0,1 0 0,-1 0 16,1 0-16,-14 0 0,14 0 15,13 0-15,-27 0 0,27 0 16,-67 0-16,27 0 16,0 0-16,27 0 15,-1 0-15,14 0 0,-13 0 16,-1 0-16,1 0 0,-1 13 0,1-13 16,-27 0-16,27 14 0,-1-14 15,1 0-15,-54 13 16,41-13-16,12 0 0,1 0 15,-1 13-15,-118 0 16,79-13 0,26 13-16,0-13 0,0 0 15,1 14-15,12-14 0,1 0 0,-14 0 16,14 13-16,-14-13 0,14 0 0,-14 0 16,13 0-16,-25 13 0,12-13 15,-13 0-15,13 0 0,-13 13 0,14-13 16,-1 0-16,-13 0 0,13 0 15,1 0-15,-14 14 0,13-14 0,0 0 16,1 0-16,-14 13 0,-40-13 16,53 13-16,-52-13 15,52 13-15,-79 1 16,79-14-16,1 0 0,-1 13 16,14-13-16,-1 0 0,-26 0 15,27 13-15,-14-13 0,14 0 0,-14 13 16,0-13-16,14 0 0,-14 13 0,0-13 15,1 0-15,12 0 0,1 14 16,-40-14-16,39 13 0,1-13 16,-1 0-16,1 0 0,-1 0 0,14 13 15,-13-13-15,-1 0 0,1 0 16,13 0-16,-14 0 0,1 13 0,-1-13 16,1 0-16,12 0 0,-12 0 0,0 14 15,-27-14-15,26 0 16,14 0-16,-14 13 0,1-13 0,-14 0 15,14 0-15,-14 13 16,14-13-16,-1 0 0,14 0 16,-13 0-16,-1 0 0,-26 0 15,40 0-15,-13 13 0,-1-13 16,1 0-16,-1 0 0,1 0 16,-54 0-16,54 0 15,-1 0-15,1 0 0,0 0 0,-1 0 16,1 0-16,-1 0 0,-13 0 15,14-13-15,0 13 0,12 0 0,-12 0 16,-1 0-16,1 0 0,-14 0 16,14-13-16,-1 13 15,14 0-15,0 0 0,-14 0 0,14-13 16,-13 13-16,-1 0 0,14 0 0,-13-14 16,12 14-16,1 0 0,-13 0 15,12-13-15,1 13 0,0 0 16,-53-13-1,53 13-15,-27 0 0,27-13 16,-1 13-16,1 0 0,-13 0 16,13-14-16,-1 14 0,1 0 15,0 0-15,0-13 0,-14 13 16,1-13 0,12 13-16,1 0 0,0 0 15,-13-13-15,12 13 16,1 0-16,0 0 0,-27 0 15,27 0-15,0 0 16,-1 0-16,-12 0 0,0 13 16,12-13-16,1 0 0,0 13 15,-53 0-15,39 1 16,1-14-16,-14 26 0,14-26 16,12 13-16,-12 1 0,0-1 15,12-13-15,-12 13 0,13-13 16,-1 13-16,1-13 0,0 14 15,-14-1-15,14-13 0,13 13 0,-13-13 16,0 13-16,0-13 0,-27 27 16,40-14-16,-27 0 15,14 0-15,0 1 0,0-1 16,-1 0-16,-25 13 16,39-12-16,-13-1 15,-14 0-15,14 0 0,0 1 16,-1-1-16,1-13 0,0 13 15,-27 40 1,27-40-16,0 14 0,-14 12 16,27-25-16,0 12 15,-13-13-15,13 14 0,0-14 0,0 13 16,13 1-16,1 26 0,-1-27 16,0 1-16,0 12 0,14-12 15,-1-1-15,54 27 16,-41-40-16,14 14 0,66 13 15,-53-14-15,14-13 0,-14 1 0</inkml:trace>
  <inkml:trace contextRef="#ctx0" brushRef="#br0" timeOffset="43993.46">14261 3982 0,'-40'-26'0,"27"26"15,0 0-15,0 0 0,-14 0 16,14 0-16,-13 0 0,-1 0 0,1 13 0,-54-13 16,14 26-1,0-13-15,26 1 16,-52 25-16,52-12 15,13-14-15,-12 0 0,12 14 0,-12-14 16,12 13-16,-12-12 0,-120 105 31,119-80-31,14-12 0,-1-1 16,-13 1-16,14-1 0,0 1 16,-1-1-16,1 1 0,12-1 0,-12 1 0,13-1 15,13-13-15,-13 14 0,13-14 16,0 0-16,0 14 0,0-14 0,0 0 15,26 53 1,-13-53-16,14 14 0,-1-1 16,1 1-16,-1-14 0,0 13 0,14-12 15,26 12-15,-26-13 0,0 1 16,13-1-16,79 13 16,-92-12-16,12-14 0,41 13 15,13 13-15,-53-26 16,0 13-16,-14-13 0,14 14 15,-13-14-15,13 0 0,0 13 0,0-13 16,0 0-16,13 0 0,0 13 0,0-13 16,133 13-1,-146-13-15,171 14 16,-157-14-16,12 13 0,-13-13 16,0 0-16,146 26 15,-146-26-15,13 14 0,-12-14 16,78 13-16,-79 0 0,0-13 15,14 13-15,131 0 16,-131 1-16,-1-14 0,-13 0 16,14 13-16,78 0 0,-91-13 15,12 13-15,0-13 0,1 14 16,-1-14-16,0 13 0,1-13 0,-14 0 16,13 13-16,1-13 0,-14 13 0,13-13 15,-13 14-15,14-14 0,-14 13 16,0-13-16,80 13 15,-67-13-15,-13 13 0,0-13 0,14 13 16,-14-13-16,13 14 0,-13-14 16,0 0-16,14 13 0,-14-13 0,93 13 15,-93 0-15,13 1 0,1-14 16,-14 13-16,13-13 0,1 13 16,-1-13-16,0 13 0,80 0 15,0 1-15,-93-1 0,13 0 16,1-13-16,-1 13 0,0-13 15,1 14-15,-14-1 0,13-13 0,-13 13 16,14-13-16,-14 13 0,-13 1 0,0-14 16,0 0-16,0 13 0,0-13 15,-14 13-15,14-13 0,0 0 0,-13 13 16,-1-13-16,-12 0 0,39 0 16,-40 0-16,14 0 15,-13 0-15,-1 0 0,1 0 0,-1 0 16,0 0-16,1 0 0,-1 0 0,1-13 15,-1 13-15,1 0 0,12 0 16,-12-13-16,-1 13 0,14 0 16,-13 0-16,-1-13 0,14 13 0,-14 0 15,1-14-15,39 14 0,-40-13 16,1 13-16,12 0 0,-12-13 16,-1 13-16,1 0 0,-1-13 0,14 13 15,-14-14-15,1 14 0,39-13 16,-26 0-16,-14 13 0,14-13 15,-1 13-15,1-14 0,-13 14 0,12-13 16,-12 13-16,-1-13 0,14 13 16,13-13-16,-27 0 15,27-1-15,-26 1 0,-1 13 0,1-13 16,-1 13-16,-13-13 16,14 13-16,-1-14 0,54-12 15,-54 26-15,-13-13 0,14 0 16,-14 13-16,13-14 0,-12 1 15,12 0-15,-13 0 0,40-1 16,-40 1-16,1 0 0,25-14 16,-12 27-16,-14-13 0,13 0 15,-12 0-15,-1 0 0,13-1 0,-12 1 16,12 13-16,1-13 0,-14 0 16,13-1-16,-13 1 0,14 0 0,-14 0 15,40-14-15,-26 14 0,-14 0 16,53-27-16,-40 27 15,-12 0-15,12 13 16,-13-14-16,27-12 0,-27 13 0,0 13 16,1-14-16,12-12 15,1 0-15,-14 26 0,0-14 16,-13 1-16,13 0 0,0 0 16,-13-1-16,14 1 0,12-13 15,-26 12-15,13 1 0,-13 0 0,14 0 16,-14-14-16,13 14 15,-13 0-15,0 0 0,0-1 16,0 1-16,0 0 0,0 0 0,0 0 16,0-1-16,0 1 0,0 0 15,-13 0-15,13-1 0,-14 1 0,14 0 16,-26-14-16,26 14 0,-27-13 16,1 13-16,-14-14 15,27 14-15,-13 0 0,12-1 16,-12 14-16,-1-13 0,14 0 0,-13 0 15,-1 13-15,1-14 0,-1 1 16,1 13-16,0-13 0,-1 0 0,1 13 16,-1-13-16,1-1 0,-1 14 15,1-13-15,-14 0 0,0 0 0,-26-1 16,27 1-16,12 0 0,1 13 16,-27-26-16,26 26 0,1-14 15,-14 1-15,14 13 16,-1-13-16,1 13 0,-1-13 0,1 13 15,-27-14-15,26 1 16,1 13-16,0-13 0,-1 13 0,1 0 16,-1-13-16,1 13 0,-1-14 0,1 14 15,-1 0-15,1-13 0,-1 13 0,1 0 16,-1-13-16,-12 13 0,12 0 16,-26-13-16,27 13 15,-27-13-15,40 13 0,-14 0 0,1 0 16,-1-14-16,1 14 0,0 0 15,-1 0-15,-13 0 0,-26-13 16,40 13-16,-14-13 0,0 13 0,14 0 16,-14 0-16,14 0 0,-27-13 15,13 13-15,1 0 0,-1-14 16,-53 14-16,54 0 0,-14-13 16,-40 13-16,53-13 15,-13 13-15,0-13 0,-39-1 16,-14 14-16,53-13 0,0 13 15,0-13-15,-13 0 0,13 13 16,-13-13-16,-13 13 0,13-14 16,13 14-16,-13-13 0,-1 13 0,-38-13 15,25 0-15,14 13 16,0-14-16,0 14 0,0-13 0,-1 13 16,-52-13-16,53 0 0,0 13 15,-13-14-15,13 14 0,-1 0 16,-12-13-16,13 13 0,0 0 15,0-13-15,-1 13 0,15 0 0,-28-13 0,14 13 16,-80-13-16,80 13 16,-13-14-16,26 14 0,-13 0 0,-53-13 15,66 13-15,-13 0 0,-53-13 16,53 13-16,13-13 16,-66 13-16,13-14 15,53 14-15,0 0 0,0 0 0,0-13 16,0 13-16,0 0 15,0 0-15,-39-13 0,39 13 16,13 0-16,0 0 0,1 0 0,12 0 16,-12 0-16,12-13 0,-13 13 15,14 0-15,0 0 0,-1 0 0,1 0 16,-1 0-16,1 0 0,-14 0 16,14 0-16,12 0 0,-12 0 15,13 0-15,-14 0 0,14 0 16,0 0-16,0 0 0,-1 0 0,1 0 15,0 0-15,0 0 16,-1 13-16,1-13 16,0 0-16,0 0 15,-1 0-15,1 13 16,0-13 0,0 0-16,13 13 0,-13-13 0,-1 0 15,1 0-15,0 14 16,-14-14-16,14 0 0,0 13 15,0-13-15,-14 0 16,14 13-16,0-13 0,-14 0 16,14 0-16,-13 13 0,12-13 15,1 0-15,0 14 16,0-14-16,-1 0 0,1 13 16,-13-13-16,13 0 15,-1 13-15,1-13 0,0 0 0,-14 13 16,14-13-16,0 0 15,0 13-15,0-13 0,-1 0 16,1 0-16,0 14 0,0-14 16,-1 0-16,1 0 0,-13 0 0,12 13 15,1-13-15,-13 0 0,13 0 16,-14 0-16,-26 13 0,27-13 0,12 0 16,-12 0-16,0 0 15,12 13-15,-25-13 0,12 0 16,1 0-16,13 0 0,-1 0 0,-12 14 15,13-14-15,-14 0 16,1 0-16,12 0 0,-12 0 0,-53 13 16,52-13-16,1 0 15,-27 0-15,26 0 16,14 0-16,-13 0 0,12 0 16,-25 0-16,25 0 0,-12 13 15,13-13-15,0 0 0,-14 0 0,14 0 16,0 0-16,-1 0 0,1 0 15,-13 0-15,-1 0 0,14 0 16,0 13-16,0-13 0,-1 0 16,1 0-16,0 14 0,0-14 0,-1 0 15,1 0-15,0 0 16,0 13-16,0-13 0,-1 0 16,-12 13-16,13-13 15,-1 0 1,1 0-1,0 13-15,0-13 32,-1 0-32,1 0 15,0 0-15,13 13 16,-13-13-16,0 0 0,-1 0 16,1 0-16,0 0 15,0 14-15,-1-14 0,1 0 16,0 0-1,0 13-15,-1-13 16,1 0-16,0 13 16,0-13-16,0 0 15,-1 13-15,-25-13 0,12 14 16,1-1-16,-1 0 16,-39 14-16,26-14 15,-65 26-15,-14 1 16,-14 0-16,54-27 0</inkml:trace>
  <inkml:trace contextRef="#ctx0" brushRef="#br0" timeOffset="111634.99">9909 8162 0,'39'0'0,"-25"0"0,25 0 15,-26 0 1,1 0-16,-14 14 0,13-14 0,0 0 15,0 0-15,1 0 16</inkml:trace>
  <inkml:trace contextRef="#ctx0" brushRef="#br0" timeOffset="111851.58">9909 8255 0,'-14'0'16,"28"13"15,12-13-15,-13 13-16,1-13 0,-1 0 15,0 0-15,0 0 0,14 0 16,-14 0-16,0 0 16,0 0-1</inkml:trace>
  <inkml:trace contextRef="#ctx0" brushRef="#br0" timeOffset="112539.46">11046 8136 0,'40'0'15,"-27"0"1,0 0-16,1 0 0,-1 0 0,0 0 15,0 0-15,27 0 16,-27 0 0</inkml:trace>
  <inkml:trace contextRef="#ctx0" brushRef="#br0" timeOffset="112774.66">11099 8215 0,'27'0'47,"-14"0"-32,0 0-15,0 0 16,14 0-16,-14 0 15,0 0 1,14 14 0</inkml:trace>
  <inkml:trace contextRef="#ctx0" brushRef="#br0" timeOffset="113544.44">12369 8189 0,'-13'0'0,"39"0"31,1 0-16,-14 0-15,0 0 0,-13-13 16,53 13 0,-26 0-16,-14 0 15</inkml:trace>
  <inkml:trace contextRef="#ctx0" brushRef="#br0" timeOffset="114030.82">12343 8255 0,'39'13'0,"-25"-13"16,-1 0-16,66 0 31,-52 0-31,-14 0 0,0 0 0,14 0 0,-14 0 15,0 0-15,14 0 16,-14 0-16,0 0 16,0 0-16,1 0 15,-1 0-15,0 0 16,0 0 0,0 0 62,-26-13 15,0-13-77,0 12 0,13 1-16</inkml:trace>
  <inkml:trace contextRef="#ctx0" brushRef="#br0" timeOffset="116655.76">3162 3440 0,'0'-14'16,"13"14"0,-13-13 62,0 0-47,13 13-15,-13-13-1,0-1 1,0 1 15,0 0-31,13 13 16,-13-13-16,0 0 0,-13-27 31,13 27-31,0-14 16,-13 27-16,13-13 0,0 0 0,0-1 15,-13 1-15,13 0 0,-13 0 16,13 0-16,-14-1 15,1 1 1,13 0-16,-13 0 0,0-1 16,-1 1-1,1 0 1,0 13-16,13-13 16,-27 13-1,14-14 1,0 14-1,0 0 1,0 0-16,-1 0 0,1 0 16,0 0-1,0 0 1,-14 0 0,14 0-16,0 14 15,0-14 1,-1 13-1,1-13 1,0 13 0,0-13-1,-1 13 1,14 1-16,-13-14 16,13 13-16,-13 0 15,0 0 1,13 1-16,0-1 15,-14-13 1,14 13 0,-13 0-16,13 0 15,0 1-15,0-1 16,0 0 0,0 0-1,0 1-15,13-1 16,-13 0-16,0 0 0,14 1 15,-14-1 1,13 0-16,-13 0 16,13-13-16,-13 13 0,13 1 15,1-1-15,-1 0 16,0-13-16,-13 13 16,13-13-16,-13 14 0,14-14 15,-1 0-15,-13 13 0,13-13 16,0 13-16,0-13 15,1 13-15,-1-13 0,0 13 16,0-13 0,1 0-16,-1 0 15,0 0-15,0 0 16,0 0 0,1 0-16,-14-13 15,13 13 1,-26-13 31</inkml:trace>
  <inkml:trace contextRef="#ctx0" brushRef="#br0" timeOffset="129887.99">19420 7355 0,'53'0'0,"-39"0"16,25-13-1,-26 13-15,1 0 0,-1 0 0,0 0 16,0 0-16</inkml:trace>
  <inkml:trace contextRef="#ctx0" brushRef="#br0" timeOffset="130119.8">19381 7488 0,'53'0'16,"-27"0"-16,1 0 16,-1 0-16,-13 0 0,0 0 15,27 0-15,-27 0 16,-13 13-16,14-13 0,-1 0 15</inkml:trace>
  <inkml:trace contextRef="#ctx0" brushRef="#br0" timeOffset="131865.54">19447 8824 0,'13'-13'32,"27"-1"-17,-27 1-15,13 0 16,1 13-16,-1-13 0,14-1 0,-13 1 15,12 0-15,-12 0 0,79-27 16,-80 27-16,-13 0 16,27-14-1,-14 14-15,40-40 0,-39 27 16,-1 12-16,14-25 0,-27 25 16,14-12-16,-14 13 0,13-14 15,-12 14-15,12 0 0,-13-14 0,14 1 16,-1 13-16,40-53 15,-39 52-15,13-25 16,-14 25-16,1-12 0,-14 13 16,0-1-16,80-52 15,-54 27 1,-25 12-16,25-12 16,-26 25-16,1-12 0,-1 13 0,13-14 15,-12 14-15,-1-14 16,0 14-16,13 0 0,-12 0 0,-1-14 15,0 14-15,40-27 16,-40 27-16,1-13 0,-1 12 16,13 1-16,-13 0 0,1 0 0,12 13 15,14-40 1,-14 40-16,1-26 16,-14 26-16,13-14 0,-12 1 15,-1 13-15,0-13 0,53 0 16,-39-1-1,-14 14-15,0 0 0,0 0 16,14 0-16,-1 0 0,-12-13 0,12 13 16,-13 0-16,14 0 0,-1 0 0,-13 0 15,54 13 1,-54-13-16,13 0 0,-13 0 0,1 14 16,-1-14-16,27 0 15,-27 13-15,40 0 16,-27 0-16,-13 1 15,14-14-15,-14 13 0,0-13 0,1 13 16,-1 0-16,13-13 0,-12 14 0,25 12 16,-26-13-1,1 0-15,25 27 16,-25-27-16,-1 1 16,13 12-16,-26-13 0,13 1 15,1-1-15,-1 0 0,0 13 0,-13-12 16,13-1-16,1 0 0,-1 14 15,0-14-15,0 0 0,1 0 0,-1 14 16,0-14-16,0 13 0,0-12 0,1-1 16,-1 13-16,13 14 15,-12-14-15,-1 1 0,0-14 16,14 14-16,-14-1 0,0 1 0,40 52 16,-27-53-16,1 14 15,12 13 1,-12-27-16,-14 1 0,14-1 0,-14 1 15,13-1-15,-12 1 0,12-14 0,0 13 16,1 1-16,-14-14 0,14 14 16,-1-1-16,1-13 0,-1 14 0,0-14 15,1 0-15,-1 0 0,1-13 0,-14 14 16,27-1 0,-27-13-16,13 0 15,1-13 1,-54 13-16</inkml:trace>
  <inkml:trace contextRef="#ctx0" brushRef="#br0" timeOffset="133125.07">20214 8506 0,'-13'14'16,"13"-1"-16,-13-13 15,13 13-15,0 0 0,-14 0 0,14 1 16,0 12-16,-13-13 0,13 1 16,-13 12-16,13-13 0,0 14 0,-13-14 15,13 0-15,-13 14 0,13-14 16,0 0-16,-14 0 0,14 1 15,0-1-15,-13 0 16,13 0-16,13 1 16,1-1-1,-1-13-15,0 0 16,0 0-16,0 0 0,14 13 0,-14-13 16,27 0-16,-14 0 15,1 0-15,65 13 0,-39-13 0,-13 0 16,13 13-16,-13-13 0,13 0 15,92 14 1,-92-14-16,0 0 0,0 13 0,0-13 0,-14 0 16,14 0-16,0 0 0,-13 13 15,13-13-15,-14 0 0,14 0 16,14 13-16,-1-13 16,-27 0-16,-12 0 0,-1 0 0,1 0 15,-1 0-15,1 0 0,-1 0 16,1 0-16,-1 0 0,-13 0 0,14 0 15,-1 0-15,-13 0 0,1 0 0,12 0 16,-13-13-16,1 13 0,12 0 16,-13 0-16,1 0 0,-1 0 15,0-13-15,0 13 0,0 0 0,1 0 16,-1 0-16,0-13 0,0 13 16,1 0-16,-1 0 15,0-14-15,0 14 0,0 0 0,1 0 16,-1-13-16,0 13 15,0 0-15,1 0 0,-1-13 16,0 13-16,0 0 16,1-13-1,-1 13-15,0 0 16,0-13-16,0 13 16,1-14-16,-1 1 15,0 0-15,-13 0 16,13-1-16,-13 1 0,14 0 15,-14 0-15,13-14 0,-13 14 0,13-13 16,14-54 0,-27 54-16,13-1 0,-13 1 0,13 13 15,-13-14-15,13-13 16,-13 27-16,13 0 0,-13-13 16,0 12-16,0-12 0,0 13 15</inkml:trace>
  <inkml:trace contextRef="#ctx0" brushRef="#br0" timeOffset="133653.79">22741 8731 0,'-27'27'16,"14"-14"-16,-13 0 15,-1 14-15,14-14 16,0 13-16,0-12 0,-1-1 15,1 13-15,0-13 16,13 1-16,0-1 16</inkml:trace>
  <inkml:trace contextRef="#ctx0" brushRef="#br0" timeOffset="134200.99">22662 8916 0,'39'-52'16,"-26"38"-1,-13 1-15,0 0 16,-52 105-16,91-211 31,-52 119-31,0 0 16,0 14-16,-1-14 0,1 13 15,0 0 1,0 0-16,13 1 16,0-1-1,13-13-15,0 0 0,0 0 16,1-13-16,-1-1 15,0 1-15,0-27 16,0 14 0,-13 13-1,-13-14-15,0 27 16,0-13-16,-14 13 16,-12 13-16,25-13 15,1 0-15,-13 13 16,12 14-16,14-14 15,14 0 1,12-13-16,1 14 16,-14-14-16,0 0 0,14 0 15,-14 0-15,0-14 16,0 14-16,0 0 16,1 0-16,-14 14 15,13-14-15,13 26 16,-12-26-1,-1 27 1,13-27 0,-12 13-16,-1-13 0,13 0 15,1 13 1,-14-13 0</inkml:trace>
  <inkml:trace contextRef="#ctx0" brushRef="#br0" timeOffset="134832.51">19526 8850 0,'-66'53'0,"53"-26"16,0-27-16,-14 26 0,14 1 15,0-14-15,0-13 0,-1 13 16,14 0-16,-13 1 16</inkml:trace>
  <inkml:trace contextRef="#ctx0" brushRef="#br0" timeOffset="135039.6">19685 8811 0,'-13'26'16,"0"-13"-1,13 1-15,-14-1 0,1 0 16,0 0-16,0 0 15,-1 1-15,1-1 0,0-13 0,13 13 0,-13 0 16,-1 1-16</inkml:trace>
  <inkml:trace contextRef="#ctx0" brushRef="#br0" timeOffset="135219.07">19804 8784 0,'13'-13'15,"-39"53"17,13-27-32,-1 0 0,14 0 15,-13 1-15,-13-1 0,-1 26 16,14-25 0,13-1-1</inkml:trace>
  <inkml:trace contextRef="#ctx0" brushRef="#br0" timeOffset="135360.75">19910 8797 0,'13'-13'0,"-13"40"0,0-14 16,-13 0-16,13 14 16,-27 12-16,27-26 0,-13 14 15,0-1-15,0 1 0,0-14 0,13 14 16</inkml:trace>
  <inkml:trace contextRef="#ctx0" brushRef="#br0" timeOffset="136304.99">19619 9088 0,'-13'0'0,"52"0"31,-12 0-31,12 0 16,14 0-1,-39 0-15,-1 0 0</inkml:trace>
  <inkml:trace contextRef="#ctx0" brushRef="#br0" timeOffset="136479.79">19526 9234 0,'80'0'32,"-67"0"-32,13 0 15,1 0-15,12 0 0,1 0 0,-13 0 16,12 0-16</inkml:trace>
  <inkml:trace contextRef="#ctx0" brushRef="#br0" timeOffset="137093.91">22662 9049 0,'13'-13'15,"26"13"1,-25 0-16,-1-14 16,27 14-16,-27 0 0,13 0 15</inkml:trace>
  <inkml:trace contextRef="#ctx0" brushRef="#br0" timeOffset="137273.78">22648 9128 0,'14'0'0,"-1"0"16,0 0-16,0 0 0,27 0 15,-14-13-15,-12 13 16,12 0-16</inkml:trace>
  <inkml:trace contextRef="#ctx0" brushRef="#br0" timeOffset="161132.54">12250 8744 0,'27'0'16,"-1"0"-1,14 0 1,-14 0-16,-13 0 0,14 0 16,-1 0-16,1 0 0,13 0 0,39 0 15,-39 14 1,-14-14-16,40 0 15</inkml:trace>
  <inkml:trace contextRef="#ctx0" brushRef="#br0" timeOffset="161891.85">13295 8784 0,'133'27'31,"-107"-14"-31,14-13 0</inkml:trace>
  <inkml:trace contextRef="#ctx0" brushRef="#br0" timeOffset="162476.51">14327 8824 0,'40'13'0,"-14"0"16,-12-13 0,25 0-16,-12 0 0,-14 0 15,13 0-15,1 0 0,26 0 16,-27 0-16,27-13 15,-26 0-15,12 13 0,-25-13 0,12 13 16,0-14-16,41-39 16,-54 40-16,0 13 15,-13-13-15,13-13 0,0 12 16,-13 1-16,0 0 0,0 0 16,0-14-16</inkml:trace>
  <inkml:trace contextRef="#ctx0" brushRef="#br0" timeOffset="165464.6">8189 9419 0,'13'-13'0,"27"13"16,-1 0-1,-12 0-15,26 0 0,0 0 0,13 0 16,-13 0-16,172 13 16,-159-13-16,13 13 0,67-13 15,-14 14 1,-79-1-16,0-13 0,-13 13 0,-1-13 15,-12 0-15,-1 13 0,40-13 16,-26 14 0,-27-14-1,-13 13-15,-26-13 32,-27-13-17</inkml:trace>
  <inkml:trace contextRef="#ctx0" brushRef="#br0" timeOffset="166084.01">8586 9472 0,'26'0'15,"1"0"-15,-1 13 0,14-13 16,-1 0-16,67 0 15,-53 14-15,0-14 0,27 0 16,-14 0-16,0 13 0,119-13 16,-119 13-16,93-13 15,-93 0-15,-13 0 16,-13 13-16,13-13 0,-14 0 0,-12 0 16,-1 0-16,1 0 0,-14 0 15,13 0-15,1 13 0,-1-13 16,-13 0-16,1 0 0,-1 0 15,13 0 1,-12 0 0,-1 0-1,0 0 1,0 0 0,1 0 15</inkml:trace>
  <inkml:trace contextRef="#ctx0" brushRef="#br0" timeOffset="169185.94">20664 4987 0,'26'-26'0,"1"26"0,-14 0 15,93 0-15,-53 0 16,0-13-16,0 13 0,-14 0 15,14 0-15,106 0 16,-119 0-16,-1 0 0,54 0 16,-80 0-16,40 0 15,-40 0 1</inkml:trace>
  <inkml:trace contextRef="#ctx0" brushRef="#br0" timeOffset="169464.28">20902 5014 0,'53'13'0,"0"-13"16,-27 0-16,14 0 0,0 0 16,13 0-16,0 13 0,-1-13 0,1 0 0,-13 0 15,132 0 1,-145 0-1,-14 0-15,0 14 0,0-14 16,0 0-16,14 0 0,-14 0 16,0 0-1,-13 13 1</inkml:trace>
  <inkml:trace contextRef="#ctx0" brushRef="#br0" timeOffset="173217.72">12502 9168 0,'13'13'0,"13"-13"0,-13 0 16,1 0 0,-1 0-16,13 13 0,1-13 0,-1 0 15,1 0-15,92 14 16,-66-1-16,92 0 16,-79 0-16,146 14 15,-146-27-15,80 26 16,-80-13-16,13-13 0,-13 14 15,14-1-15,-1 0 0,67 13 16,-80-12-16,13-1 0,-13-13 16,80 26-16,-67-26 15,1 14-15,-14-14 0,13 0 0,-13 13 16,159-13-16,-159 0 16,133 0-1,-133-13-15,-13 13 0,0-14 0,0 14 16,79-26-16,-92 13 15,79-27 1,-93 14-16,14 12 0,0-12 16,-14 13-16,14-14 0,-1 1 0,1-1 15,0 1-15,-14-14 0,54-26 16,-41 40-16,1-14 0,-14 13 16,54-65-16,-41 52 15,-12 0-15,13 1 0,-14-1 16,1-13-16,-1 13 0,14-13 15,-14 1-15,1-1 0,-1 0 0,1 0 16,-14 0-16,13 0 0,1 0 0,39-106 16,-40 120-16,1-1 15,-1-13-15,-13 13 0,14-13 16,-1 14-16,54-107 16,-27 67-1,-27 39-15,1 0 0,39-79 16,-40 80-16,-13-1 15,14 14-15,-14-14 0,14 0 0,-14 14 16,0-14-16,0 14 0,14-1 16,-14-13-16,0 14 0,0 0 0,1-14 15,25-40 1,-26 54-16,1 0 0,-1-1 0,0 14 16,0-14-16,1 1 0,25-53 15,-39 65-15,14-12 0,12-14 16,-13 14-16,0 13 15,1-14-15,-1 14 0,0-14 16,-13 14-16,13 0 0,14-53 16,-14 53-16,0-1 15,-13 1-15,14 0 0,-14-14 0,13 14 0,0 0 16,-13 0-16,13-1 0,0 1 16,-13 0-16,14 0 0,-1 0 15,0-14-15,-13 14 0,13 0 0,1-1 16,-1 1-16,0 0 0,0 0 15,1-1-15,-14 1 16,13 13-16,-13-13 16,13 0-1</inkml:trace>
  <inkml:trace contextRef="#ctx0" brushRef="#br0" timeOffset="173472.48">17952 5966 0,'-66'14'0,"53"-14"0,-1 13 16,-12 0-16,-1 0 0,14 0 16,-13 1-16,-1-1 0,1 0 0,13 0 15,-14 1-15,14-1 0,0 0 16,-14-13-16,14 13 0,0 1 0,0-1 16,-1-13-1,1 0-15</inkml:trace>
  <inkml:trace contextRef="#ctx0" brushRef="#br0" timeOffset="173673.52">17780 5953 0,'26'13'16,"-26"1"-16,14-14 0,-14 13 15,13 0-15,0 0 0,0 0 16,27 27-16,-13-27 15,-14 1-15,13-1 0,14 13 16,-14-12-16,1 12 0,-1-13 16,1-13-16,-14 13 0,13-13 0,1 14 15,-14-14-15</inkml:trace>
  <inkml:trace contextRef="#ctx0" brushRef="#br0" timeOffset="176305.92">5080 10041 0,'40'-13'15,"-27"26"-15,13-13 0,-12 0 0,-1 0 16,13 0-16,1 0 0,12 0 16,-12 0-16,-1 0 0,-12 0 15,12 0-15,-13 0 0,1 0 0</inkml:trace>
  <inkml:trace contextRef="#ctx0" brushRef="#br0" timeOffset="176547.08">5199 10094 0,'40'0'16,"-27"0"-16,27 0 15,-27 13 1,13-13-16,-12 0 0,39 0 15,-40 0 1,0 0-16,0 0 0,0 13 0,14-13 16,-14 0-1</inkml:trace>
  <inkml:trace contextRef="#ctx0" brushRef="#br0" timeOffset="177496.33">8202 10014 0,'27'0'0,"-1"0"0,-13 14 0,14-14 16,-1 0-16,14 0 0,0 0 0,52 13 15,-39-13-15,0 0 16,0 0-16,0 0 0,0 13 16,119-13-16,-119 13 15,13-13-15,-13 0 0,0 0 0,-14 14 16,1-14-16,39 0 16,-52 0-16,-1 13 15,-13-13-15,1 0 0,-1 0 0,0 0 16</inkml:trace>
  <inkml:trace contextRef="#ctx0" brushRef="#br0" timeOffset="178138.9">8930 10067 0,'39'14'16,"-25"-14"-16,12 0 16,1 0-16,92 13 15,-66-13-15,-1 0 16,1 0-16,-13 13 0,13-13 0,-13 0 16,79 0-1,-80 0-15,-12 0 0,-1 0 0,27 0 16,-40 0-16,40 0 15,-39 0-15,-1 0 16,0 0-16,0 0 0,-13 13 0,27-13 31,-14 0-31,0-13 0,0 13 16,1 13 0,-1-26-1,-13 26 16,-27-26 204,14 0-220,0 13-15,0 0 16,-1-13-16</inkml:trace>
  <inkml:trace contextRef="#ctx0" brushRef="#br0" timeOffset="179021.53">3413 10610 0,'93'13'0,"-67"-13"16,1 0-16,-1 0 0,14 0 15,-14 0-15,27 13 0,-26-13 0,12 0 16,-12 0-16,12 0 0,-12 0 15,-1 13-15,1-13 0,-1 0 0,1 0 16,-14 14-16,0-14 0</inkml:trace>
  <inkml:trace contextRef="#ctx0" brushRef="#br0" timeOffset="179221.62">3625 10742 0,'39'0'16,"-25"0"-16,12 13 0,-13-13 15,14 0-15,-14 0 0,14 0 16,-1 0-16,0 0 0,-12 0 16,12 0-16,1 0 0,26 0 15,-27 0-15,0 0 0</inkml:trace>
  <inkml:trace contextRef="#ctx0" brushRef="#br0" timeOffset="180007.61">6482 10530 0,'27'0'16,"-14"0"-16,0 0 0,0 0 0,1 0 15,-1 0-15,0 0 0,14 0 16,-14 0-16,13 0 0,1 0 0,-14 0 15,0 0-15,14 0 0,-14 0 16,0 14-16,0-14 0,1 0 0,-1 0 16,0 0-1,0 0-15,0 0 0,1 0 16,-14 13 31,13-13-32,-13 13-15</inkml:trace>
  <inkml:trace contextRef="#ctx0" brushRef="#br0" timeOffset="180603.13">7673 10676 0,'-13'-13'16,"-1"13"-16,1 0 0,0 0 0,0 0 0,0 0 15,-27 0-15,13 0 16,14 13-16,0-13 0,0 0 0,-14 0 16,14 0-16,0 0 0,0 0 15,-1 0-15</inkml:trace>
  <inkml:trace contextRef="#ctx0" brushRef="#br0" timeOffset="181439.66">8520 10597 0,'92'0'0,"-79"0"16,54 0-16,-41 0 15,-13 0-15,14 0 0,-14 0 0,0 0 16,14 0-16</inkml:trace>
  <inkml:trace contextRef="#ctx0" brushRef="#br0" timeOffset="182174.95">9948 10583 0,'27'0'15,"-14"0"-15,0 0 0,27 14 16,-27-14-16,14 0 16,-14 0-16,0 0 0,14 0 0,-14 0 15,0 13-15,0-13 0</inkml:trace>
  <inkml:trace contextRef="#ctx0" brushRef="#br0" timeOffset="185130.33">12290 10676 0,'132'26'0,"-105"-12"0,-1-14 15,14 13-15,-1 0 0,81 14 16,-81-14-16,1-13 15,0 13-15,-1 0 0,1-13 0,13 13 16,-13-13-16,79 27 16,-80-27-16,54 13 15,-40-13-15,0 0 0,0 13 16,0-13-16,105 14 16,-92-14-16,14 13 0,26-13 15,-53 0-15,0 13 0,-1-13 16,1 0-16,0 13 0,106-13 15,-106 0-15,-13 14 16,65-14-16,-52 0 16,-13 0-16,13 0 0,0 13 0,79-13 15,-79 0-15,0 0 16,40 0-16,-54 0 16,14 0-16,66 13 15,-92-13-15,12 0 0,14 0 16,-13 0-16,26 0 15,-26 0-15,-14 0 0,14 0 0,-13 0 16,12 0-16,1 0 0,0 0 0,-14 0 16,27 0-16,-13 0 0,-14 0 15,14 0-15,26-13 0,27 13 16,-67 0 0,0 0-16,41-13 15,-54 13-15,13-14 0,-13 14 16,40-13-16,-39 13 15,12 0-15,-13-13 0,1 13 16,25-13-16,-12-1 16,-14 14-16,0 0 0,0-13 0,1 13 15,12-13-15,-13 13 0,1-13 16,-1 13-16,13-27 0,14 14 16,-27 13-16,0-13 15,1 13-15,-1-13 0,0-1 0,14 14 16,-14-13-16,0 0 0,0 13 15,0-13-15,1-1 0,-1 1 0,0 13 16,0-13-16,1 0 0,-1-1 0,0 1 16,-13 0-16,13-13 15,1 12-15,-14 1 16,0 0-16,13-14 0,-13 14 16,0 0-16,0 0 0,0 0 0,0-14 0,0 14 15,0 0-15,0-1 0,0 1 16,0 0-16,-13-14 0,13 14 0,0 0 15,0 0-15,0 0 0,-14 13 0,14-14 16,0 1-16,0 0 0,-13 0 16,13-1-16,0 1 0,-13 0 0,0 0 15,-1-1-15,1 1 16,13 0-16,-13 0 0,-14 0 16,14 13-16,0-14 0,-13 1 0,12 0 15,-12 13-15,-1-13 0,1-1 0,-1 14 16,14-13-16,-40 0 15,27 0-15,-1 13 0,14-14 0,-13 14 16,-1-13-16,1 13 0,-1-13 16,1 13-16,-1-13 0,1 13 0,-1-13 15,1 13-15,0-14 0,-1 14 0,1-13 16,-1 13-16,1 0 0,13-13 16,-14 13-16,1 0 0,12-13 15,-25 13-15,12 0 0,14-14 16,-13 14-16,12 0 0,1 0 15,-13 0-15,12-13 0,1 13 0,-13 0 16,12 0-16,-12 0 0,13 0 0,-14-13 16,1 13-16,-1 0 0,14 0 15,-26 0-15,12-13 0,1 13 0,-1 0 16,-13 0-16,-12-14 0,12 14 16,13 0-16,1-13 0,-1 13 15,1 0-15,0 0 0,-14-13 16,13 13-16,1 0 0,-67-13 15,27 0 1,13 13-16,-66-14 16,80 14-16,-1-13 0,-26 13 15,39-13-15,-12 13 0,12 0 16,1-13-16,-14 13 0,13 0 0,1 0 16,-14-14-16,14 14 0,-27 0 15,27 0-15,-14-13 0,13 13 16,1 0-16,-1 0 0,1 0 0,0 0 15,-14 0-15,13 0 0,1-13 16,-1 13-16,1 0 0,0 0 16,-1 0-16,1 0 0,-1 0 0,14 0 0,-14 0 15,1-13-15,0 13 0,-1 0 16,-26 0-16,27 0 16,-27-13-16,13 13 0,14 0 15,-1 0-15,-12-14 0,12 14 0,-13 0 16,-13 0-1,14 0-15,12-13 0,1 13 0,-14 0 0,14 0 16,-1 0-16,1 0 0,-1 0 16,1 0-16,-1 0 0,1 0 15,0 0-15,12 0 0,-12 0 0,-1 0 16,1 0-16,-1 0 0,1 13 0,13-13 16,-14 0-16,1 0 0,13 0 0,-14 0 15,14 0-15,-14 14 0,14-14 16,0 0-16,0 0 0,-14 13 15,14-13-15,-13 0 0,12 13 16,-12-13-16,13 0 16,-1 13-16,1-13 0,0 0 0,0 13 15,0-13-15,-1 14 0,-12-14 0,13 13 16,-1-13-16,1 13 0,0-13 16,-14 13-16,14-13 0,0 14 0,0-14 15,-14 26-15,1-26 16,13 13-16,-14 14 0,14-14 15,0 0-15,-14 0 0,14 1 16,0-1-16,-14 27 0,27-27 16,-13 13-16,0 1 0,0-14 15,13 13-15,0 1 0,-14-1 0,14 1 16,0-1-16,14 14 0,-14-14 0,13 14 16,0 0-16,0-1 0,67 54 15,12-27 1,-39-26-16,13-27 0,1 14 15,-1-14-15,0 13 0</inkml:trace>
  <inkml:trace contextRef="#ctx0" brushRef="#br0" timeOffset="189679.51">11986 12144 0,'26'0'0,"1"0"0,-14 0 0,26 0 0,1 0 16,66 0-16,-53 14 16,26-14-16,1 0 0,-1 0 0,0 0 15,1 0-15,79 13 0,65-13 16,-171 0 0,13 0-16,-26 13 0,79-13 15,-79 13-15,-27-13 16,14 0-16,-14 0 0,13 14 15,-12-14-15,-1 0 0,0 0 0,-13 13 16,13-13-16,0 0 0,1 0 16,-14 13-16,13-13 0,0 0 0,0 0 15,1 13-15,-1-13 0</inkml:trace>
  <inkml:trace contextRef="#ctx0" brushRef="#br0" timeOffset="191641.42">14645 12012 0,'26'13'31,"27"1"-15,-26-14-16,-1 0 15,106 26 1,-79-13-16,0-13 0,13 13 0,-13 1 16,13-14-16,-13 13 0,0-13 15,146 26 1,-120-12-16,53-1 0,-52 0 0,-14-13 16,0 13-16,13 1 0,-13-1 15,1 0-15,12-13 0,0 13 0,-13 0 16,80 1-16,-80-1 15,14 0-15,-14-13 0,119 13 16,-132-13-16,13 0 16,-13 0-16,66 0 0,-66 0 15,-13 0-15,12 0 0,1 0 16,0 0-16,-13-13 0,13 13 0,0 0 16,-14-13-16,14 13 0,-13 0 15,13-13-15,-13 13 0,-1-14 0,14 14 16,-13-13-16,0 13 0,-1 0 0,1-13 15,0 13-15,-1-13 0,14 13 16,-26-13-16,-1 13 0,40-14 16,-39 14-16,13 0 0,-14-13 0,0 13 15,1 0-15,-1 0 0,27-13 16,-39 13 0,12 0-16,0-13 0,-12 13 0,-1 0 0,0-14 15,0 14-15,14 0 0,-14-13 16,0 13-16,0-13 0,14 13 0,-14-13 15,0 13-15,1-14 0,-1 1 0,0 0 16,0 0-16,14 0 0,-27-1 16,26 1-16,-26 0 0,13 0 0,1-1 15,-14 1-15,13 0 0,-13-14 0,0 14 16,13 0-16,-13 0 0,0-14 16,0 14-16,-13 0 0,13 0 15,-13-14-15,13 14 0,-14-13 0,-12-1 0,13 1 16,-14 12-16,1-12 15,-1-1-15,1 1 0,-14 13 0,-26-27 16,26 27-16,1-14 16,12 14-16,-12 0 0,12 13 0,-39-27 15,40 27-15,-1-13 0,1 13 16,-1-13-16,-13 13 0,14-13 16,0 13-16,-14-13 0,13 13 15,-12-14-15,12 14 0,1-13 0,-14 13 0,0-13 16,1 13-16,12-13 0,-12 13 15,-1-14-15,0 14 0,1-13 16,-1 13-16,-40-13 0,41 13 16,-1-13-16,-13 13 0,0 0 15,14-14-15,-14 14 0,-53-13 16,40 13-16,13 0 0,0-13 0,0 13 16,0 0-16,0 0 0,-13-13 15,13 13-15,0 0 0,0 0 16,0 0-16,14 0 0,-14 0 0,0 0 0,13 0 15,-13-13-15,13 13 0,-12 0 16,12 0-16,0 0 0,-13 0 0,-39 0 16,52 0-16,14 0 15,-14 0-15,13 0 0,-12 0 16,-1 0-16,14 0 0,-14 0 0,13 0 16,1 0-16,-14 0 0,14 0 0,-1 0 15,-12-14-15,12 14 0,1 0 16,-40 0-16,39 0 0,-13-13 15,-26 13-15,40 0 16,-14 0-16,0 0 0,14 0 0,-40 0 16,26 0-16,14 0 0,-14-13 15,14 13-15,-14 0 0,13 0 16,-12 0-16,-1 0 0,14 0 0,-14 0 16,-26 0-16,26 0 0,0 0 15,1 0-15,-1 13 16,14-13-16,-14 0 0,0 0 0,14 0 15,-1 13-15,-12-13 0,12 0 0,1 0 16,-1 0-16,1 14 0,-27-14 16,40 0-16,-14 0 0,14 13 15,-14-13-15,14 0 0,0 0 16,-13 0-16,12 0 0,1 0 0,0 13 16,-14-13-16,14 0 0,0 0 15,-14 13-15,14-13 0,0 0 0,0 13 16,-14-13-16,14 0 0,0 14 0,0-14 15,-27 26-15,27-26 16,-1 13-16,-12 1 0,13-1 0,0 0 16,-14 0-16,14 1 0,0-1 0,-1 0 15,1 0-15,-13 27 16,12-14-16,14 1 0,0-14 16,-13 14-16,26 25 0,-13-12 15,14 0-15,12 0 0,1-1 0,-1 1 16,14 0-16,-1-1 0,14 1 15,0-14-15,66 41 0,-52-54 16,-1 13-16</inkml:trace>
</inkml:ink>
</file>

<file path=ppt/ink/ink19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50:59.363"/>
    </inkml:context>
    <inkml:brush xml:id="br0">
      <inkml:brushProperty name="width" value="0.05292" units="cm"/>
      <inkml:brushProperty name="height" value="0.05292" units="cm"/>
      <inkml:brushProperty name="color" value="#0070C0"/>
    </inkml:brush>
  </inkml:definitions>
  <inkml:trace contextRef="#ctx0" brushRef="#br0">2209 10134 0,'0'-14'15,"27"28"1,-27-1-16,39-13 15,1 13 1,-27 0-16,40 0 0,-26-13 16,-1 14-16,-13-14 0,14 0 0,-1 13 15,-12-13-15,-1 0 0,26 13 16,-25-13-16,-1 0 16,0 13-16,0-13 15,1 0-15,-1 0 16,13 0-1</inkml:trace>
  <inkml:trace contextRef="#ctx0" brushRef="#br0" timeOffset="1010.03">5106 10279 0,'27'-13'0,"-14"13"15,0 0-15,14 0 16,-1 0-16,1 0 0,12 0 0,14 0 0,40 0 16,13 0-1,-53 0-15,0 0 0,13 0 16,0 0-16,13 13 0,80-13 15,-80 0-15,1 0 0,-1 0 0,1 0 16,-1 0-16,-13 0 0,13 13 16,-26-13-16,66 0 0,-13 0 15,-53 14-15,0-14 16,-26 0-16,-1 0 0,27 0 16,-27 0-16,-12 0 15,12 0-15,-13 0 16,1 0-1,-1 0-15,0 0 32,-13 13-1,13-13 0,-13 13 0</inkml:trace>
  <inkml:trace contextRef="#ctx0" brushRef="#br0" timeOffset="2022.68">8996 10226 0,'66'0'0,"-40"0"0,54 0 16,-27 0-16,13 0 0,119 0 15,-106 0-15,93 0 16,-92 0-16,12 13 16,80 1-16,-13-1 15,0 0-15,-80-13 16,-13 13-16,80 14 16,-67-14-1,-52-13-15,-14 0 16,-39 13-1,-1-13-15,-66-13 16,41 13 0</inkml:trace>
  <inkml:trace contextRef="#ctx0" brushRef="#br0" timeOffset="2874.47">1826 11007 0,'53'0'31,"171"-14"-16,-157 14-15,105-13 16,-93 13-16,80-13 0,-1 13 16,-12-13-1,105 13 1,-224 0-16,92 0 47,-106 0-32,14 0 1,-1 0 0,-13 13 46</inkml:trace>
</inkml:ink>
</file>

<file path=ppt/ink/ink19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51:12.462"/>
    </inkml:context>
    <inkml:brush xml:id="br0">
      <inkml:brushProperty name="width" value="0.05292" units="cm"/>
      <inkml:brushProperty name="height" value="0.05292" units="cm"/>
      <inkml:brushProperty name="color" value="#0070C0"/>
    </inkml:brush>
  </inkml:definitions>
  <inkml:trace contextRef="#ctx0" brushRef="#br0">3347 2844 0,'145'-13'16,"-92"0"-16,0 13 0,27 0 15,92 0-15,-80 0 0,1 0 16,105 0-16,-92 0 16,-13 0-16,-1 0 0,1 13 0,0-13 15,-14 0-15,0 0 0,-13 0 0,-13 0 16,27 0-16,-41 0 16,-12 0-16,-14 0 0,14 13 0,-14-13 15</inkml:trace>
  <inkml:trace contextRef="#ctx0" brushRef="#br0" timeOffset="253.65">3704 3043 0,'-40'0'16,"120"13"-16,-14-26 15,13 13-15,1-14 0,105 1 16,-53 13-16,-39-13 0,39 0 16,-26 13-16,-13 0 0,-1 0 0,1-13 15,-1 13-15,-12 0 0,-1 0 16,27 13-16,-27-13 16,-39 13-16,-27 0 15,1 0-15,-28 1 16</inkml:trace>
  <inkml:trace contextRef="#ctx0" brushRef="#br0" timeOffset="4583.7">5927 3836 0,'53'0'15,"-27"0"-15,53 14 16,27-14-16,-53 0 16,79 13-16,-65 0 0,-1-13 15,40 13 1,13 1-16,-66-1 0,-1-13 0,81 26 31,-120-12-31,13-1 16,1 0-16,-27 0 0,0 0 15,13 1 1,-13-1-16</inkml:trace>
  <inkml:trace contextRef="#ctx0" brushRef="#br0" timeOffset="6352.85">8308 3889 0,'26'14'16,"27"-1"0,-26-13-16,-1 13 0,14-13 15,39 13-15,-26 1 16,40-1-16,-54-13 0,67 0 15,-53 13-15,0-13 16,0 0-16,53 13 0,-53-13 16,0 0-16,0 13 0,0-13 15,-14 0-15,1 0 0,0 0 16,-1 0-16,-12 0 0,12 0 0,1 0 16,-13 0-16,12 0 0,-12 0 0,39 0 15,0-13-15,-26 13 16,-14 0-16,27-13 15,-26 0-15,-1 13 0,0-13 0,-12 13 16,12-14-16,1 1 0,-1 13 16,14-26-16,-1 12 15,-25 1-15,-1 0 0,13 0 0,1-1 16,-14 1-16,0 0 16,1 0-16,-14 0 0,13-1 0,-13 1 15,13-13-15,-13 12 16,0 1-16,0 0 0,0-14 0,-13-12 15,13 12-15,-40-39 16,0 13-16,14 27 16,-1-1-16,1 1 0,0 13 15,-1-14-15,-39-12 0,26 25 16,14 1-16,-1 0 0,-12 0 0,12-14 16,1 14-16,-1 13 0,-65-53 15,65 53-15,1-26 16,-40 12-16,13-12 15,26 13-15,1-1 16,-1 14-16,1-13 0,-1 13 0,1-13 16,-14 0-16,1-1 0,12 1 15,14 13-15,-27-13 16,14 13-16,-14-13 16,27 13-16,-14 0 0,1-13 0,13 13 15,-14 0-15,14 0 0,-40 0 16,40 0-16,0 0 0,-54 0 15,54 0-15,0 0 16,0 0-16,-14 0 0,14 0 16,0 0-16,-27 0 0,27 0 15,-27 0-15,14 0 0,-1 0 16,1 0 0,13 13-16,-40-13 0,39 0 15,-12 0-15,13 0 0,-14 13 16,14-13-16,0 0 15,0 13-15,-14-13 16,14 13-16,0-13 0,0 0 16,-1 14-16,1-1 15,0 0 1,0 0-16,-1-13 16,1 14-16,0-1 15,0 0-15,-1 0 16,1 1-16,0-14 15,13 13-15,-13-13 0,13 13 16,-13-13-16,13 13 0,-14 0 16,1 1-16,13-1 15,-13 0-15,13 0 16,0 1-16,-13-1 0,13 0 16,0 0-16,0 1 15,-14-1-15,14 0 16,0 0-16,0 0 0,0 1 15,-13-1-15,13 0 16,0 0-16,0 1 0,0 12 16,0-13-16,0 0 15,0 1-15,0-1 16,0 0-16,0 0 0,0 14 16,0-1-16,0-12 15,0-1-15,0 0 0,13 0 16,-13 0-16,0 14 0,14-14 15,-14 14-15,0-14 0,13 0 0,-13 0 16,13 1-16,0-1 0,1 13 16,25 1-16,-26-14 15,1 0-15,25 14 0,-25-14 16,-1 0-16,0 0 16,0-13-16</inkml:trace>
  <inkml:trace contextRef="#ctx0" brushRef="#br0" timeOffset="8375.12">6892 4008 0,'14'14'16,"-1"-14"-16,0 0 0,0 13 16,1-13-16,12 0 15,0 0-15,-12 0 0,12 0 0,-13 0 16,1 0-16,12 0 16,-13 0-16,14 0 0,-1-13 0,-13 13 15,14 0-15,-14-14 0,14 14 0,-14-13 16,13 13-16,-13 0 0,14-13 15,-14 13-15,0-13 0,1 13 0,39-27 16,-40 27-16,0-13 16,0 13-1,0-13-15,1 0 0,-1-1 16,0 1-16,-13 0 16,13 13-16,-13-13 0,0-1 15,14 14-15,-14-13 0,0 0 16,13 13-16,-13-13 0,0 0 31,0-1-31,13 14 0,-13-13 16,0 0-16,0 0 15,0-1 1,-13 1-16,13 0 0,0 0 0,0-1 16,-13 1-16,13 0 15,0 0-15,-14 0 0,14-1 16,-13 1-16,13 0 15,-13 0-15,13-1 0,-13 1 16,-1 0-16,14 0 16,-13-14-16,0 14 0,0 0 15,13 0-15,-13-1 16,-1 14-16,14-13 0,-13 0 0,0 0 16,0 13-16,13-14 0,-14 1 15,-12-13-15,13 26 0,-1-13 16,1-1-16,0 14 0,0-13 0,-27 0 15,27 0-15,-27-14 16,27 27-16,-13-13 0,12 0 16,-25-1-16,12 1 15,14 0-15,-14 0 0,14 13 0,-13-13 16,-1-1-16,1 1 16,-1 0-16,-12 13 0,25-13 15,-25 13-15,12 0 16,14-14-16,0 14 0,-14 0 0,14 0 15,-26 0-15,25 0 0,1 0 16,-13 0-16,12 0 0,1 0 16,-13 0-16,12 0 0,1 0 15,-26 0-15,12 0 0,14 0 0,-14 0 16,14 0-16,-13 0 16,-1 0-16,14 0 0,-27 14 15,27-14-15,0 0 0,-14 0 16,14 0-16,0 0 0,0 0 15,-1 0-15,-12 13 16,13-13-16,0 0 0,-1 0 0,1 0 16,0 13-16,0-13 15,-1 0-15,1 0 0,0 13 0,0-13 16,-14 0-16,14 0 0,0 14 16,-14-14-16,1 13 15,13-13-15,-1 0 16,1 13-16,0-13 0,0 0 15,0 13-15,-1-13 16,1 13 0,0-13-16,0 14 15,-1-14 1,14 13-16,-13-13 16,0 0-16,13 13 0,-13 0 15,-1 1 1,1-1-1,0 0 17,13 0-32,-13-13 15,13 14-15,0-1 16,-13 0-16,13 0 16,0 0-16,0 1 0,0-1 15,0 0-15,0 0 0,0 1 16,0-1-16,0 13 0,0-13 15,0 14-15,0-14 0,0 0 16,0 1-16,0 12 16,13-13-16,-13 1 0,0-1 15,0 13-15,13-13 0,-13 1 0,0-1 16,13 0-16,0 14 0,-13-1 16,14-13-16,-14 1 0,13-1 15,0 13-15,0-13 0,1 1 16,-1-1-16,-13 13 0,13-26 15,14 27-15,-14-14 0,0 0 16,0 1-16,0-1 0,1 0 0,12 0 16,-13 0-16,1-13 15,-1 14-15,13-1 16,-13 0-16,1-13 0,-14 13 16,26 1-16,-13-1 15,14 0-15,-27 0 0</inkml:trace>
  <inkml:trace contextRef="#ctx0" brushRef="#br0" timeOffset="14931.4">16484 3545 0,'-53'-13'0,"26"13"0,14 0 16,0 0-16,-1-13 0,-12 13 0,13 0 16,0 0-16,-14 0 0,1 0 15,-1 0-15,14 0 0,0 0 16,-14 0-16,1 0 0,-1 0 0,14 0 15,-13 13-15,-1-13 0,-39 13 16,40-13-16,-1 0 16,1 14-16,-1-14 0,14 13 0,-13-13 15,12 13-15,-12-13 0,-1 13 0,14-13 16,0 14-16,0-1 0,-1-13 16,1 13-16,0 0 0,0 0 0,0 1 15,13-1-15,-14 0 0,1 14 16,13-14-16,-13 53 0,13-26 15,-13-1-15,13 1 0,0 0 0,-14 13 16,14-14-16,0 14 0,0 0 16,0 0-16,-13 146 15,0-147-15,13 15 0,-13-1 0,13-27 16,-13 28-16,13-28 0,0 14 16,-14-13-16,14 0 0,-13 12 15,13-12-15,0 0 0,-13 0 0,13-1 16,-13 1-16,13-14 0,0 1 15,0-1-15,-14 1 0,14-14 0,0 13 16,0-12-16,0-1 0,0 13 0,0-12 16,14-1-16,-14 0 0,0 0 15,0 1-15,13-14 0,-13 13 16,13 0-16,0 0 16,1-13-16,-1 13 0,0-13 15,27 14-15,-14-14 0,1 13 0,-1-13 16,0 0-16,14 13 0,0-13 15,0 0-15,-14 13 0,14-13 0,-14 0 16,14 0-16,0 0 0,12 0 16,41-13-16</inkml:trace>
  <inkml:trace contextRef="#ctx0" brushRef="#br0" timeOffset="16426.7">24051 3638 0,'-14'-26'16,"41"26"15,13 0-15,-27 0-16,26 13 15,-25-13-15,12 0 0,-13 0 16,14 13-16,-1-13 0,-12 0 0,-1 13 15,0-13-15,27 0 16,-27 13-16,0-13 0,0 0 16,1 14-16,-1-14 15,-13 13-15,13-13 0,-13 13 16,0 0-16,0 1 16,0-1-16,-13 0 0,13 0 15,0 1-15,-13 12 0,13 14 16,0-14-16,0-13 15,-14 14-15,14-1 0,0 1 16,0 39-16,0-26 0,0-1 16,0 1-16,0 0 0,0 13 15,0-14-15,-13 54 0,13-53 16,0 12-16,0-12 0,0 13 0,-13-13 16,13-1-16,0 14 0,0-13 15,-13 0-15,13 13 0,0-14 0,-14 1 16,14 0-16,0-1 0,-13 14 15,13-26-15,0 12 16,0 1-16,-13 0 0,13 0 16,0-27-16,0 0 15,0 0-15,0 0 0,0 1 0,0-1 16,0 13-16,-13-12 16,13-1-16,0 0 15,0 0 1,0 1-1,0-1 17,-13-13-17,-1 13 1,1-13-16,0 0 0,0 0 16,-27 13-16,0-13 15,1 13-15,-14-13 0,0 0 16,-13 14-16,-14-1 0,14-13 0,0 0 15,-13 13-15,12-13 0,1 0 0,13 13 16,0-13-16,0 0 0,14 0 16</inkml:trace>
  <inkml:trace contextRef="#ctx0" brushRef="#br0" timeOffset="23209.6">18997 4313 0,'27'13'0,"-14"-13"15,13 0-15,-13 0 16,27 0-16,-27 0 0,40 0 16,-39 0-16,12 0 0,0 0 15,1 0-15,-1 0 0,1 0 16,-1 0-16,-12 0 0,12 0 0,-13 0 0,14 0 16,-14 0-16,0 0 15,0 0-15,1 0 0,-1 0 16,0 0-16,-39 13 31,-14 0-15,27-13-1,-53 0 1,52 0 0,1 14-16,0-14 0,0 0 0,-1 0 15,-12 0 1,13 0-16,-1 0 15,54 0 32,-27 0-47,1 0 0,25 0 16,-12 0 0,-14 0-16,27 0 0,-27 0 15,13 0-15,-12 0 0,-1 0 16,13 0-16,-13 0 0,14 0 15,-14 0-15,0 13 0,1-13 16,-1 0-16,0 0 16,0 0-1,1 0 1,-54 0 31,27 0-32,-14 0-15,14 0 16,0 0-16,-14 0 0,14 0 16,0 0-1,0 0-15,-1-13 0,-12 13 0,13 0 0,-1 0 16,1 0-16,-13 0 16,13 0-16,-1 0 15,1 0-15,0 0 16,53 0 31,12 0-32,-38 0-15,12 0 16,1 0-16,-1 0 0,0 13 16,-12-13-16,12 0 15,-13 0 1,1 0-16,-1 0 15,-40 0 17,-12-13-17,25 13-15,1 0 0,0 0 0,0 0 16,0 0-16,-1 0 0,1 0 16,0 0-16,0 0 0,-1 0 15,1 0-15,0 0 0,-13 0 0,12 0 16,1 0-1,0 0 1,53 0 15,-14 0-15,-13 0-16,0 0 16,14 0-16,-14 0 0,0 0 15,1 0-15,-1-14 0,0 14 16,0 0-16,0 0 15,1 0-15,-54 14 47,27-14-47,-27 0 16,27 0-16,-14 0 0,-52 0 16,66 0-1,0 0-15,-1 0 0,1 0 16,0 0-16,0 0 15,52-14 17,14 14-17,-13 0 1,-14 0-16,1 0 0,-14 0 0,14-13 16,12 13-16,-12 0 15,-1 0 1,-13 0-16,1 0 15,-54 0 17,27 0-32,-14 0 15,14 0-15,0 0 0,0 0 16,-1 0-16,1 0 16,0 0-16,0 0 0,13-13 15,39 13 32,-25 13-47,-1-13 0,0 0 16,40 0-1,-27 0-15,14 0 16,-27 0-16,1 0 0,12 0 16,-52 13 30,12-13-46,1 0 0,-13 0 16,12 0-16,-25 0 0,25 0 16,-52 0-16,53 0 15,0 0-15,0 0 0,-1 0 16,1 0 0,66 0 15,-26 0-31,-14 0 15,13 0-15,-13 0 0,1 0 16,25 0-16,-25 0 16,12 0-16,-13 14 0,1-14 15,-1 0 1,-53-14 15,0 14-15,1 0-16,25 0 15,1 0-15,0 0 0,-13 0 16,12 0 0,54 0 15,-27 0-31,0 0 16,14 0-16,-14 0 0,0 0 15,14 0-15,-14 0 0,14 0 16,-14 0-16,0 0 15,0 0-15,0 14 16,1-28 0,-54 14 15,27 0-31,0 0 0,-14 0 16,-26 0-1,27 0 1,-1-13-16,14 13 15,0 0 1,39-13 31,-13 13-47,1 0 16,-1 0-1,0 0-15,0 0 16,1 0 31,-1 0 31,0-13 78</inkml:trace>
  <inkml:trace contextRef="#ctx0" brushRef="#br0" timeOffset="26629.89">19129 5490 0,'40'13'32,"-27"-13"-17,1 0-15,-1 0 0,13 0 0,1 0 16,-1 0-16,40 0 0,-26 0 15,66 0-15,-67 0 16,14 0-16,0 0 0,-13 14 0,13-28 16,-27 14-16,14 14 0,-13-14 0,-1 0 15,27 0 1,-27 0-16,-12 0 0,12 0 0,-13 0 0,0 0 16,1 0-16,-1 0 15,-40 0 16,-39 0-15,53 0 0,-13 0-16,-14 0 0,14 0 0,-14 0 15,0 0-15,14 0 0,-14 0 0,0 0 16,14 0-16,-27-14 0,-40 14 16,67-13-1,-14 13-15,14 0 0,-1 0 0,1-13 16,-1 13-16,14 0 0,-13 0 15,12-13-15,-12 13 0,0 0 16,12 0 0,1 0-1,40 0 1,-14 0-16,66 0 16,-52 13-16,92-13 15,-66 13 1,-1-13-16,-12 0 0,13 13 0,-13-13 15,13 0-15,-14 0 0,1 14 0,0-14 16,-14 0-16,1 0 0,-1 13 0,-13-13 16,14 0-16,-1 0 0,-13 0 15,1 13-15,-1-13 0,13 0 16,-12 0 0,-41 0-1,14 0 1,-14 0-16,1 0 0,-14 0 0,-13 0 15,14 0-15,-14 0 0,0 0 16,0 0-16,0 0 0,13 0 0,-13 0 16,1 0-16,25-13 0,1 13 0,-1 0 15,1 0-15,13 0 16,-1 0-16,1 0 0,0 0 16,53 0 15,26 0-31,-40 0 15,1 0-15,12 0 0,1 0 0,13 0 16,0 0-16,0 0 0,13 0 16,53 0-1,-93 0-15,27 0 0,-26 0 16,-14 0-16,13 0 16,-12 0-16,12 0 0,-13 0 15,-52 0 16,25 0-31,-25 0 0,12-13 16,-26 13-16,-39 0 0,-27 0 16,92-14-1,-12 14-15,25 0 0,-12 0 0,-27 0 16,40 0 0,-1 0-16,1 0 0,0 0 15,53 0 16,-14 0-31,-13 14 0,120-14 16,-107 0 0,14 0-16,-14 13 15,14-13-15,-14 0 0,1 0 0,-1 0 16,1 13-16,-14-13 0,13 0 16,-12 0-16,-1 0 0,0 0 0,0 0 15,1 0-15,-1 0 0,0 0 16,-53 0 15,14 0-31,-1 0 0,-65 0 16,52 0-16,14 0 15,-14 0-15,14 0 0,-14 0 16,13 0-16,1 0 0,0 0 16,12 0-16,1 0 0,0 0 0,0 0 15,-1 0-15,1 0 16,0 0-1,53 0 1,-1 13 0,-12-13-16,-1 0 0,1 0 0,-1 0 15,1 0-15,-1 0 0,1 0 0,-1 0 16,0 0-16,-12 0 0,-1 13 0,13-13 16,-12 0-16,-1 0 0,0 0 15,0 0-15,0 0 16,1 0-16,-41-13 156,14 26 16,13 1-156,-13-14-1,13 13 1</inkml:trace>
  <inkml:trace contextRef="#ctx0" brushRef="#br0" timeOffset="29053.58">18627 6707 0,'26'-13'0,"-13"13"0,1 0 0,-1 0 16,53 0-16,-26 0 0,13-13 16,-1 13-16,120 0 15,-119 0-15,0 0 16,0 13-16,-13-13 0,26 0 15,-39 0-15,-1 0 0,-13 0 16,14 0-16,-14 0 0,0 0 0,0 0 16,-13-13-16,-26 13 31,-40-13-15,13 13-16,0 0 0,0 0 0,-53-14 15,53 14-15,-13 0 16,13 0-16,0 0 0,0 0 0,14 0 15,12 0-15,1 0 0,-1 0 0,-12 0 16,25 0-16,1 0 16,53 0 15,-27 0-31,13 0 0,1 0 16,-1 0-16,27 0 0,80 0 15,-80 0 1,13 0-16,-40 0 0,80 0 15,-93 0-15,0 0 16,1 0-16,25 0 16,-25 0-1,-54 14 17,27-14-32,-1 0 15,-12 0-15,-40 0 16,53 0-16,-54 13 15,54-13-15,0 0 16,-13 0-16,12 0 0,-12 0 16,13 0-1,-1 0 1,1 0 0,0 0-1,0 0 63,39 0 282,-13-13-360</inkml:trace>
  <inkml:trace contextRef="#ctx0" brushRef="#br0" timeOffset="30176.93">18865 7223 0,'39'-13'0,"-25"13"0,-1 0 16,0 0-16,0 0 0,14 0 15,-14 0-15,0 0 0,1 0 16,-1 0-16,0 0 0,0 0 0,0 0 16,1 13-1,-28-13-15,14 27 16,-13-27-16,0 13 0,0 0 16,0 0-16,-1 0 0,1 1 0,0-1 15,0 0-15,-14 0 16,14 1-16,-14 12 0,27-13 15,-13 1-15,0-1 0,0 0 0,0 0 16,13 0 0,0 1-16,0-1 15,13 0 1,0-13-16,0 0 16,27 13-1,-14-13-15,-12 0 0,-1 0 16,0 0-16,0 0 15,1 0-15,-1 0 16</inkml:trace>
  <inkml:trace contextRef="#ctx0" brushRef="#br0" timeOffset="30410.46">18825 7382 0,'-13'-13'16,"39"26"15,14-13-15,26 0-1,-26 0 1,-27 0-16</inkml:trace>
  <inkml:trace contextRef="#ctx0" brushRef="#br0" timeOffset="30639.71">19301 7435 0,'27'-13'16,"-1"13"0,-12-14-1,12 14-15,-13 0 16,0 0-16,1 0 15</inkml:trace>
  <inkml:trace contextRef="#ctx0" brushRef="#br0" timeOffset="31086.65">19711 7289 0,'0'40'0,"0"0"15,0-27-15,0 13 16,0-12-16,0 12 16,14 0-16,-14-12 0,0-1 15,13 0-15,-13 0 0,13 1 16,0-14 0,1 0-16,-1 0 0,0-14 15,0 1-15,1 0 16,-14 0-16,26-40 15,-13 26-15,0 14 0,1 0 16,-14 0-16,13-1 0,-13 1 16,13 0-16,-13 0 0,13 13 0</inkml:trace>
  <inkml:trace contextRef="#ctx0" brushRef="#br0" timeOffset="32264.23">20227 7355 0,'-66'14'16,"53"-14"-16,13 13 16,-26 0-16,26 0 15,-14-13-15,14 14 0,-13-1 16,13 0 0,13-13-1,1 0-15,-1-13 16,0 13-16,13-27 15,-12 14 1,-1 13 0,0 13-1,-13 1 1,0-1 0,13 0-1,1 0-15,-1-13 0,0 0 16,0 0-1,1-13-15,-1 0 0,0 0 16,0-1-16,14-39 16,-14 40-16,0-13 0,0 12 15,1-25-15,-1 12 16,-13 14-16,0 0 0,13 0 0,-13-1 16,0 1-16,13 13 15,-13-13-15,-26 26 31,13 27-31,-1-27 16,14 0-16,-26 27 16,26-27-16,-13 27 0,13-27 0,0 0 15,0 1-15,13-1 16,-13 0-16,13 0 16,0-13-1,1 0-15,12 0 16,-13 0-16,-13-13 0,14 13 15,-1 0-15,0-13 16,0 13 0,-13-13-16,13 13 0,-13 13 31,0 0-15,0 0-16,14 1 31,-1-14-16,0 0-15,0 0 16,1-14 0,-1 14-16,0-13 0,0 13 0,-13-13 15,14 13-15,-1-13 16,0 26 31,-13 0-16,26-13-15,-12 0-16,-1-13 15,0 13-15,0 0 0,14-27 16,-14 27 0,-13-13-1,13 13-15,-13-13 16,-26 39 15,13-26-31,13 14 16,0-1-1,0 0 1,13-13-16,0 13 0,0-13 16,0 0-16,1 0 0,-1 0 15,0 0-15,0 0 16,-13 14-16,14-14 15</inkml:trace>
  <inkml:trace contextRef="#ctx0" brushRef="#br0" timeOffset="45985.57">21392 8229 0,'-27'79'15,"27"-53"-15,0-12 0,-13 12 16,13-13-16,-13 1 0,13-1 16,0 0-16,0 0 15,-14 0-15,14 1 0,14-54 47,-1 0-31,-13 27-1,13 0-15,14-40 0,-14 53 16,0-13-16,0-1 0,14 1 16,-1 0-1,1 26 1,-27 0-16,13-13 0,-13 14 0,0-1 0,26 53 31,-26-53-31,0 1 0,0-1 16,0 13-1,0-13-15,0 1 16,14-14 0,-1 0-1</inkml:trace>
  <inkml:trace contextRef="#ctx0" brushRef="#br0" timeOffset="46203.23">21722 8334 0,'40'-26'15,"-27"26"-15,0 0 16,1-13-16,-1 13 0,27 13 31,-27-13-31</inkml:trace>
  <inkml:trace contextRef="#ctx0" brushRef="#br0" timeOffset="46389.75">21749 8440 0,'0'13'15,"26"-13"1,-13 0 0,1 0-16,-1 0 0,0 0 0,0 0 15,14-13-15,-14 13 0,14 0 16,-1-13-16,-13 13 15</inkml:trace>
  <inkml:trace contextRef="#ctx0" brushRef="#br0" timeOffset="46738.74">22172 8162 0,'27'-13'16,"-1"13"0,-26 13-16,13 1 15,-13 12 1,13-13-16,-13 14 0,0-14 0,0 0 15,0 14-15,0-1 16,0-13-16,0 1 0,0-1 0,0 0 16,0 0-16,0 1 15,0-1-15,0 0 0,14 0 0,-14 0 16,0 1 0</inkml:trace>
  <inkml:trace contextRef="#ctx0" brushRef="#br0" timeOffset="46942.46">22132 8374 0,'14'-13'0,"12"0"0,-13 13 0,1-14 15,25 14 1,-26 0-16,1 0 16,25 0-16,-25 0 15</inkml:trace>
  <inkml:trace contextRef="#ctx0" brushRef="#br0" timeOffset="47274.77">22569 8215 0,'-27'0'0,"1"0"16,13 0-16,13 14 15,13-1 1,-13 0-16,40 27 15,-14-14 1,-13-13-16,1 1 16,-14-1-16,0 13 15,0-12-15,-27-1 16,-39 26 0,-40-12-1,14 13 1,65-40-16,1 0 0,12 13 0,-12-13 15,0-13-15,12 13 0</inkml:trace>
  <inkml:trace contextRef="#ctx0" brushRef="#br0" timeOffset="49097.57">22873 5093 0,'-13'-13'0,"53"26"31,-1 0-16,-25-13-15,-1 14 16,0-14 0,0 0-16,1 13 0,-1-13 0,-13 13 15,13 0-15,-26 14 32,13-14-32,-13 0 0,-1 1 0,14-1 15,-13-13-15,0 13 0,0 0 0,-1 0 16,1 1-16,13-1 0,-13 0 15,-14 14-15,14-14 16,0 0-16,13 0 16,13-13-1,0 0 17</inkml:trace>
  <inkml:trace contextRef="#ctx0" brushRef="#br0" timeOffset="50074.27">23244 5080 0,'13'-13'16,"0"13"-16,14 0 15,-14 13-15,0-13 16,0 13 0,-13 0-16,0 1 15,-13-1 1,0 0-16,13 0 15,-13 1-15,13 12 32,13-26-32,0 13 15,0 1-15,-13-1 16,13-13-16,-13 13 16,14 0-16,-14 0 15,-14 1 1,14-1-16,-13-13 15,13 13-15,-13-13 0,0 0 0,0 13 16,-1-13-16,1 14 0,0-14 16,0 0-16</inkml:trace>
  <inkml:trace contextRef="#ctx0" brushRef="#br0" timeOffset="50368.75">23495 5199 0,'-13'27'31,"13"-14"-31,0 0 16,13 0-1,-13 0-15,13 1 16,0-14-1,1 0 1,-14-27 0,0 14-16,0 0 0,-14 0 15,1-1-15,-13 1 16,13 13-16,-1 0 16,1 13-16,0-13 0,-14 0 0,1 14 15,-1-1-15</inkml:trace>
  <inkml:trace contextRef="#ctx0" brushRef="#br0" timeOffset="51242.66">23310 8176 0,'26'13'16,"-13"-13"-16,1 0 16,-1 13-16,0-13 0,0 13 0,14-13 15,-14 14-15,0-14 0,1 13 16,-1-13-16,0 0 0,-13 13 0,13 0 16,0-13-16,-13 13 15,-13 1 1,13-1-16,-13 0 0,0-13 15,0 13-15,-14 14 0,14-27 16,0 13-16,-1 0 0,1 1 16,0-14-16,13 13 0,-13 0 15,-1-13-15,14 13 16,14-13 0,12 0-1,-13 0-15,1-13 16</inkml:trace>
  <inkml:trace contextRef="#ctx0" brushRef="#br0" timeOffset="51695.5">23852 8202 0,'27'0'16,"-14"13"0,-13 1-16,-13-1 15,-1 13-15,1-13 16,0 1-16,0-14 15,13 13-15,-14 0 16,28 0 0,-1-13-1,-13 14-15,13-1 16,0 0-16,1 0 16,-28 14-1,1-14 1,0-13-16,13 13 0,-13-13 15,-1 0-15,1 13 0,0-13 16,0 0-16</inkml:trace>
  <inkml:trace contextRef="#ctx0" brushRef="#br0" timeOffset="51994.6">24024 8295 0,'-26'26'0,"26"-13"31,0 1-31,0-1 16,13 0-16,0-13 15,0 13-15,1-13 16,-1-13-16,0 13 0,0 0 15,1-13-15,-14 0 16,0-1-16,0 1 16,0 0-16,-14-14 15,-12 14-15,26 0 0,-13 13 16,-14 0-16,-13 0 16,27 0-16,-26 0 15,12 13-15,14 0 0</inkml:trace>
  <inkml:trace contextRef="#ctx0" brushRef="#br0" timeOffset="53300.95">21577 9247 0,'0'13'16,"0"1"-16,-13-1 0,-1 0 15,14 0-15,-13-13 0,0 27 16,-14-14-16,14-13 16,13 13-16,-13-13 0,0 0 15,-14 0-15,14 0 16,0-13 0,13 0-16,-13 13 0,13-27 15,13 14-15,0 0 16,-13 0-16,13 13 15,0-14-15,14 1 0,-14 13 16,27-13-16,-27 13 16,53-13-16,-39 13 15,-14 0-15,13 0 0,-12 0 16,12 0-16,-13 0 0,14 0 0,-14 0 16,0 0-16,0 0 0,1 0 15,-1 0-15,0 0 16,0 0-16,1 0 15,-1 0 1,0 0-16</inkml:trace>
  <inkml:trace contextRef="#ctx0" brushRef="#br0" timeOffset="53715.4">21960 9353 0,'40'-13'0,"-13"13"31,-14 0-31,0 0 0,0 0 16,-13 13-16</inkml:trace>
  <inkml:trace contextRef="#ctx0" brushRef="#br0" timeOffset="53892.46">21987 9446 0,'26'0'47,"1"0"-32,-27-14-15,13 14 16,0 0-16,14 0 0,-14-13 15</inkml:trace>
  <inkml:trace contextRef="#ctx0" brushRef="#br0" timeOffset="54648.56">22701 9141 0,'0'-13'15,"0"40"1,0-14 0,0 13-16,-13-12 15,13-1 1,0 0-16,-13 0 0,13 14 16,-13-14-16,26 0 31</inkml:trace>
  <inkml:trace contextRef="#ctx0" brushRef="#br0" timeOffset="54984.36">22926 9194 0,'-26'-13'15,"-14"26"1,27-13-16,0 0 16,-1 14-16,14-1 15,14 0 1,-1 0-16,0 0 16,0 1-16,0-14 15,1 26-15,-1-13 16,0-13-16,-13 14 15,-13-1-15,-14 0 16,14 0 0,0-13-1,0 0-15,0 0 16,-1 0 0</inkml:trace>
  <inkml:trace contextRef="#ctx0" brushRef="#br0" timeOffset="57941.64">4829 5794 0,'53'14'0,"-40"-14"15,0 0-15,0-14 0,0 14 16,1 0-16,-1 0 0,13-13 0,-12 0 16,12 13-16,1-13 0,-14-1 15,13 1-15,-13 0 0,27 0 16,-27 0-16,14-14 16,-14 14-16,-13 0 0,13-14 0,-13 14 15,14 0-15,-14-1 0,0 1 16,0-26-16,0-1 15,-14 27-15,14-1 0,-13-12 0,13 13 16,-13-14-16,0 14 0,-14-13 16,-13-27-16,14 39 15,0-12-15,-1 13 0,1 0 0,-1-1 0,-13 1 16,14 0-16,-14 0 0,1-1 16,-28 14-16,1 0 15,27 14-15,-1-14 0,14 13 0,-14 0 16,13 0-16,1 1 15,-1 12-15,1 0 0,0-12 0,12 12 16,1 1-16,13-1 0,-13 1 0,13-1 16,0 27-16,26 26 15,-12-39-15,25 26 16,-12-39-16,-1-1 0,1 0 0,-1 1 16,1-1-16,12-12 15,-12 12-15,-1-13 0,1 1 0,-1-14 0,14 13 16,-14 0-16,-13-13 15,14 0-15,-14 0 0,0 0 16,14 0-16,-1 0 0,-13-13 0,14 13 0,-14-13 16,27-1-16,-14 1 15,-12-13-15</inkml:trace>
  <inkml:trace contextRef="#ctx0" brushRef="#br0" timeOffset="67021.53">9234 5450 0,'13'0'16,"-26"27"-16,-13-1 15,12 1-15,1-14 16,-13 13-16,12 1 0,-12-1 0,-53 41 16,52-54-16,-13 26 15,14-39-15,13 14 16,-1-1-16,-12-13 0,13 0 0,0 0 16,-27 0-16,40-13 15,-27-14 1,27 14-16,-13 0 15,40 0 1,-1 13 0,14 13-1,-14 0-15,-13-13 0,14 13 0,-14 0 0,14-13 16,26 40 0,-40-40-16,40 27 15,-40-14-15,0-13 0,14 0 16,-14 0-16,0 0 0,40 0 15</inkml:trace>
  <inkml:trace contextRef="#ctx0" brushRef="#br0" timeOffset="67229.31">9551 5649 0,'40'-27'0,"-27"14"15,14 13 1,-14 0-16,0 0 0,1 0 16,-1 0-16,0 0 15</inkml:trace>
  <inkml:trace contextRef="#ctx0" brushRef="#br0" timeOffset="67418.62">9538 5755 0,'27'13'47,"12"-13"-31,-25-13-16,12 13 15,-13 0-15,1 0 16,-1 0-16</inkml:trace>
  <inkml:trace contextRef="#ctx0" brushRef="#br0" timeOffset="68011.39">10927 5609 0,'27'-13'0,"-67"26"31,27-13-15,-14 0-16,1 13 0,13-13 0,-67 14 15,67-1-15,0-13 16,0 0-16,-1 0 0,14 13 16,-13-13-16,26 13 15,14-13 1,-14 14-16,0-14 16,14 0-16,-14 13 0,0-13 0,0 13 15,1-13-15,-1 0 0,0 13 16,0-13-16,1 13 15,-1 1-15,-13-1 0,-13 0 16,-27 0 0,13 1-1,-12-1-15,26 0 0,-14-13 16,14 0-16,0 13 0,-1-13 16,1 0-16,0 0 0,39-13 31</inkml:trace>
  <inkml:trace contextRef="#ctx0" brushRef="#br0" timeOffset="68245.85">11377 5569 0,'13'0'15,"-52"53"1,25-39-16,1-1 16,-27 13-16,27-12 0,-26 25 15,25-26-15,1 1 16,0-1-16,0 0 0,-1 0 0,1 1 16,0-1-16,0-13 0,13 13 0,-14-13 15,1 13-15</inkml:trace>
  <inkml:trace contextRef="#ctx0" brushRef="#br0" timeOffset="68394.58">11099 5715 0,'-13'-13'0,"26"26"0,-13-39 31,13 26-31,1 0 15</inkml:trace>
  <inkml:trace contextRef="#ctx0" brushRef="#br0" timeOffset="68535.83">11417 5768 0,'13'0'15,"-13"13"1</inkml:trace>
  <inkml:trace contextRef="#ctx0" brushRef="#br0" timeOffset="69662.64">9221 6747 0,'-27'-40'16,"14"40"-16,-13 0 0,-14 13 15,27 1 1,-14-1-16,14 0 0,0 0 0,0 1 15,-14-1-15,14 13 0,0-13 0,-1 1 16,14 12-16,-13-13 0,13 1 16,-13-1-16,13 0 0,0 14 0,0-14 15,13-13-15,-13 13 0,0 0 0,13 0 16,1-13-16,-1 14 16,0-14-16,0 13 0,14-13 15,-1 0-15,-13 0 0,1 0 16,12 0-16,1 0 15,-1-13-15,-13 13 0,1 0 16,-1-14-16</inkml:trace>
  <inkml:trace contextRef="#ctx0" brushRef="#br0" timeOffset="70424.75">9459 6892 0,'-13'-13'0,"-1"26"16,1-13-1,13 14-15,0-1 16,-13-13-16,13 13 0,0 0 16,0 1-16,13-14 0,-13 13 0,0 0 15,13-13-15,14 0 16,-1 0-1,-12-13-15,-1 0 16,0-1-16,-13 1 16,0 0-16,0 0 15,0-1-15,0 1 0,-13 13 16,13-13-16,-13 13 16,-14 0-1,14 0 1,0 13-16,-1 0 15,28-13 17,-1 14-32,0-14 0,0 0 15,1 0 1,12 0-16,-26 13 16,13-13-16,0 0 0,1 13 15,-1-13-15,-13 13 16,13-13-1,-13 14 1,13-14-16,1 0 31,-1 0 1,0-14-17,0 14 1,1 0-16,-1 0 0,0 14 15,0-14-15,0 0 16,1 0-16,-1 0 0,0 0 0,0 13 16</inkml:trace>
  <inkml:trace contextRef="#ctx0" brushRef="#br0" timeOffset="71536.99">10292 6773 0,'0'-13'16,"14"26"-16,-14 1 0,0-1 0,13 0 16,-13 0-16,0 0 15,-13 14-15,13-14 0,0 0 0,0 1 16,0-1-16,13 13 15,-13-12-15,13-14 16,-13 13-16</inkml:trace>
  <inkml:trace contextRef="#ctx0" brushRef="#br0" timeOffset="71747.37">10597 6879 0,'0'-13'0,"13"0"15,0 13 1,13 0-16,1 0 16,-14 0-16,14 0 15,-14 0 1</inkml:trace>
  <inkml:trace contextRef="#ctx0" brushRef="#br0" timeOffset="72096.77">11179 6720 0,'-53'53'0,"-13"-13"16,52-27-16,-39 14 16,40-14-16,0-13 0,0 13 15,0-13-15,-1 0 32,28-13-17,-1 0 1,0 26-1,13-13-15,-12 0 16,-1 13-16,13-13 16,-26 13-16,14-13 0,-1 14 15,0-14-15,0 0 0,0 13 0,1-13 16,-1 0-16,0 0 0,14 0 0,-14 0 16</inkml:trace>
  <inkml:trace contextRef="#ctx0" brushRef="#br0" timeOffset="72297.48">11615 6800 0,'40'-13'15,"-27"13"-15,0 0 0,1 0 16,-1 0-16,0 0 16</inkml:trace>
  <inkml:trace contextRef="#ctx0" brushRef="#br0" timeOffset="72459.72">11562 6932 0,'27'0'32,"12"-13"-17,-25 13-15,12 0 0,1 0 16,-14-13-16</inkml:trace>
  <inkml:trace contextRef="#ctx0" brushRef="#br0" timeOffset="73027.85">13189 6747 0,'-39'-13'15,"26"13"-15,-1 0 0,1 0 0,-40 13 16,40 0 0,0 0-16,0-13 0,-1 14 15,1-1-15,0 0 0,13 0 16,0 0-16,13-13 16,0 14-16,1-14 0,-1-14 15,0 14-15,13 0 0,-12 0 16,12-13-16,-13 13 0,1-13 15,-1 13-15,0 0 0,0-13 0,0 13 16,1 13 0,-1 13-1,-13-12-15,0-1 16,0 0-16,0 0 16,0 1-16,0-1 0,0 0 0,0 0 15,0 1-15,0-1 0,13 0 16,0-13-1,-13 13-15,14-13 0,-1 0 0</inkml:trace>
  <inkml:trace contextRef="#ctx0" brushRef="#br0" timeOffset="73428.94">13666 6800 0,'-80'0'0,"67"13"16,-13-13-16,12 0 0,-25 13 16,26 0-16,-1-13 15,14 14 1,0-1-1,14-13-15,12 13 16,-13 0-16,0 1 0,1-14 16,-1 13-16,0-13 0,0 13 0,1 0 15,-14 1-15,13-14 0,-13 13 0,13 0 16,-13 0-16,0 0 16,-13 1-16,0-1 0,-14 0 15,14 0-15,0 1 16,-1-14-16,1 13 0,0-13 0,0 0 15,13 13-15,-13-13 0,-1 0 0</inkml:trace>
  <inkml:trace contextRef="#ctx0" brushRef="#br0" timeOffset="73648.56">13996 6813 0,'14'0'16,"-28"13"-16,-25 27 31,26-27-31,-27 40 0,13-26 16,14-1-16,0-13 0,-14 14 15,27-14-15,-13 0 16,13 0-16,-13 1 0,0-1 15</inkml:trace>
  <inkml:trace contextRef="#ctx0" brushRef="#br0" timeOffset="73788.55">13666 6919 0,'-14'-13'16</inkml:trace>
  <inkml:trace contextRef="#ctx0" brushRef="#br0" timeOffset="73943.56">14235 7038 0,'13'0'31,"-26"0"-31</inkml:trace>
  <inkml:trace contextRef="#ctx0" brushRef="#br0" timeOffset="77610.71">2408 10147 0,'0'-13'0,"0"-1"31,-27 1-31,-12 0 31,25 13-31,-12 0 0,13 0 16,-1 0-16,-12 0 0,-14 0 16,14 0-16,-27 0 15,26 13-15,1-13 0,-14 13 0,14 1 16,-14-1-16,-13 0 16,27 0-16,-1-13 0,14 13 0,-13 1 15,12-14-15,1 13 0,0 0 0,-14 0 16,14-13-16,0 14 0,0-1 15,0 0-15,-1 0 0,1 1 0,0-14 16,0 13-16,-1 0 0,14 0 0,-13 0 16,0 1-16,13-1 15,-13 0-15,13 0 0,-13 1 0,13-1 16,-14 0-16,14 0 0,0 1 16,0-1-16,0 0 15,0 0-15,0 0 0,0 1 16,0-1-16,14 0 15,-1 0-15,0 1 16,0-1-16,0 0 16,14 0-16,-14 0 0,14-13 15,-14 14-15,0-14 0,13 13 16,-12-13-16,-1 13 0,13-13 0,14 13 16,0 1-16,-14-14 15,1 0-15,-1 13 0,1-13 16,-1 13-16,14-13 0,-14 0 15,1 0-15,-1 13 0,-13-13 0,14 0 16,-1 0-16,14 14 16,-14-14-16,-12 0 0,12 0 15,-13 0-15,14 13 0,-14-13 16,0 0-16,0 0 0,1 0 0,12 0 16,-13 0-16,27 13 0,-27-13 15,14 0-15,-14 0 0,13 0 16,14 13-16,-27-13 15,14 0-15,-14 0 0,14 0 0,-1 13 16,0-13-16,-12 0 0,12 0 16,1 0-16,-1 0 0,14 0 0,52 0 15,-52 0 1,26 14-16,-39-14 0,-1 0 16,53 0-16,-52 0 0,13 0 15,-14 0-15,14 0 0,-1 13 16,-12-13-16,13 0 0,-14 0 0,14 0 15,-1 0-15,-12 0 0,13 0 0,-1 0 16,1 13-16,0-13 0,-1 0 0,1 0 16,0 0-16,-14 0 15,14 13-15,39-13 0,-52 0 16,12 0-16,-12 14 0,-1-14 16,14 0-16,-14 0 0,14 0 0,0 0 15,-14 13-15,27-13 0,-13 0 0,-14 0 16,14 0-16,0 0 0,-1 0 0,1 0 15,39 0-15,-52 0 16,-1 0-16,14-13 0,-14 13 16,1 0-16,-14 0 0,14 0 0,-1 0 15,-13 0-15,14-14 0,-14 14 16,13 0-16,-12 0 0,12-13 0,-13 13 16,14 0-16,-14-13 0,0 13 15,27-13-15,-27 13 16,0-14-16,1 1 0,-1 13 0,13-13 0,1 0 15,-14 13-15,14-27 16,-14 27-16,-13-13 0,26 0 16,-13 0-16,-13-1 0,14 1 15,-1 0-15,-13 0 16,13 13-16,-13-14 0,0-12 16,0 13-16,0-14 15,0 14 1,0 0-16,-13 0 0,13-1 0,-13 1 15,-1 0-15,14 0 0,-13 0 16,0-1-16,0 1 0,-14 0 16,27 0-16,-13-1 15,0 1-15,-27 0 0,27 0 0,0 13 16,-1-14-16,1 1 0,-13 13 16,-14-26-16,27 26 0,-14 0 15,-12-13-15,12-1 16,1 14-16,-1-13 0,1 13 15,-14-13-15,14 0 0,-1 13 0,1 0 16,-1-14-16,1 14 0,-1-13 16,1 13-16,0-13 0,-1 13 15,1 0-15,-1-13 0,1 13 0,-1 0 16,1-14-16,-1 14 0,1 0 16,-1 0-16,1-13 0,-1 13 0,1 0 15,-27-13-15,27 13 0,-1-13 16,1 13-16,13 0 15,-14 0-15,14 0 0,-14-13 0,1 13 0,13 0 16,-14 0-16,14 0 0,-13 0 0,12-14 16,-25 14-16,25 0 15,1 0-15,-27 0 16,27 0-16,0-13 0,0 13 0,-14 0 16,14 0-16,0 0 0,-27 0 15,14 0-15,-1 0 16,14-13-16,0 13 0,-14 0 15,14 0-15,-13 0 16,12 0-16,1 0 0,-13 0 0,12 0 0,1 0 16,-13 0-16,13 0 0,-1 0 0,-12 0 15,13 0-15,-1 0 0,-12 0 16,13 0-16,0 0 0,-14 0 16,14 0-16,-14 0 0,14 13 0,-13-13 15,12 0-15,1 0 0,-26 0 16,25 0-16,-12 0 0,13 0 15,-1 0-15,1 0 0,0 0 16,-14 0-16,14 0 0,0 0 16,0 0-16,0 0 0,-1 0 15,1 0-15,0 13 16,0-13-16,-1 0 16,-12 0-16,13 0 15,-14 0 1,14 0-16,0 0 0,0-13 15,-1 13-15,-12 0 16,13 0-16,-1 0 0,1 0 16,-13 0-1,-1 0-15,1 0 16,13 0 0,-1 0-16,1 0 15,0 0-15,0 0 0,-14 0 16,14 0-1,0 0-15,-27 0 0,27 13 16,0-13-16,-1 0 0,-12 0 16,13 0-16,-14 14 0,14-14 15,-13 0-15,12 0 0,-12 13 16,13-13-16,-1 0 0,14 13 16,27-26-1</inkml:trace>
  <inkml:trace contextRef="#ctx0" brushRef="#br0" timeOffset="78426.8">9644 9631 0,'40'-13'15,"-27"-1"-15,0 14 0,14 0 16,-14 0-16,13 0 0,1 0 15,-1 0-15,54 0 16,-67 0-16,13 0 0,-12 0 16,-1 14-16,0-14 0</inkml:trace>
  <inkml:trace contextRef="#ctx0" brushRef="#br0" timeOffset="78621.48">9657 9790 0,'-13'0'16,"79"0"-1,-53 0-15,1 0 16,25 0-16,-12 0 0,-1 0 16,1 0-16,-14 0 0,13-14 15,27 14-15,-26-13 0</inkml:trace>
  <inkml:trace contextRef="#ctx0" brushRef="#br0" timeOffset="78874.74">10491 9419 0,'-13'-13'0,"13"39"31,0-12-31,0 12 16,0 14-16,-14-1 15,14-12-15,0 26 16,-13-27-16,13 14 16,0-27-16,13 0 15,-13 1-15</inkml:trace>
  <inkml:trace contextRef="#ctx0" brushRef="#br0" timeOffset="79022.62">10702 9710 0,'-13'-13'15,"0"13"1</inkml:trace>
  <inkml:trace contextRef="#ctx0" brushRef="#br0" timeOffset="79502.82">11152 9353 0,'-106'26'15,"93"-12"-15,0-14 0,0 13 0,-1 0 16,14 0-16,-13 1 16,13-1-16,13-13 15,-13 13-15,14-13 0,12 0 16,1-13-16,12 13 0,-12-13 16,-1-1-16,-13 14 0,14-13 15,-14 0-15,14 13 0,-14-13 16,13 13-16,-26-14 0,13 14 15,1 0-15,-1 14 16,-13-1-16,0 0 0,0 0 16,-13 27-16,13-27 15,-14 27-15,14-27 16,-13 27-16,13-27 0,-13 0 16,13 14-16,0-14 15,0 0-15,13 1 16</inkml:trace>
  <inkml:trace contextRef="#ctx0" brushRef="#br0" timeOffset="79827.85">11655 9406 0,'-40'-13'0,"14"26"15,13 0-15,13 0 0,-14 1 16,-12 25-16,13-12 0,-1-1 16,14-13-16,14 1 15,-14-1-15,26 13 0,1-12 16,-1-1-16,-13-13 16,0 0-16,1 0 0,-1 0 15,0-13-15,-26-1 16,0 14-1,13-13-15,-14 13 0,-12 0 16,13 0-16,-14 13 16,1 1-16,-1-1 0,14-13 15,0 13-15,0 0 16</inkml:trace>
  <inkml:trace contextRef="#ctx0" brushRef="#br0" timeOffset="81553.72">8043 9499 0,'-92'-14'16,"65"14"-16,-26 14 0,27-1 15,-14 0-15,14 0 0,-1 0 16,1 1-16,-1-1 0,14 0 0,0 0 16,-14 1-16,14 12 0,13-13 15,-13 1-15,13-1 0,0 0 0,-13 0 16,26 0-16,-13 1 0,0-1 16,13 0-16,0 0 15,14 1-15,-14-1 0,0-13 16,1 13-16,-1-13 0,27 0 15,-27 0-15,0 0 16,27 0-16,-27-13 0,13 13 16,-12 0-16,-1-13 0</inkml:trace>
  <inkml:trace contextRef="#ctx0" brushRef="#br0" timeOffset="81906.38">8162 9604 0,'0'-13'0,"0"40"15,0-14 1,0 13-16,0-12 16,14 12-16,-14-13 0,0 0 15,13 1-15,0-1 16,0 0-16,1 0 0,-1-13 15,0 0 1,0-13 0,-13 0-16,13 0 0,1-14 15,-1-12-15,0 12 16,-13 14-16,13-14 16,1 1-16,-1 13 15,-13-1-15,0 54 31,-13-27-31</inkml:trace>
  <inkml:trace contextRef="#ctx0" brushRef="#br0" timeOffset="83970.71">7673 10147 0,'-13'0'0,"39"-13"31,14 26-16,-14-13-15,1 0 0,-14 0 16,27 0-16,-14 13 0,14-13 16,0 0-16,12 0 0,-12 0 0,13 13 0,0-13 15,0 0-15,0 0 0,13 0 16,0 0-16,13 0 0,1 0 16,-1 0-16,1 0 0,12 0 0,-12 0 15,12 0-15,1 0 0,-1 0 0,1 0 16,0-13-16,-1 13 0,1 0 15,92 0-15,0 0 16,-92 0-16,-1 0 0,1 0 0,0 0 16,-1 0-16,80 0 15,-92 0-15,-1 0 0,0 0 0,1 0 16,-27 0-16,13 0 0,0 0 16,40 0-16,-53 0 0,52 0 15,-65 0-15,26 0 16,-39 0-16,12 0 0,-12-13 15,-1 13-15,-12 0 0,12 0 16,14-13-16,-14 13 0,-13 0 16,27-14-16,-13 14 15,-14 0-15,0 0 0,0-13 0,1 13 16,-1 0-16,13-13 0,1 13 16,-14 0-16,0-13 0,0 13 15,1 0-15,25-27 16,-26 14-16,14 0 15,-14 13-15,-13-14 16,13 1-16,1 0 0,-14 0 0,26-14 16,-26 14-16,13 0 0,-13-27 15,14 27-15,-14-14 16,13 1-16,-13 13 0,0-27 0,0 14 16,13-14-16,-13-66 15,0 80-15,0-14 0,0 14 16,0-1-16,0 1 0,0-1 0,0-39 15,0 40-15,0-1 0,0 1 16,0-1-16,0 14 16,0-13-16,0-14 0,0 27 0,0-1 15,0 1-15,-13 0 0,13 0 16,-13-1-16,-1 1 16,1 0-16,0 0 15,0 13-15,-14 0 0,-13-13 0,14-1 16,-14 14-16,1-13 0,-1 13 15,-13-13-15,0 13 0,13 0 0,-12-13 16,-15 13-16,14-14 0,1 14 16,-28-13-16,14 13 0,-40-13 15,40 0-15,13 13 0,-13-14 16,-66 1-16,13 13 0,66-13 16,-13 13-16,-1-13 15,-65 13-15,53-13 0,-67 13 16,80-14-16,-13 14 0,-1 0 15,14 0-15,0-13 0,-53 13 16,0 0-16,53 0 16,0 0-16,13-13 0,-66 13 15,0 0-15,52 0 16,15 0-16,-28 0 0,1 0 0,-1 0 16,-65 0-16,65 0 15,1 0-15,13 0 0,-13 0 0,12 0 16,1 0-16,0 0 0,-13 0 15,26 0-15,-13 0 0,13 0 16,-53 13-16,53-13 0,13 0 16,-13 0-16,1 0 0,12 0 0,-26 13 15,39-13-15,1 0 0,-1 0 16,1 0-16,13 0 0,-27 0 16,27 0-16,-1 0 0,1 0 15,0 0 1,0 0-16,0 0 0,-1 14 15,1-14 1,0 13 15,13 0-31,-13 0 16,13 0 0,0 1-16,0-1 0,-14 0 15,14 14-15,0-14 0,-13 40 16,13-27-16,-13 14 0,13 0 15,-13 39-15,0-39 0,-1 39 16,-12 14-16,26-54 16,-13 1-16,-1 0 0,1-1 15,0 80 1,0-92-16,13-1 0,0 27 16,0-40-16,0 14 0,0-14 15,0 0-15,0 1 0,0-1 16,0 0-16,0 0 0,0 1 0,0-1 15,0 0 1,0 0-16,0 0 16,0 1-1,0-1 1,13-13-16,0 13 16,0-13-16,14 0 0,-14 13 15,0-13-15,14 0 0,-14 14 16,13-14-16,14 13 0,0-13 15,105 26 1,-105-26-16,-14 0 0,1 14 16,39-14-16,-13 13 15,-13-13-15,-14 0 0,1 13 0,-1-13 16,1 13-16,-1-13 0,-13 0 16,14 0-16</inkml:trace>
  <inkml:trace contextRef="#ctx0" brushRef="#br0" timeOffset="114573.76">18746 10954 0,'0'-13'15,"-14"39"-15,1-13 0,13 14 16,0 52-16,0-39 0,0 13 15,0 13-15,0 0 0,13 13 16,-13 1-16,14-1 0,-14 14 16,0 13-16,13 13 0,-13 0 0,0 0 0,13 0 15,-13 0-15,0 0 0,0-13 16,0-14-16,0 1 0,0 0 16,0-1-16,-13-12 0,13 12 0,0-26 15,0 14-15,0-14 0,-13-13 0,13 0 16,0-14-16,0 1 0,0 0 0,0-27 15,0 13-15,0-12 16,-14-14-16,14 13 0,-13-40 16,13 1-1,-13 13-15,13-14 0</inkml:trace>
  <inkml:trace contextRef="#ctx0" brushRef="#br0" timeOffset="114951.63">17621 13137 0,'-13'13'15,"145"-26"1,-79 13-16,27-14 0,-1 14 0,27 0 16,-14-13-16,41 13 0,12-13 15,1 13-15,158-27 0,-145 27 16,13-13-16,0 0 0,0 0 16,225 0-16,-212-1 0,13 1 0,14 0 15,-14 0-15,14-1 0,185 1 16,-199 13-16,-12-13 15,-1 13-15,-13-13 0,-14 13 0,-12 0 16,-14 0-16,173 0 16,-226 13-16,-13 0 0,-13-13 15,0 13-15,-40 1 16</inkml:trace>
  <inkml:trace contextRef="#ctx0" brushRef="#br0" timeOffset="116769.77">18812 13057 0,'26'-13'15,"1"0"17,-14 13-32,13-13 0,14-14 15,-27 14-15,14 0 16,26-27-16,0 0 15,-27 14-15,1-1 0,-1 14 16,-13-13-16,40-27 0,-40 39 16,27-38-16,-13 25 15,-14 1-15,0-1 0,0 1 0,1-1 16,25-26-16,-12 0 16,-27 40-16,13-13 0,0-14 15,0 14-15,1 12 16,-1-12-16,0-14 0,13 1 15,1-1-15,-14 13 16,0 1-16,1-1 0,12-12 16,-13 12-16,14-26 15,-1 14-15,-13 12 0,1 1 16,12-14-16,-13 14 16,1-1-16,12-12 0,1 12 15,12-66-15,-12 67 16,-14 0-16,0 12 15,27-52-15,-27 53 16,0-14-16,14 1 0,-14 13 16,0-14-16,0 1 15,14-1-15,-14 1 0,0 13 16,14-14-16,-14 14 16,13-27-16,-12 27 0,-1 0 15,-13 0-15,26-14 0,1 14 16,-14-14-1,14 27-15,-14-13 16,0 0-16,40-13 0,-27 26 16,1-14-16,-14 14 15,0 0-15,14-13 0,12 13 16,-12 0-16,13 0 0,-27 0 16,27 13-16,-14-13 15,-13 14-15,14-14 0,12 26 16,-12-26-16,26 40 15,-27-27-15,-13 0 0,14 0 16,13 14-16,-27-14 0,26 14 16,1 12-16,-27-26 15,27 27-15,-27-27 16,14 14-16,-14-1 16,13 1-16,1 12 15,-14-25-15,14 25 0,-14-25 16,0 12-16,13 1 15,1 12-15,-1-12 16,-12-14-16,-1 13 16,13 1-16,1-1 0,-1 1 15,-26-1-15,13-13 16,14 14-16,-27-14 16,13 0-16,0 1 0,1-1 0,12 13 15,-13 1-15,1-14 16,-1-13-16,-13 13 15,13 0-15,0 1 0,0-1 16,14 13-16,-27-12 0,13-14 0,-13 13 16,13 0-16,1 0 15,-1 0-15,0 1 16,0-1-16,-13 0 0,14-13 16,-1 27-16,0-14 15,13 0-15,-26 0 16,14-13-16,-14 14 0,13-1 15,0 0-15,14 13 16,-1 1-16,-13-14 16,1 0-16,-1 1 0,0-1 15,0 0 1,0 0-16,1 0 16,-1-13-16,0 27 0,14-14 15,-27 0-15,13-13 16,0 14-16,0-1 0,14 13 15,-1 1-15,27-1 16,-13 1-16,26-1 16,-26-13-16,39 14 15,-39-14-15,39 14 0,-39-14 0,-14 0 16,40 0 0,0 0-16,-13-13 15,0 0-15,0-13 16,-26 0-16,12 0 15,-12-14-15</inkml:trace>
  <inkml:trace contextRef="#ctx0" brushRef="#br0" timeOffset="120541.24">2580 6125 0,'0'-13'31,"-14"0"-15,1-1 0,-26-12-1,25 26 1,1-13-16,0 13 0,-14-14 0,1 14 16,13 0-16,-40-13 15,26 13-15,-12 13 0,12-13 0,1 0 16,-54 14-16,41-1 0,-1 0 15,14 0-15,-1 1 16,-39 12-16,39 1 0,1-14 0,-14 40 16,-13-14-16,40-12 15,0-14-15,0 0 0,13 14 16,-27 12-16,27-25 16,-13 25-16,13-25 0,0 12 15,0-13-15,13 27 16,0 0-16,1-14 0,12 1 0,1-14 15,-1 13-15,1 1 0,-1-1 16,14-13-16,13 14 0,39 13 16,14-14-16,-40-13 15,-13 0-15,79 14 0,-65-14 16,-1-13-16,0 13 0,13-13 16,67 14-16,-1-14 15,-65 13-15,-1-13 0,0 0 16,1 0-16,-1 0 0,0 0 0,1 0 15,-1 0-15,1 0 0,-14-13 0,13 13 16,27-14-16,-53 14 16,0 0-16,0 0 0,0-13 15,13 13-15,-27-13 0,14 13 16,-39 0-16,12-13 0,-13 13 16,14-14-16,-14 14 0,0-13 15,0 13-15,1 0 16,-14-13-16,0 0 15,0 0-15,-27-27 16,-12 0-16</inkml:trace>
  <inkml:trace contextRef="#ctx0" brushRef="#br0" timeOffset="131299.53">4895 8771 0,'-13'0'0,"-1"13"15,1-13 1,13 13 0,-13-13-16,13 14 15,13-14 1,0 13-1,1-13-15,12 0 0,-13 0 16,0 0-16,14 0 0,-1 0 0,-12 0 16,12 0-16,1 0 0,12 0 15,-12 0-15,-14 0 0,13 0 16,1 13-16,-14-13 16,14 13-16,-14 1 0,0 12 15,0 0-15,0-12 16,1 25-16,-14-25 15,13 12-15,-13 1 0,13 12 16,-13-12-16,13 26 16,-13-27-16,0 1 0,0-1 15,14 53-15,-1-52 0,0 52 16,-13-52-16,0 12 0,13 27 16,-13-39-16,0 13 15,0-14-15,14 14 0,-14-14 16,0 40-16,13-39 0,-13-1 0,0 40 15,13-39-15,-13 13 16,13 12-16,-13-25 16,0 66-16,13-27 15,-13-40-15,0 1 16,0 26-16,0 13 0,14-40 16,-14 27-16,0-26 15,0-1-15,0 0 0,0 1 16,13-1-16,-13 27 0,0 0 15,0 13-15,0-39 16,0-1-16,0 27 16,0 0-16,0 0 15,0-27-15,0 54 16,0-54-16,0 27 16,0-26-16,0 26 15,-13-1-15,13 1 16,0-26-16,13-1 0,-13 67 15,0-67 1,0 1-16,0 65 0,0-52 16,0 26-16,13-13 15,-13-26-15,0-1 0,0 27 16,0 0 0,0 13-16,13-39 15,-13-1-15,0 27 0,0 0 16,0-13-16,0-14 15,0-13-15,14 27 16,-14-14-16,0 27 16,0-26-16,13-14 15,-13 13-15,0 1 16,13 13-16,0-1 16,-13-26-16,0 1 15,0 25 1,13-12-16,-13-14 15,0 0-15,0 1 16,0 12-16,0-13 16,0 0-1,14 1-15,-14-1 16,0 0 0,0 0-1,0 1 32,-14-14-31,14 13-1,-13-13-15,0 13 0,-27 14 16,-26-1-16,40 0 16,-67 14-16,-132 40 15,-53-28 1,199-38-1,0-14-15,13 13 0,-14-13 16,1 13-16,-1-13 0</inkml:trace>
  <inkml:trace contextRef="#ctx0" brushRef="#br0" timeOffset="133148.17">2090 8797 0,'-13'0'16,"0"0"0,-14 0-16,14 0 15,0 0-15,-14 0 16,14 0-16,-13 14 0,12-14 0,-12 0 16,13 0-16,-14 0 0,1 13 15,13-13-15,-14 0 0,-26 13 16,40 0-16,-13-13 0,12 14 15,-12-14-15,-1 13 16,14-13-16,0 13 0,0 0 16,-14 0-16,1 14 15,26-14-15,-13 0 0,-1 27 16,1-13-16,0-1 16,13 0-16,-13 1 0,-1 13 0,1-14 15,0 53-15,13 14 16,-13-53-16,13 13 0,0-14 15,0 14-15,0 40 0,0 13 16,0 13-16,0-53 16,0-13-16,13 13 15,-13 53-15,13-13 16,-13-66-16,27 79 0,-27-66 16,0 13-16,26 39 0,-26-52 15,0 53-15,13-53 16,-13 53-16,14 39 15,-14-92-15,0 40 16,0 13-16,0-53 16,0-14-16,0 14 0,-14 0 0,14-13 15,0 13-15,0-13 16,0-1-16,0 14 0,0 0 0,-13 13 16,13-13-16,0 0 15,0-40-15,0 14 16,13-1-16,-13 1 0,0 12 15,0 1-15,14-27 0,-14 14 16,0-14-16,0 13 16,13-12-16,-13 25 0,0-12 15,0-14-15,0 0 0,13 27 16,-13 0-16,0-14 16,0-13-16,0 14 0,0-1 15,0 14-15,0 0 16,0-27-16,0 0 0,0 0 15,0 40-15,13-26 16,-13-14-16,14 27 16,12-14-16,-13 1 15,0-14-15,14 0 0,-1 13 16,67 27-16,-53-39 16,-14 12-16,27 1 0,0-1 15,-40-13-15,14 0 16,-14 1-16,-13-1 15,13 0-15</inkml:trace>
  <inkml:trace contextRef="#ctx0" brushRef="#br0" timeOffset="167269.35">20730 12832 0,'0'27'31,"0"-1"-15,0-13-16,0 1 0,0-1 15,13 27 1,-13-27-16,0 0 0,0 0 16,0 1-16,0-1 0,-13 13 15,13-13 1,0 14-1</inkml:trace>
  <inkml:trace contextRef="#ctx0" brushRef="#br0" timeOffset="167668.82">20717 13229 0,'-40'27'15,"27"-14"-15,13 13 16,0-12-16,0-1 15,13 13-15,0-13 16,1-13-16,25 0 16,-25 0-16,-1-13 15,0 13-15,0-13 0,0 0 16,1 0-16,-14-1 16,-14-12-1,1 13-15,13-1 0,-13 14 0,-27-26 16,27 26-16,0 0 31,0 0-31</inkml:trace>
  <inkml:trace contextRef="#ctx0" brushRef="#br0" timeOffset="168085.77">21524 12806 0,'-27'40'0,"27"-27"0,0 66 31,0-52-31,0-14 0,0 13 16,0-12-16</inkml:trace>
  <inkml:trace contextRef="#ctx0" brushRef="#br0" timeOffset="168333.41">21484 13282 0,'-26'13'15,"12"14"1,1-14-16,13 0 0,0 0 0,-13 1 16,13-1-16,0 0 0,13 0 15,-13 1 1</inkml:trace>
  <inkml:trace contextRef="#ctx0" brushRef="#br0" timeOffset="168740.56">22053 12898 0,'0'27'32,"0"13"-17,0-27-15,0 0 16,0 0-16,0 1 0,13-1 0,-13 0 16,13 53-1</inkml:trace>
  <inkml:trace contextRef="#ctx0" brushRef="#br0" timeOffset="169111.95">22079 13282 0,'14'-13'0,"-28"26"16,41-26-16,-14 13 15,0 0 1,-13 26-16,-26 14 16,13-27-1,-1 0-15,1 14 0,13-14 0,-13 0 16,0 1-16,13-1 0,0 0 0,-13 0 15,13 1-15,13-1 16,26-13 0,-25 0-1,-1-13-15,80-27 32,-14 0-17,-53 27-15</inkml:trace>
  <inkml:trace contextRef="#ctx0" brushRef="#br0" timeOffset="169510.58">22834 12872 0,'-14'53'15,"14"0"1,0-40-16,0 0 0,0 14 16,-13 12-1,13-25-15,0 39 16</inkml:trace>
  <inkml:trace contextRef="#ctx0" brushRef="#br0" timeOffset="170101.58">22834 13282 0,'26'-13'0,"-13"26"16,0-13-16,-13 13 15,0 1 1,0-1-16,-13 0 31,13 0-31,0 0 0,13-13 16,-13 14-16,14 12 15,-1-26-15,-13 13 0,0 1 16,-27 25 15,1-25-31,13-14 16,0 13-16,-1-13 0,1 0 0,0 0 16,0 0-16</inkml:trace>
  <inkml:trace contextRef="#ctx0" brushRef="#br0" timeOffset="171031.8">20069 12965 0,'-14'53'16,"14"-40"-16,14 66 31</inkml:trace>
  <inkml:trace contextRef="#ctx0" brushRef="#br0" timeOffset="171353.01">20029 13401 0,'53'-26'31,"-40"12"-15,27-12-1,-27 13-15,0 13 16,14-13-1,-14-1-15,0 14 0,0 0 16,1 14-16,-1-14 16,-13 13-16,13 0 15,-13 13-15,0-12 16,13-14-16,-13 13 0,0 0 16,14 0-16</inkml:trace>
  <inkml:trace contextRef="#ctx0" brushRef="#br0" timeOffset="171822.18">19553 13057 0,'-14'27'15,"14"-14"-15,0 0 0,0 40 16,0-27-16,0-12 16,0 12-16,0-13 0,14 14 15</inkml:trace>
  <inkml:trace contextRef="#ctx0" brushRef="#br0" timeOffset="171998.7">19487 13533 0</inkml:trace>
  <inkml:trace contextRef="#ctx0" brushRef="#br0" timeOffset="172213.57">19685 13454 0,'-13'40'0,"13"-27"0,0 0 16,-27 27-1,27-27-15,0 0 0,0 14 16,0-14 0,27-13-16,-14 0 15,0 0-15,14 0 0,-1-13 16,-13 13-16,1-13 0</inkml:trace>
  <inkml:trace contextRef="#ctx0" brushRef="#br0" timeOffset="172745.49">19010 13084 0,'0'13'0,"-13"13"15,13-12-15,0 12 16,0-13-16,0 53 16,0-52-16,13 12 0,-13 1 15,14 39 1</inkml:trace>
  <inkml:trace contextRef="#ctx0" brushRef="#br0" timeOffset="173086.01">18878 13613 0,'13'-13'16,"0"-1"-16,1 14 0,12 0 31,-13 0-31</inkml:trace>
  <inkml:trace contextRef="#ctx0" brushRef="#br0" timeOffset="173377.53">19050 13547 0,'-13'26'47,"13"-13"-47,13 14 15,-13-14 1,26 40 0,-26-40-16,-13 0 15,0 14 1,0-14-16,-14 14 16,1-27-1</inkml:trace>
  <inkml:trace contextRef="#ctx0" brushRef="#br0" timeOffset="174222.89">19606 13454 0,'13'-13'15,"0"13"1,0 13-16,1-13 0,-1 0 16,0 27-1,-13-14 1,0 0-16,0 0 0,0 0 15,0 1-15,-13 25 16,13-25 0,-13-1-16,13 0 15,13-13 1,0-13 0</inkml:trace>
  <inkml:trace contextRef="#ctx0" brushRef="#br0" timeOffset="176698.64">19619 13110 0,'0'13'0,"0"1"0,0 12 16,0-13-1,0 0 1,0 1-16,-13 52 0,13-53 0,0 14 15,0-1-15,13 40 16,-13-26-16,0-14 0,0 1 0,0 12 16,0 1-16,0 26 15,0-39-15,0 39 16,13-13-16,-13 13 16,0-40-16,0 1 0,0 79 31,0-80-31,0 40 0,0-39 15,0-1-15,-13 1 0,13-1 16,0-13-16,0 1 16,0 12-16,0-13 15</inkml:trace>
  <inkml:trace contextRef="#ctx0" brushRef="#br0" timeOffset="177830.12">19619 14274 0,'608'-13'15,"-581"13"-15,-1 0 0,1-13 0,26 13 16,26-13-1,-39 13-15,13 0 0,-27-14 0,27 14 16,-13 0-16,158-26 31,-158 26-31,0 0 0,12 0 0,-12 0 0,13-13 16,-13 13-16,13 0 0,-14-14 16,1 14-16,66-13 15,-66 13-15,-14 0 0,67-13 16,-67 13-16,1-13 15,-1 13-15,-13 0 0,14 0 0,12-13 16,-25 13-16,-1 0 16,0 0-16,14-14 0,-14 14 0,26-13 15,-25 13-15,12-13 16,-13 13-16,1 0 16,-1 0-16,0-13 0,0 13 15,40-14 1,-40 14-1,1 0-15,-1-13 0,0 13 0,14 0 16,25-13 15,-38 13-31,39 0 0,-40-13 16,13 13-16,-12 0 16,-1 0-16,0 0 0,-13-14 15,26 14 1,-12-13-16,-1 13 15,0-13-15,0 0 32,1 0-32,-14-1 15,13 14-15,-13-13 16,13 0 0,-13 0-16,0-14 15,0 14 1,0 0-16,0-1 0,0 1 15,-13-79 1,13 78 0,0 1-16,0 0 0,0 0 15,0-14-15,0 14 0,0 0 0,0-14 16,0 14-16,0-13 0,0-40 16,0 52-16,0-12 0,0 13 15,0-14-15,0 14 0,0 0 16,0-14-16,0 14 0,-13-40 15,13 40-15,0 0 0,0-1 16,0-12-16,-14 13 0,14-1 16,0 1-16,0 0 0,-13-53 31,0 53-31,13-1 0,0 1 16,0 0-16,-13 13 15,13-26 1,-14 12-16,14 1 15,0 0 1</inkml:trace>
  <inkml:trace contextRef="#ctx0" brushRef="#br0" timeOffset="178428.47">20955 13719 0,'-40'26'0,"27"-26"16,0 13-16,-27 27 31,40-27-16,-13 0-15,26-13 16,14-13 0,-14 0-16,0 13 0,0 0 15,14-13 1,-14 13 0,0 13-16,0 0 15,-13 0-15,14-13 16,-1 40-16,-13-27 0,0 1 15,0-1-15,0 0 0,13 14 16,-13-14-16,0 0 16</inkml:trace>
  <inkml:trace contextRef="#ctx0" brushRef="#br0" timeOffset="178797.97">21233 13772 0,'0'-14'16,"-40"28"-16,27-14 16,13 13-16,-27 0 15,14 0 1,13 0-1,27 1 1,-27-1-16,13-13 0,0 0 16,0 13-16,1 0 0,-1-13 15,-13 14-15,13-14 0,0 13 0,0 0 16,-13 0-16,0 14 16,0-14-16,-13 13 15,0-12-15,0-1 16,0 0-16,-1 0 15</inkml:trace>
  <inkml:trace contextRef="#ctx0" brushRef="#br0" timeOffset="179002.93">21511 13705 0,'0'-13'0,"0"40"16,-27 12-1,27-25-15,-13 12 16,13-13-16,-13 0 0,13 1 0,-14 25 31,1-25-31,13-1 0,0 0 0,-13 0 16</inkml:trace>
  <inkml:trace contextRef="#ctx0" brushRef="#br0" timeOffset="179244.82">21431 13824 0,'-13'-26'15,"0"26"-15,52 13 31,-25-13-15,-1 13-16,0-13 0,0 14 16,1-14-16,-1 13 0,0-13 0,0 13 15,1-13-15,-1 0 16,0 0 0,0-13-1</inkml:trace>
  <inkml:trace contextRef="#ctx0" brushRef="#br0" timeOffset="181750.77">22423 10993 0,'0'27'16,"0"-14"-16,0 0 0,0 53 15,0-52-15,-13 12 16,13-13-16,0 14 0,0-14 0,-13 27 16,13-27-16,0 0 15,0 14 1</inkml:trace>
  <inkml:trace contextRef="#ctx0" brushRef="#br0" timeOffset="181915.57">22635 11179 0,'0'-14'16,"-26"14"-1</inkml:trace>
  <inkml:trace contextRef="#ctx0" brushRef="#br0" timeOffset="182265.72">22847 10967 0,'-93'13'0,"80"0"16,0-13-16,-1 27 16,1-27-16,13 13 0,13-13 15,1 13 1,-1-13-1,13 0 1,-26 14-16,27-1 16,-27 0-16,13 13 15,-13-12 1,0 12-16,0-13 16,0 1-16,0-1 0,0 0 15,0 0-15,0 1 16,13-1-1</inkml:trace>
  <inkml:trace contextRef="#ctx0" brushRef="#br0" timeOffset="182556.04">23085 11007 0,'-27'0'16,"27"13"-16,-13 0 15,0 0-15,13 1 0,0-1 0,0 0 16,13 13 0,-13-12-1,13-14-15,-26-27 63,-13 40-48,26 1 1,-13-14-16,-1 13 0,1 0 0,0 0 16,0 1-16</inkml:trace>
  <inkml:trace contextRef="#ctx0" brushRef="#br0" timeOffset="183017.99">22622 11496 0,'251'-26'0,"-198"12"0,93-12 16,-54 13-16,41-40 15,-107 40 1,14-1-16,-14-12 0,14-1 0,-27 1 0,14 0 16,12-54-1,-12 27-15,-14-13 0,0 13 0,0-13 16,1 0-16,-28 0 0,14 0 0,-66-93 16,0 66-1,26 54-15,1 12 16,-14 1-16,-119-27 15,119 53-15,0 0 0,-13 0 0,-14 13 0,1 13 16,13 1-16,-27 13 16,1-1-16,12 14 0,14 0 0,-13 0 0,39 0 15,-13 0-15,14-13 0,-1 12 16,13 1-16,14 0 0,13-13 16,0 0-16,40 79 15,0-80-15,-1 1 0,14-13 16,93 65-16,-107-65 15,1-1-15</inkml:trace>
  <inkml:trace contextRef="#ctx0" brushRef="#br0" timeOffset="185890.24">23138 11073 0,'-27'-13'0,"14"13"16,0 0-1</inkml:trace>
  <inkml:trace contextRef="#ctx0" brushRef="#br0" timeOffset="186521.78">23019 11060 0,'-13'0'0,"13"-14"16,13 1 0,-13 0-16,13 13 0,-13-13 0,13-1 15,-13 1-15,13 0 16,1 0-16,-1 0 15,-13-1-15,13 14 0,0-13 16,1 0 0,-14 0-1,-27 26 17,1 0-17,26 0-15,-14 1 0,1-14 16,0 13-16,0 0 0,13 0 0,-13 0 0,-14 40 15,27-39 1,-13-1-16,13 0 0,0 0 16,-13 27-16,13-27 15,13 0-15,-13 1 16,13-1-16,0 0 0,1 0 16,-1 1-16,0-14 0,0 0 15,14 0 1,-1 0-1,-13-14-15,1-39 32,-14 40-32,-14 0 0,1 0 15,0-1 1,-14 1 0,14 13-16,-13 0 0,13 0 31,-1 13-3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2.038"/>
    </inkml:context>
    <inkml:brush xml:id="br0">
      <inkml:brushProperty name="width" value="0.025" units="cm"/>
      <inkml:brushProperty name="height" value="0.025" units="cm"/>
      <inkml:brushProperty name="ignorePressure" value="1"/>
    </inkml:brush>
  </inkml:definitions>
  <inkml:trace contextRef="#ctx0" brushRef="#br0">75 1,'-9'8,"1"2,0-1,0 1,1 1,1-1,-11 23,15-29,0-1,1 1,0-1,-1 1,1 0,0-1,1 1,-1 0,1 0,-1-1,1 1,0 0,0 0,1 0,-1-1,1 1,0 0,0 0,0-1,1 1,-1-1,1 1,0-1,0 0,0 1,5 4,-4-5,1-1,0 1,0-1,0 0,0 0,0 0,0 0,1-1,-1 0,1 0,-1 0,1 0,-1-1,1 0,-1 0,1 0,-1 0,1-1,0 1,-1-1,0-1,1 1,-1-1,8-3,-7 3,-1 0,1 0,-1-1,1 0,-1 0,0 0,0 0,0-1,-1 1,1-1,-1 0,0 0,0-1,0 1,-1 0,1-1,-1 0,0 0,0 1,-1-1,2-9,-2 10,-1 0,1 0,-1 0,0 0,-1-1,1 1,-1 0,1 0,-1 0,0 0,-1 0,1 0,-1 0,0 0,0 0,0 1,-4-6,2 6,1 0,-1 1,1-1,-1 1,0 0,0 0,0 0,0 1,-1-1,1 1,0 0,0 0,-1 1,1-1,-1 1,-6 0,-6 1</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8.256"/>
    </inkml:context>
    <inkml:brush xml:id="br0">
      <inkml:brushProperty name="width" value="0.025" units="cm"/>
      <inkml:brushProperty name="height" value="0.025" units="cm"/>
      <inkml:brushProperty name="ignorePressure" value="1"/>
    </inkml:brush>
  </inkml:definitions>
  <inkml:trace contextRef="#ctx0" brushRef="#br0">36 24,'-3'7,"0"-1,1 1,-1 0,1 0,0 0,1 0,0 0,0 0,0 14,1-18,1-1,-1 0,1 1,-1-1,1 0,0 1,0-1,0 0,0 0,0 0,1 0,-1 0,1 0,-1 0,1 0,0 0,-1-1,1 1,0-1,0 1,0-1,1 0,-1 0,0 0,0 0,0 0,1 0,-1-1,1 1,-1-1,0 0,1 1,3-1,-3 0,0 0,0 0,0 0,0 0,-1-1,1 1,0-1,0 1,0-1,-1 0,1 0,0 0,-1-1,1 1,-1-1,1 1,-1-1,0 0,0 0,0 0,0 0,0 0,0 0,0 0,-1-1,1 1,-1-1,0 1,0-1,0 0,0 1,0-1,0 0,-1 0,1-5,0 5,-1-1,0 0,0 1,0-1,0 1,-1-1,0 1,1-1,-1 1,0 0,-1-1,1 1,-1 0,1 0,-1 0,0 0,0 0,0 0,0 0,-1 1,1-1,-1 1,0 0,0 0,1 0,-1 0,-1 0,1 0,-4-1,-3 1,0 0,0 0,0 1,0 1,-20 0,13 1</inkml:trace>
</inkml:ink>
</file>

<file path=ppt/ink/ink20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54:32.922"/>
    </inkml:context>
    <inkml:brush xml:id="br0">
      <inkml:brushProperty name="width" value="0.05292" units="cm"/>
      <inkml:brushProperty name="height" value="0.05292" units="cm"/>
      <inkml:brushProperty name="color" value="#0070C0"/>
    </inkml:brush>
  </inkml:definitions>
  <inkml:trace contextRef="#ctx0" brushRef="#br0">18389 6085 0,'-27'0'0,"14"0"0,0 0 16,-40 14-16,26-14 16,1 13-16,-27 0 0,40-13 15,-14 0-15,14 13 0,-13-13 16,12 0-1,14 14-15,14-1 16,-1-13-16,26 26 16,-12-26-16,-14 13 15,0-13-15,14 14 0,26 25 32,-53-25-32,0-1 15,0 0-15,-14 0 16,-38 27-1,25-27-15,-26 14 16,0-1-16,27-26 16,13 0-16,-1 13 0,1-13 15</inkml:trace>
  <inkml:trace contextRef="#ctx0" brushRef="#br0" timeOffset="242.46">18666 6112 0,'14'-13'0,"-28"39"16,1 27 0,0-40-1,-53 93 1,39-79-16,14-14 0,-27 40 15,27-27-15,0-13 16,0 1-16,-1-1 0,-12 13 16,13-12-16</inkml:trace>
  <inkml:trace contextRef="#ctx0" brushRef="#br0" timeOffset="382.1">18349 6271 0,'-13'-14'0,"52"28"47</inkml:trace>
  <inkml:trace contextRef="#ctx0" brushRef="#br0" timeOffset="535.01">18785 6376 0</inkml:trace>
  <inkml:trace contextRef="#ctx0" brushRef="#br0" timeOffset="1941.97">13348 12316 0,'13'0'16,"-13"27"0,-39 52-1,26-52-15,-14-1 16,-13 14-1,14-14-15,26-13 16,-13 1-16,-1-14 16,14 13-16,0 0 15,14-13 1,25 0 0,-25 0-1,39 0 16,-40-13-31</inkml:trace>
  <inkml:trace contextRef="#ctx0" brushRef="#br0" timeOffset="2106.73">13533 12528 0,'0'-13'32</inkml:trace>
  <inkml:trace contextRef="#ctx0" brushRef="#br0" timeOffset="2402.48">13851 12435 0,'-27'0'15,"14"0"-15,0 0 0,0 0 16,0 0-16,-1 0 16,14 14-1,14-1 1,12 13-1,-13-12 1,-13-1-16,0 0 0,0 0 16,-26 27-1,13-27-15,-1 0 16,1 1-16,0-14 16,0 13-16</inkml:trace>
  <inkml:trace contextRef="#ctx0" brushRef="#br0" timeOffset="2611.62">14089 12356 0,'0'13'0,"0"0"16,-26 40-1,26-39-15,-14-1 16,1 13-16,0-12 0,0-1 16,-1 13-1,1-13-15,0 1 0</inkml:trace>
  <inkml:trace contextRef="#ctx0" brushRef="#br0" timeOffset="2746.25">13864 12528 0,'-13'-26'15,"26"26"-15</inkml:trace>
  <inkml:trace contextRef="#ctx0" brushRef="#br0" timeOffset="2851.18">14248 12541 0</inkml:trace>
  <inkml:trace contextRef="#ctx0" brushRef="#br0" timeOffset="3695.07">6085 12356 0,'67'13'0,"-54"-13"0,-13 13 0,13-13 0,-13 40 15,-13-27 1,0 14-16,-54 52 15,54-52-15,0-14 16,0 0-16,-14 0 16,27 1-16,-26 12 0,13-26 15,13 13 1,0 1-16,26-1 16,-13-13-1,27 13 1,-27-13-16,0 0 0,14-13 15</inkml:trace>
  <inkml:trace contextRef="#ctx0" brushRef="#br0" timeOffset="3875.39">6363 12594 0,'-26'0'16</inkml:trace>
  <inkml:trace contextRef="#ctx0" brushRef="#br0" timeOffset="4216.38">6694 12488 0,'-66'0'0,"39"0"16,27 14-16,-13-14 16,13 13-16,0 0 15,13-13-15,14 26 16,-1 1 0,-12-14-1,-14 0 1,0 1-16,-14-1 0,1 0 15,13 0-15,-26 1 16,12-14-16,1 13 16</inkml:trace>
  <inkml:trace contextRef="#ctx0" brushRef="#br0" timeOffset="6241.5">6985 11880 0,'0'26'31,"0"-13"-31,13 40 15,-13-26-15,13 26 16,-13-14-16,0 1 16,14 66-16,-14-80 15,0 67 1,0-80-16,0 14 0,0-1 16,0 1-16,0-14 0,0 13 0,0-12 15,0-1-15,-14 0 0,14 0 0,0 0 16,0 1-16,0-1 15,0 13 1,0-12 15,14-14-15,-1 0-16,0 0 16,0 0-16,27 0 15,-27 0 1,1 0-16,12 0 0,0 0 0,120 13 31,-93-13-31,-13 0 0,12 0 0,1 0 16,0 0-16,13 0 0,-13 0 0,27 0 15,-27 0-15,26 0 0,-13 0 16,0 0-16,172 0 16,-158 0-16,65 0 15,-12 13-15,-14-13 16,-40 0-16,-13 0 0,14 0 0,-14 0 15,0 13-15,0-13 0,-13 0 16,13 0-16,0 0 16,-13 0-16,146 0 0,-80 0 15,-66 0-15,13 14 0,-13-14 0,0 0 16,-1 0-16,1 0 16,0 0-16,0 0 0,0 0 0,66 13 15,-66-13-15,0 0 0,0 0 16,40 0-16,-41 0 15,1 0-15,-13 0 0,13 0 0,79 0 16,-79-13-16,27 13 16,-41 0-1,1 0-15,-14 0 0,41 0 0,-28 0 16,-12 0-16,12 0 0,-12 0 0,13 0 16,-14-14-16,0 14 0,67 0 15,-66 0 1,12 0-16,-12-13 0,-1 13 0,1 0 0,12 0 15,-12 0-15,12-13 0,-12 13 16,132-13 0,-106 13-1,-27 0-15,0 0 0,1 0 16,-14 0-16,14 0 0,-14-14 0,13 14 16,-12 0-16,-1 0 15,13 0-15,-13 0 0,1-13 0,25 13 16,-25 0-1,-1 0-15,0-13 0,0 13 0,0 0 0,1 0 16,-1-13-16,0 13 16,0 0-1,27-14 1,-27 14 0,1-13-16,12 13 15,-13-13-15,0 13 16,-13-13-1,14 13-15,-1-13 16,0 13 0,-13-14-16,13 14 15,-13-13 1,0 0 0,-13 0-16,13-27 31,0 27-31,0-1 0,-13 1 15,13 0-15,0-27 0,0 27 16,0 0-16,0-14 0,0-25 16,0 25-16,0-66 31,0 41-31,0 25 16,0 14-16,0-14 0,0 14 0,0 0 15,0 0-15,0-1 0,0 1 0,0 0 16,0 0-16,0 0 0,-13-1 31,-27 41-15,27-14-16,-27 13 15,14 1-15,-1-14 16,-13 14-16</inkml:trace>
  <inkml:trace contextRef="#ctx0" brushRef="#br0" timeOffset="6919.62">9671 13163 0,'-40'-26'0,"0"39"16,27 0-16,0-13 15,-1 13 1,14 0-16,-26 27 16,26-27-1,13-13-15,0 14 16,1-28 0,-1 14-16,0 0 0,-13-13 0,13 13 15,1 0 1,-1 0-1,-13 13-15,13 1 16,-13-1-16,0 0 16,0 0-16,0 1 0,13-1 0,-13 40 15,0-40-15,0 13 16,14-12 0,-14-1-16,0 13 0,0-12 15,13-14 1</inkml:trace>
  <inkml:trace contextRef="#ctx0" brushRef="#br0" timeOffset="7546.37">10041 13256 0,'-66'13'0,"53"-13"0,-27 0 31,13 0-31,14 0 16,0 13-1,39-13 16,-12 0-31,-1 0 16,27 0-16,-14 13 16,-13-13-1,0 0-15,1 0 32,-41 14-17,1-1 1,13-13-16,-1 13 0,1-13 15,0 0-15,0 13 0,-1-13 0,1 0 16,0 13 0,0 1-1,26 12 1,0-26-16,0 13 16,14 1-16,-14-1 15,0-13-15,1 13 0,-1-13 16,13 40-1,-13-27 1,-13 0-16,-13-13 0,13 13 16,-13-13-16,-27 14 15,27-1-15,0-13 0,0 0 16,-1 0-16,1 0 0,0 0 16,-27 0-1,27-13 1,26-1-16</inkml:trace>
  <inkml:trace contextRef="#ctx0" brushRef="#br0" timeOffset="7795.24">10464 13216 0,'27'-13'0,"-27"26"31,-13 13-15,13-12-16,-14-1 0,1 0 0,13 0 16,-13 1-16,0-1 0,-1 13 15,14-13-15,-26 40 16,13-39-16,-14 25 16,27-25-16,-13-14 0,13 13 15,-13 0 1</inkml:trace>
  <inkml:trace contextRef="#ctx0" brushRef="#br0" timeOffset="7935.51">10279 13322 0</inkml:trace>
  <inkml:trace contextRef="#ctx0" brushRef="#br0" timeOffset="8074.42">10702 13401 0,'0'0'0,"14"13"0,-28-13 46</inkml:trace>
  <inkml:trace contextRef="#ctx0" brushRef="#br0" timeOffset="17723.53">12819 11721 0</inkml:trace>
  <inkml:trace contextRef="#ctx0" brushRef="#br0" timeOffset="17866.96">12846 11867 0,'-14'0'0</inkml:trace>
  <inkml:trace contextRef="#ctx0" brushRef="#br0" timeOffset="19454.65">19791 5596 0,'0'-27'0,"0"67"16,13 53 0,0-40-16,1 26 0,-14 0 15,26 265 1,-13-225-16,-13 14 0,0-14 0,13 291 15,-13-278 1,0 0-16,14 1 0,-14-1 0,0-13 0,0 13 16,13 107-1,-13-120-15,0-40 0,13 14 0,-13-14 0,13 0 16,-13 133 0,14-159-16,-28 40 15,14-54-15,0 1 0,0-14 0,-13 1 16,13-14-16,-13 0 0,0 14 15,-14-27 1</inkml:trace>
  <inkml:trace contextRef="#ctx0" brushRef="#br0" timeOffset="19983.7">19143 8361 0,'53'-27'15,"-27"27"-15,133-26 16,264-14 0,-291 27-1,146 0-15,-132 0 0,12 13 16,-12-14-16,330 1 15,-304 0-15,-13 13 0,-14-13 16,14-1-16,0 14 0,0-13 0,-27 13 0,146-13 16,-146 13-1,-26-13-15,0 13 0,-14 0 0,332 13 32,-371-13-32,0 0 0,-1 13 15,-12-13-15,40 0 16,-67 0-16,13 13 15,-13-13-15,-26 14 16,0-1 0,0-13-16,0 13 15</inkml:trace>
  <inkml:trace contextRef="#ctx0" brushRef="#br0" timeOffset="28842.15">9618 11840 0,'0'66'0,"0"-53"0,0 14 16</inkml:trace>
  <inkml:trace contextRef="#ctx0" brushRef="#br0" timeOffset="29424.17">9671 12277 0,'-27'66'16,"27"-53"-16,0 0 0,0 14 15,13-27-15,1 13 16,-1 0-16,13-26 15,-13 13-15,1-13 16,-1-1-16,-13 1 0,0 0 16,0 0-16,0 0 15,-13-14-15,-1 14 0,1 0 16,0 13-16,-13-14 0,12 14 16,1-13-16,0 13 0,-14 13 15,14-13 1</inkml:trace>
  <inkml:trace contextRef="#ctx0" brushRef="#br0" timeOffset="30074.5">10729 11761 0,'-13'26'16,"13"-13"-1,-14 14-15,14-1 16,0 1-16,0-14 15,0 13-15,0-12 0,0 25 0,0-12 16,0-14-16</inkml:trace>
  <inkml:trace contextRef="#ctx0" brushRef="#br0" timeOffset="30296.9">10808 12277 0,'0'13'15,"0"0"-15,0 14 16,-13-1-16,13 0 16,0-12-16,-13 39 15,13-14 1</inkml:trace>
  <inkml:trace contextRef="#ctx0" brushRef="#br0" timeOffset="32834.79">12753 11840 0,'0'-13'0,"0"53"31,0-27-15,0 0-16,0 0 0,13 27 15,-13-14-15,0-12 0,0-1 16,13 40-16,-13-40 0,0 13 16</inkml:trace>
  <inkml:trace contextRef="#ctx0" brushRef="#br0" timeOffset="33183.44">12806 12211 0,'13'0'0,"-26"0"0,26-14 31,0 14-31,1 0 0,-14 14 16,0 12-1,-14-13-15,14 0 0,-26 27 16,13-27-16,-1 1 0,1 12 15,0-13-15,0 14 16,-1-27-16,14 13 0,-13-13 0,13 13 16,-13 0-1,26 1 1,0-14-16,27 0 16,-27-14-16,40 1 15,-26 13-15,-14-13 16,40 0-16,-27-1 0,14 1 15</inkml:trace>
  <inkml:trace contextRef="#ctx0" brushRef="#br0" timeOffset="34439.21">14208 12025 0,'27'0'0,"-14"14"16,-13-1-1,0 0 1,-13 0-16,13 0 16,0 1-16,0-1 31,26 0-16,-13-13-15,1 13 16,12 1 0,-13-1-1,-13 0-15,0 0 16,-13 1-16,13-1 0,-13-13 16,0 13-16,13 0 0,-14-13 0,1 13 15,0-13-15,13 14 16</inkml:trace>
  <inkml:trace contextRef="#ctx0" brushRef="#br0" timeOffset="37479.99">8096 11774 0,'0'53'16,"0"-40"-16,0 0 15,0 1-15,0-1 16,0 0-16,0 0 0,0 0 0,0 1 0,0-1 16,0 13-16,13-12 0,-13-1 0</inkml:trace>
  <inkml:trace contextRef="#ctx0" brushRef="#br0" timeOffset="37671.19">7990 12303 0,'-13'0'16,"40"-13"15,-14 13-31,0 0 16,0-13-16</inkml:trace>
  <inkml:trace contextRef="#ctx0" brushRef="#br0" timeOffset="37808.69">8215 12197 0,'14'14'31,"-14"12"-15,0 0-16,0-12 15,0-1-15,0 0 16,0 0-16,0 1 15</inkml:trace>
  <inkml:trace contextRef="#ctx0" brushRef="#br0" timeOffset="38668.35">6747 12171 0,'13'-13'16,"14"-1"0,-14 14-16,0 0 0,13-13 31</inkml:trace>
  <inkml:trace contextRef="#ctx0" brushRef="#br0" timeOffset="38909.04">6919 12118 0,'0'-13'0,"13"13"0,0 0 15,-26 26 1,13-13-1,0 14-15,-13-14 0,13 0 0,0 14 16,-13-14-16,13 0 0,0 0 16,0 1-16,0-1 0,13 0 0,0 0 15,0-13 1,14 0-16,12 0 16,-25-13-1,12 13-15,-13 0 0,1-13 0</inkml:trace>
  <inkml:trace contextRef="#ctx0" brushRef="#br0" timeOffset="39439.24">5543 12211 0,'13'0'15,"0"0"1,14 0-16,-14 0 0,0-14 15,1 14-15</inkml:trace>
  <inkml:trace contextRef="#ctx0" brushRef="#br0" timeOffset="39814.48">5794 12091 0,'0'40'16,"-13"-27"-16,13 1 0,-13-1 15,13 0-15,0 0 0,-13 1 0,13-1 16,13 0 0,13 13-1,-26-12-15,14-14 0,-1 13 16,-13 0 0,0 27-1,-13-40-15,13 13 0,-14-13 16,1 26-1,0-12-15,0-14 0</inkml:trace>
  <inkml:trace contextRef="#ctx0" brushRef="#br0" timeOffset="42244.17">12594 11456 0,'0'-26'46,"0"13"-30,0 0-16,0-1 16,0 1-16,13 0 15,-13 0-15,0-1 0,0 1 16,0 0-16,0 0 0,0-1 0,0 1 16,0-13-16,0-1 0,-13 14 15,13 0-15,0-14 16,0 14-16,0 0 15,0 39 17,-13-12-17,13-1-15,0 13 0,-13-12 16,13 12-16,-14 0 0,14 1 16,-13 26-16,13-27 0,0-12 15,-13 12-15,13-13 0,0 14 16,0-14-16,0 0 0,-13 0 0,13 1 15,0-1 1,13-40 0,0 14-16,0-27 15,-13 14-15,14 0 0,-14-1 16,0-13-16,13-79 16,-13 80-16,0-1 0,-13-13 15,13 27-15,0-14 0,-14 0 16,14 14-16,0 13 0,0-14 15,0 14-15,0 0 0,0-1 16,0 41 15,14-14-31</inkml:trace>
  <inkml:trace contextRef="#ctx0" brushRef="#br0" timeOffset="43859.48">6998 11390 0,'-13'-13'0,"13"0"15,13 0-15,-13-1 16,0 1-16,0-27 0,-13-26 16,13 27-16,0-41 15,0 54-15,0-1 16,13-26-16,-13 27 0,0-14 15,0 27-15,0 0 0,0 0 0,0-1 16,0 41 15,-13-1-15,13 1-16,0-1 0,0 14 16,0 0-16,-13-1 0,13 14 0,-13 27 15,-1-1-15,1 14 16,13-54-1,0-26-15,0 14 16,0-14-16,0 0 16,27-52 15,-27 25-31,0-12 0,13-14 0,-13 1 16,0-1-16,13 0 0,-13-13 15,0-39-15,0-1 16,-13 14-16,13 52 15,0 1-15,0-1 0,0 14 0,0 0 16,0-14-16,-13 14 16,13 0-16,13 53 15,-13-27 1,0 13-16,0 1 0,0 13 0,0 12 16,0-12-16,0 53 15,-13-40-15,13-14 0,0 14 0,0-13 16,-14 0-16,14-1 0,0 1 15,-13-14-15,13 1 16,0-1-16,-13-12 0,13 25 16,0-25-16,-13-14 0</inkml:trace>
  <inkml:trace contextRef="#ctx0" brushRef="#br0" timeOffset="44719.1">12528 10319 0,'13'13'15,"-13"13"-15,13-12 0,-13-1 16,0 13-16,14-12 0,-14-1 15,0 0-15,0 0 0,0 1 16,0-1-16,0 0 0,0 0 0,0 0 16</inkml:trace>
  <inkml:trace contextRef="#ctx0" brushRef="#br0" timeOffset="44894.12">12740 10385 0,'0'0'16,"0"-13"-16,0-1 15</inkml:trace>
  <inkml:trace contextRef="#ctx0" brushRef="#br0" timeOffset="45330.33">13004 10186 0,'-66'14'0,"40"12"16,12-26-16,1 13 0,-13 14 16,26-14-16,-13-13 0,13 13 0,0 1 15,-14-14-15,14 13 16,14-13-16,12-13 16,0-1-1,-12 1-15,-1 13 16,0-13-16,14 0 0,-27-1 15,13 14-15,0-13 0,14 13 32,-27 13-32,13 14 15,-13-14-15,13 0 16,-13 1-16,0-1 0,0 0 0,0 0 16,0 14-16,0-14 15,-13 13-15,13-12 0,0-1 0,0 0 16,0 0-1,0 1-15,13-14 16</inkml:trace>
  <inkml:trace contextRef="#ctx0" brushRef="#br0" timeOffset="45651.65">13295 10107 0,'0'-13'16,"-13"26"-16,0 0 0,0 27 15,13-14 1,-14-12-16,14 12 0,0-13 0,0 1 16,0 12-16,0-13 15,14 1-15,-1-1 0,0-13 0,0 13 16,1-13-16,-1 0 0,0 0 15,0 0-15,0 0 16,-13-13-16,-13 0 31,0 13-31,0 0 0,0 0 16,13 13-16,-14-13 0,1 0 16,0 13-16,0 0 0,-1-13 0,1 13 15</inkml:trace>
  <inkml:trace contextRef="#ctx0" brushRef="#br0" timeOffset="46427.38">6575 10623 0,'40'-13'0,"-27"13"16,0-13-16,0 13 15,1 0 1,-1-14-16,0 14 0,0 0 0</inkml:trace>
  <inkml:trace contextRef="#ctx0" brushRef="#br0" timeOffset="46615.18">6813 10464 0,'13'27'15,"0"-1"17,-13-13-32,14 1 0,-14 12 0,13-13 15,-13 1-15,0-1 0</inkml:trace>
  <inkml:trace contextRef="#ctx0" brushRef="#br0" timeOffset="47139.14">6998 10464 0,'0'-26'16</inkml:trace>
  <inkml:trace contextRef="#ctx0" brushRef="#br0" timeOffset="47487.2">7131 10332 0,'-53'26'0,"39"-12"15,1-1-15,26 0 16,1-13 0,-1-13-1,0 13-15,14-13 0,-14 13 16,-13-14-16,13 14 0,0 0 16,0 0-16,1 0 15,-1 0 1,-13 14-16,0-1 0,13-13 0,-13 13 15,0 14-15,0-14 0,13 0 16,-13 0-16,0 1 16,0-1-16,0 0 0,14 0 15</inkml:trace>
  <inkml:trace contextRef="#ctx0" brushRef="#br0" timeOffset="47787.08">7355 10253 0,'-13'0'0,"0"13"0,0 0 0,-1 14 16,14-14 0,0 13-16,14 14 15,-1-40 1,0 13-16,14-13 15,-14 0-15,0 0 16,0-13 0,-39 0 15,13 26-31,-1 0 0,1-13 0,0 13 0,0 1 16,-1-14-16,1 13 0,0 13 15</inkml:trace>
  <inkml:trace contextRef="#ctx0" brushRef="#br0" timeOffset="49143.07">12859 10623 0,'26'-13'0,"-13"13"0,1 0 16,-1 0-16,27 0 15,-14-13-15,1 13 0,25-14 16,-12 14-16,13-13 0,-13 0 0,26 0 16,-13-1-16,0 1 0,0 0 0,-14 0 15,1-14-15,0 14 0,-1 0 16,1 0-16,0-1 0,13-12 15,-27 13-15,-13-1 0,1 1 0,25-13 16,-26 13-16,-13-1 16,14 1-16,-14 0 0,13 0 0,-13-1 15,0 1-15,0 0 0,0-14 0,0 14 16,0-13-16,-13 13 16,13-14-16,-14 1 0,1 12 0,13-12 0,-26-1 15,13 1-15,-1 0 0,-12 12 16,13-12-16,-14 13 0,14-14 15,-14 14-15,1 0 0,-14-1 0,14 1 16,-14 0-16,14 0 0,-14 0 0,14-1 16,-1 1-16,-52 0 15,26 0-15,26 13 16,1 0-16,-1 0 0,1 0 16,0 0-16,-1 13 0,-13 0 0,1-13 15,-1 13-15,0 1 0,14-1 0,-14 0 16,1 0-16,12 0 0,-13 1 15,14-1-15,-1 13 0,-12-12 16,-14 12-16,13 1 0,-13-1 16,27 0-16,13-12 0,-14 12 15,14-13-15,0 1 0,-1 12 16,-12 1-16,13-1 0,-1-13 16,1 27-16,13-27 0,0 14 15,0-14-15,0 27 16,13-1-16,-13-12 0,14-14 15,-1 13-15,0-12 0,0 12 16,1-13-16,-1 1 0,13 12 0,-12-13 16,-1 14-16,40-14 15,-40 0-15,40 14 0,-27-27 16,1 0-16,-1 13 0,1-13 16,39-13-16,-40 13 0,14 0 15,-14-14-15,1 14 0,-1 0 16,1-13-16,-14 13 0,0 0 0,14-13 15,-1 13-15,-13 0 0,1 0 16,-1-13-16,0 13 16,0 0-16,1-14 15,-1 14-15,0 0 16,0-13 0</inkml:trace>
  <inkml:trace contextRef="#ctx0" brushRef="#br0" timeOffset="50407.11">13401 9895 0,'27'-39'15,"-14"25"1,13-12-16,40-14 16,-39 1-16,26 12 0,-14-26 15,14 14-15,-13-14 0,13 13 0,0-13 16,13 0-16,-13 0 0,13 0 15,-13 0-15,0 14 0,0-1 0,0 14 16,0-14-16,-14 13 0,-12 14 0,-1-13 16,14-1-16,-27 27 15,0-13-15,1 0 0,-1 13 16</inkml:trace>
  <inkml:trace contextRef="#ctx0" brushRef="#br0" timeOffset="50686.89">14195 8956 0,'79'-13'15,"-65"26"-15,52 14 16,-27-1 0,-25-13-16,-1 27 0,0-14 15,-13-12-15,0 52 16,-13-26-16,0-14 16,-14 14-16,14-14 0,-14 1 0,1 12 15,0-12-15,-1-1 0,14 1 0,-14-1 16,1-13-16,-1 14 0,27-14 15,-13-13-15</inkml:trace>
  <inkml:trace contextRef="#ctx0" brushRef="#br0" timeOffset="51580.27">14777 8586 0,'79'-53'0,"-65"53"16,12 13-1,-26 0-15,0 0 16,0 1-16,0-1 0,-26 40 15,26-40 1,-14 14-16,14-14 0,-13 0 0,13 0 0,-13 0 16,13 1-16,0-1 15,0 0-15,0 0 0,13 1 16,0-1-16,1-13 16,-1 0-16,0 0 15,13 0-15,-12 0 0,-1 0 16,0-13-16,0 13 0,14 0 0,-1-14 15,-12 14-15,-1-13 16</inkml:trace>
  <inkml:trace contextRef="#ctx0" brushRef="#br0" timeOffset="51756.59">14803 8784 0,'14'-26'0,"-1"26"0,13-14 32,1 1-32,-14 13 0,13-13 0,-12 13 15,12-26-15,1 26 0,-1-14 0,1 14 16,-14-13-16,13 0 0</inkml:trace>
  <inkml:trace contextRef="#ctx0" brushRef="#br0" timeOffset="59918.1">9737 7355 0,'-27'40'0,"27"-27"16,0 14-16,-13 39 15,13-40-15,0 1 16,-13 13-16</inkml:trace>
  <inkml:trace contextRef="#ctx0" brushRef="#br0" timeOffset="60183.16">9631 8374 0,'0'53'0,"0"-13"16,0-27-1</inkml:trace>
  <inkml:trace contextRef="#ctx0" brushRef="#br0" timeOffset="60377.18">9657 8758 0,'0'13'0,"14"13"16,-14-12-16,0-1 15,0 0-15,0 0 0,0 1 16,0-1-16</inkml:trace>
  <inkml:trace contextRef="#ctx0" brushRef="#br0" timeOffset="60560.93">9750 9274 0,'0'26'16,"0"-13"-16,0 1 16,0-1-16,0 0 15,0 0-15,0 27 16,0-27-1</inkml:trace>
  <inkml:trace contextRef="#ctx0" brushRef="#br0" timeOffset="60710.12">9869 9895 0,'-40'80'16,"40"-67"0</inkml:trace>
  <inkml:trace contextRef="#ctx0" brushRef="#br0" timeOffset="60849.17">9816 10306 0,'0'13'0,"0"0"0,0 0 16,-13 0-16,13 1 0,-13-1 16,13 0-16,0 0 0</inkml:trace>
  <inkml:trace contextRef="#ctx0" brushRef="#br0" timeOffset="62164.26">20770 11655 0,'0'13'32,"-13"14"-17,-14-1-15,14-13 16,0 1-16,-14 12 0,14 0 0,0-12 0,-14 12 16,14-13-16,0 1 0,0-1 15,-1 0-15,1 13 16,13-12-16,0-1 0,0 0 15,13-13-15,1 0 16,12 13-16,-13-13 0,1 0 16,-1 0-16,13 0 0,14 0 15,-14-13-15,1 13 16,-1-13-16,-13 13 0,14-13 0,-14 13 16,0-14-16,1 1 0,12 0 0,-13 0 15</inkml:trace>
  <inkml:trace contextRef="#ctx0" brushRef="#br0" timeOffset="62363.77">20862 11708 0,'-26'26'0,"13"-26"0,13 40 16,-14-27-16,14 14 0,0-1 0,0 1 15,-13-1-15,13 14 0,-13 13 16,13-27-16,0 1 0,-13-14 16,13 13-16,0 14 0,0-14 15,-13-26-15,13 14 0</inkml:trace>
  <inkml:trace contextRef="#ctx0" brushRef="#br0" timeOffset="62862.5">20148 11734 0,'106'-39'0,"0"25"15,-40 1 1,-13 0-16,13 0 0,0-14 0,0 14 16,0 0-16,0 0 0,54-14 15,-54 14-15,-27 0 0,14-1 16,13 1-16,-26 0 15,-27 13-15,1-13 0,-1 13 0,0 0 16,0 0-16,0 0 0,-13-14 16,14 14-16,12 0 15,-13 0 1,-13-13 0,-13 40 77</inkml:trace>
  <inkml:trace contextRef="#ctx0" brushRef="#br0" timeOffset="66851.47">19963 12369 0,'53'80'0,"-40"-67"16,13 0-16,1-13 0,-1 13 0,54 1 15,-41-14-15,67 0 16,-53-14-16,0 14 0,0-13 16,13 0-16,106-53 15,-119 39-15,0 1 0,-13-1 16,13 1-16,-14-1 0,14 1 0,-26 0 15,12 12-15,-12-12 0,-1-1 16,40-12-16,-52 12 0,12 1 16,0-1-16,-12 14 0,-1-27 0,13 14 15,1-80 1,-14 66-16,0-65 16,1 52-16,-14 0 0,0 0 0,-14-13 0,14 13 15,-13 0-15,-13 0 0,12 0 16,-12 13-16,-14-13 0,-39-26 15,26 53-15,0-1 0,0 1 16,-13 12-16,-13 14 0,12-13 16,-25 26-16,13 1 0,-41-1 0,-78 66 15,92-26-15,0 0 0,14 13 16,-1 0-16,14 14 0,13-1 16,-1 1-16,15-1 0,25-13 0,1 132 15,39-131-15,0-14 16,27-1-16,-1 1 0,14-13 0,0 13 15,0-27-15,13 14 0,0-13 16,14-14-16,-14 0 0,53 13 16,-66-26-16,-13 0 0</inkml:trace>
</inkml:ink>
</file>

<file path=ppt/ink/ink201.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4T07:05:37.245"/>
    </inkml:context>
    <inkml:brush xml:id="br0">
      <inkml:brushProperty name="width" value="0.05292" units="cm"/>
      <inkml:brushProperty name="height" value="0.05292" units="cm"/>
    </inkml:brush>
  </inkml:definitions>
  <inkml:trace contextRef="#ctx0" brushRef="#br0">2606 3956 0,'13'13'78,"1"-13"-62,12 0-1,14 0 1,-1 0 0,1 0-1,0 13 1,0-13 0,-14 0-1,0 0 16,-12 13-15,-41 14 15,1-1-15,13-26-16,-1 13 0,-12 1 16,-14 12-1,27-13-15,-27 14 16,-13 12-1,14-12 1,12-14 0,1 0-1,12 1 32,41-1-16,13-13-15,13 0 0,-40 0-16,79-13 15,-25 13 1,-28 0 0,1-14-1,-14 14 1,-12 0 15</inkml:trace>
  <inkml:trace contextRef="#ctx0" brushRef="#br0" timeOffset="764.99">2540 4154 0,'13'0'16,"0"0"-1,27 0 1,13 0 0,0-13-1,13 13 1,-13-13-1,-26 13 1,-1 0 0</inkml:trace>
  <inkml:trace contextRef="#ctx0" brushRef="#br0" timeOffset="12548.27">3492 4075 0,'14'0'15,"-1"0"-15,0 0 32,0-14-32,14 14 31,-14 0-31,0 0 0</inkml:trace>
  <inkml:trace contextRef="#ctx0" brushRef="#br0" timeOffset="12931.29">3413 4207 0,'27'0'15,"-14"0"-15,0 0 16,27 0 0,-1 0-1,-12 0 1,-1 0 0</inkml:trace>
  <inkml:trace contextRef="#ctx0" brushRef="#br0" timeOffset="14784.7">4683 3757 0,'-26'13'63,"26"1"-63,-27 25 16,14-26-16,-27 40 15,1 14 1,-1-15-1,13-25 1,14-14 0,0 0-1</inkml:trace>
  <inkml:trace contextRef="#ctx0" brushRef="#br0" timeOffset="15315.68">4458 3836 0,'0'14'32,"13"-1"-17,14 13 1,26 14-1,-27-13 1,14-1 0,-14 14-1,1-27 1,-14 0 15</inkml:trace>
  <inkml:trace contextRef="#ctx0" brushRef="#br0" timeOffset="16119.84">4379 3691 0,'13'13'15,"14"-13"1,12-13 0,27 13-1,-13 0 1,-13 0 15,-14-13-31,1 13 31,-14 0-15,0 0 0</inkml:trace>
  <inkml:trace contextRef="#ctx0" brushRef="#br0" timeOffset="17499.73">4789 3942 0,'40'-13'16,"-27"13"-1,13 0 1,1 0 0,-14 0-1,13 0 1,-12 0-1,-1 0 17</inkml:trace>
  <inkml:trace contextRef="#ctx0" brushRef="#br0" timeOffset="18448.8">5159 4101 0,'0'-26'47,"14"26"-32,-14-14 1,13-25 0,0 12-1,0-26 1,1 14 0,-14 12-1,13 1 1,-13 12-1,0 1 1,0 0 0,-13 26 31,13 0-32,-14 27-15,1 0 31,0 0-15,13 26 0,0-40-1,13 1 1,14-1 0,-14-13-1</inkml:trace>
  <inkml:trace contextRef="#ctx0" brushRef="#br0" timeOffset="18866.79">5411 3929 0,'0'-13'0,"0"0"31,0-1-31,0 1 16,0 0 0,0 0-1,-13 39 63,13-13-78,0 1 16,0 39 0,0-14-1,13 1 1,0 0 15,13-14-31,14-13 31,-13-13-15,-14 0-16</inkml:trace>
  <inkml:trace contextRef="#ctx0" brushRef="#br0" timeOffset="19748.72">5252 4114 0,'26'0'32,"-12"0"-17,12-13 1,-13 13-1,14 0 1</inkml:trace>
  <inkml:trace contextRef="#ctx0" brushRef="#br0" timeOffset="21148.6">5186 4088 0,'-27'13'31,"27"0"31,-13-13-46,13 14 0,-13-1-1,0 13 32,-1 1-31,1-1-1</inkml:trace>
  <inkml:trace contextRef="#ctx0" brushRef="#br0" timeOffset="21800.79">5345 4128 0,'13'-14'16,"0"14"0,0-13-1,1 0 1,12 13 0</inkml:trace>
  <inkml:trace contextRef="#ctx0" brushRef="#br0" timeOffset="23957.29">4180 4445 0,'27'0'31,"-14"0"-15,27 0 0,26-13-1,13 13 1,67-27-1,26 14 1,13 0 0,13 0-1,-65-1 1,-1 14 0,-26-13 15,-14 13-16,-12-13 1,-40 13 15,-14 0-31,0-13 16,1 13 0,-1 0-1,14-14 16,-27 14-15,1 0 0,-1 0-1,0 0 17,0 0-32,0 0 31,1 0-16,-1 0 17</inkml:trace>
  <inkml:trace contextRef="#ctx0" brushRef="#br0" timeOffset="26047.6">4445 4961 0,'-13'13'16,"0"-13"-1,-1 13 1,-12 1 0,13-14-1,-14 0 1,14-14-1,-14 1 1,14-13 0,13 12-1,13-12 1,-13 13 15,27 0-15,13-1-1,13 14 1,-14 0 0,27 0-1,-26 0 1,13-13 0,0 13-1,-13 0 1,-1 0-1,-12-13 1,-14 13 0,0 0-1</inkml:trace>
  <inkml:trace contextRef="#ctx0" brushRef="#br0" timeOffset="27381.97">5067 4657 0,'-13'26'16,"13"-13"-1,-27 27 1,1 26-1,-14 14 1,-26 39 0,0 0-1,13-40 1,26-26 0,1-13 15,13-14-16,13-13 1</inkml:trace>
  <inkml:trace contextRef="#ctx0" brushRef="#br0" timeOffset="28919.64">5001 5252 0,'26'-26'47,"-13"12"0,1 1-47,-1 0 0,0-14 15,0 14 1,0 0 0,1 13-1,-1 13 16,0 14-15,0-1 0,1-13-1,-1 1 1,0-14 15,0-14 0,-13-12-15,0-14 0,0 0-1,0 27 1,0 0-16,0-13 16,0 12-1,0 1 1,14 0 15,12 13-15,14-13-1,52 13 1,-26-14 0,1 1-1,-15 13 16,-38 0-15,12-13 0,-13 13-16,1 0 15</inkml:trace>
  <inkml:trace contextRef="#ctx0" brushRef="#br0" timeOffset="29681.67">5371 5133 0,'0'13'32,"-13"0"-1,13 14-15,0-14-1,-13 14 1,26-41 46,0 1-46,0 0 0,1 0-16,-1 13 0,0-14 15,27 1 16,-14 26-15,-13 1 0,1-14-1,-1 13 1,-13 13 0,0-12-1</inkml:trace>
  <inkml:trace contextRef="#ctx0" brushRef="#br0" timeOffset="32363.69">9036 3863 0,'13'13'63,"0"-13"-48,0 13-15,14-13 16,26 0-1,0 0 1,-40 0 0,13 0-1,-26 14 1,-26 12 15,-14 1 0,40-14-31,-53 26 16,0 14 0,-13 14-1,26-28 1,27-26-16,-27 14 16,27-1-1,26-12 16,27-1-15,0-13 0,39 0-1,14 0 17,-80 0-17,40-13-15,-40 13 0,14 0 31</inkml:trace>
  <inkml:trace contextRef="#ctx0" brushRef="#br0" timeOffset="32938.68">8864 4101 0,'0'0'0,"39"-13"63,-26 13-63,27 0 15,66-13 1,-13 13 15,-80-14-31,53 14 0,-53 0 16,27 0 0</inkml:trace>
  <inkml:trace contextRef="#ctx0" brushRef="#br0" timeOffset="34282.36">9657 3982 0,'27'0'15,"12"-13"16,-12 13-15,-1 0 0,-12 0-1</inkml:trace>
  <inkml:trace contextRef="#ctx0" brushRef="#br0" timeOffset="34481.36">9671 4101 0,'26'0'16,"0"0"-1,14-13 1,0 13-1</inkml:trace>
  <inkml:trace contextRef="#ctx0" brushRef="#br0" timeOffset="35866.65">10901 3651 0,'-27'13'0,"1"1"16,-14 25 0,27-25-1,-93 105 1,93-106 0,-66 93-1,39-67 1,27-12-1,-1-27 1</inkml:trace>
  <inkml:trace contextRef="#ctx0" brushRef="#br0" timeOffset="36164.65">10597 3757 0,'26'27'15,"-13"-27"-15,0 13 0,54 53 31,-14-13-15,-14 0 0,-12-27-1,-1-13 1</inkml:trace>
  <inkml:trace contextRef="#ctx0" brushRef="#br0" timeOffset="36700.98">10544 3559 0,'39'13'0,"-25"-13"15,25-13 1,54 13 0,-27 0-1,0 0 1,-26-14 0,-14 14-1</inkml:trace>
  <inkml:trace contextRef="#ctx0" brushRef="#br0" timeOffset="37166.14">11060 3876 0,'52'0'16,"-25"0"-1,13-13 1,-1 13 0,-25 0-1,12 0 1</inkml:trace>
  <inkml:trace contextRef="#ctx0" brushRef="#br0" timeOffset="38585.14">11430 4061 0,'13'-26'0,"0"13"15,-13-1-15,27-52 16,-1 13 0,1-13-1,-14 27 1,0 12 0,-13 1-1,14 12 16,-28 41 16,1 13-31,13-14 0,-26 27-1,26 0 1,13-27-1,0 1 1,14-27 0,-14 0-1,53-13 1,-40-14 0,1 1 15,-1-27-16,-12 13 1,-1 14 0,0-1-1,-13 14 1,0 39 31,-13-26-32,13 53 1,13-26 0,0-1-1,0 1 1,27-14 0,-27 0-1,14-13 1</inkml:trace>
  <inkml:trace contextRef="#ctx0" brushRef="#br0" timeOffset="39439.14">10438 4339 0,'26'13'16,"1"-13"-16,-14-13 0,119 13 16,106-13 15,-158 13-31,65-13 0,-65 13 0,237-14 16,-118 14-1,12-13 16,-78 13-15,-54 0 0,-66 0-16,0 0 15,14-13 1</inkml:trace>
  <inkml:trace contextRef="#ctx0" brushRef="#br0" timeOffset="41081.21">10689 4736 0,'-13'0'15,"0"0"1,-14 13-1,1-13 1,13-13 0,-1 0-1,14 0 1,14-14 0,-1 14-1,26 0 1,14 13-1,14 0 1,-15 0 0,-12 0-1,-27 0-15,14 0 32,-1 0-32,1 0 31,-14 0-31</inkml:trace>
  <inkml:trace contextRef="#ctx0" brushRef="#br0" timeOffset="41665.15">11351 4538 0,'-40'39'31,"40"-25"-31,-13-1 0,-53 66 16,-14 27 0,14-27-1,0 27 16,39-66-15,1-14 0,26-12-1</inkml:trace>
  <inkml:trace contextRef="#ctx0" brushRef="#br0" timeOffset="43784.77">11324 4961 0,'13'-13'31,"1"13"-31,-1-14 47,13 14-16,-12 14 0,-1-1-15,-13 0 0,13 0-1,0-13 1,0-13 15,-13-27-15,0 1-1,0-1 1,0 14 0,0 12-1,0 1 1,0 0-1,14 13 1,25-13 0,28 13-1,-1 0 1,53-14 0,-13 1-1,-54 13 1,-12-13-1,-13 13 1</inkml:trace>
  <inkml:trace contextRef="#ctx0" brushRef="#br0" timeOffset="44415.86">11655 4895 0,'0'13'15,"0"0"1,-13 0 0,13 14-1,-14-27 1,14 13-1,27-26 32,-27 0-47,26-14 16,14 1 0,-13 13 15,12 13-16,-26 26 1,14-13 0,-27 0-1,26 1 1,-26-1 0</inkml:trace>
  <inkml:trace contextRef="#ctx0" brushRef="#br0" timeOffset="46364.97">12779 4048 0,'27'-13'31,"-14"13"-15,27 0-16,-1 0 31,14 13-16,-26 0 1</inkml:trace>
  <inkml:trace contextRef="#ctx0" brushRef="#br0" timeOffset="46548.97">12779 4180 0,'27'0'16,"13"0"0,12-13-1,-25 13 1,-14 0 0</inkml:trace>
  <inkml:trace contextRef="#ctx0" brushRef="#br0" timeOffset="47166">13798 3691 0,'-13'26'32,"13"-12"-32,-27 65 31,14-13-16,0-39-15,0 52 16,-1-39 0,1-1-1,13-25 1</inkml:trace>
  <inkml:trace contextRef="#ctx0" brushRef="#br0" timeOffset="47615.97">14010 3797 0,'-14'13'32,"-12"13"-17,13 1 1,0 13 0,26 13-1,0-40 1,27 0-1,26-26 1,-40-14 0,-12-12-1,-14-1 1,-14 13 0,-12 1 15,-14 13-16,27 13 1</inkml:trace>
  <inkml:trace contextRef="#ctx0" brushRef="#br0" timeOffset="48265.24">14526 3810 0,'26'-13'0,"-13"13"16,1 0-1,-54 13 17,-13 0-17,0 14 1,13-14 0,27 13-1,26-12 16,1-1-15,25 13 0,-12-12-1,-14-1 1,-26 13 0,-14 1-1,-26-1 1,27-13-1,13-13 1,-1 0 0</inkml:trace>
  <inkml:trace contextRef="#ctx0" brushRef="#br0" timeOffset="48585.82">14790 3969 0,'27'-13'16,"-14"13"0,0-14-16,27 14 15,-1 0 1,-12 0 0,-14 0-1</inkml:trace>
  <inkml:trace contextRef="#ctx0" brushRef="#br0" timeOffset="49266">15319 3731 0,'-13'26'31,"13"14"-15,-13-27-16,-14 53 15,14-26 1,0 13-1,0-27 1,13-13 0</inkml:trace>
  <inkml:trace contextRef="#ctx0" brushRef="#br0" timeOffset="49684.68">15544 3770 0,'-26'14'31,"26"-1"-31,-13 13 15,13 14 1,13-14 0,13-12-1,27-1 1,-13-26 15,-14-14-15,-26 14-16,14-27 15,-28 1 1,1 25 0,-40-12-1,14 26 1,12 13 0,14 0-1</inkml:trace>
  <inkml:trace contextRef="#ctx0" brushRef="#br0" timeOffset="50016.71">15849 3744 0,'0'13'15,"-14"0"1,28 27-1,12-14 1,-13-26 0,0 14-16,40-14 15,-26-27 1,-14 1 0,-26-27-1,-14 13 1,-26 14-1,-13 26 1,-40 53 0,54-27-1</inkml:trace>
  <inkml:trace contextRef="#ctx0" brushRef="#br0" timeOffset="50681.71">13772 4326 0,'26'13'16,"0"-26"-16,120 13 15,66-13 1,145-1 0,159 1 15,-199 13-16,14 0 1,-133 0 0,-118 13-1,-40-13 1,-27 0 0</inkml:trace>
  <inkml:trace contextRef="#ctx0" brushRef="#br0" timeOffset="52084.25">14116 4643 0,'-27'14'32,"27"-1"-32,-13 40 15,-14-14 1,14 14 0,0-26-1,13-14 16</inkml:trace>
  <inkml:trace contextRef="#ctx0" brushRef="#br0" timeOffset="52648.34">14433 4670 0,'13'0'16,"-13"-13"-16,-13 13 31,-40 0-15,13 13 0,27 0-1,-13 0 1,52 14 15,-13-27-31,14 13 16,-1 0-1,-39 27 17,0-40-32,-40 26 31,27-12-16,-14-1 1,27-13 0,-1 13-1</inkml:trace>
  <inkml:trace contextRef="#ctx0" brushRef="#br0" timeOffset="53083.47">14909 4591 0,'-26'13'16,"13"0"-16,-1 0 15,-65 80 1,-53 52-1,-1 14 1,28-40 0,38-39-1,41-54 1,13 0 0</inkml:trace>
  <inkml:trace contextRef="#ctx0" brushRef="#br0" timeOffset="54217.32">14764 5106 0,'26'-13'31,"-13"0"-31,1 0 15,-1 13 1,13-13 0,-26-1-1,14 14-15,-1 14 47,-13-1-47,13 13 31,0 14-15,-13-27 0,13 0-1,1-26 32,-1 0-47,-13 0 0,13-27 16,-13 0-1,13-13 17,-13 40-32,14 0 15,12 0 1,14-1 0,52 1-1,54 0 16,-120 13-31,27-13 16,40 0 0,-40 13-1,0 0 1,-40-14 0,0 14-1</inkml:trace>
  <inkml:trace contextRef="#ctx0" brushRef="#br0" timeOffset="55864.13">15187 5080 0,'40'0'47,"-27"0"-32,13 0 1,-12 0 0,12 0-1,-13 13 1,-26 27 15,-13-14-15,12 27-1,1-53-15,0 40 32,0-14-32,13-12 15,0-1 16</inkml:trace>
  <inkml:trace contextRef="#ctx0" brushRef="#br0" timeOffset="56065.33">15121 5252 0,'26'0'31,"-12"0"-31,-1-13 0,40 13 32,-27 0-32,1 0 15</inkml:trace>
  <inkml:trace contextRef="#ctx0" brushRef="#br0" timeOffset="56649.33">15637 5146 0,'13'-13'16,"-39"26"31,-14-13-32,14 13 1,-1 1-1,14-1 1,26 0 15,-13 0-15,27 1-16,-14-1 0,0 13 16,-13-13-1,-26 27 16,-14-27-15,0 14 0,0-14-1</inkml:trace>
  <inkml:trace contextRef="#ctx0" brushRef="#br0" timeOffset="57765.33">16550 4180 0,'13'0'0,"0"0"16,40 0-1,13 0 1,-26 14 0</inkml:trace>
  <inkml:trace contextRef="#ctx0" brushRef="#br0" timeOffset="57949.33">16510 4313 0,'26'0'16,"-12"0"-16,-1 0 16,53 0-1,-13 0 1</inkml:trace>
  <inkml:trace contextRef="#ctx0" brushRef="#br0" timeOffset="59100.34">17727 3876 0,'40'-26'31,"-27"26"-31,0 0 0,14 0 16,39 13 0,-53-13-16,27 40 15,-53 13 1,-67 26 0,-12-13-1,12-26 1,27-14-1,40-13 17,79-13-17,14 0 17,-28 0-32,-38 0 0,65-13 15,-26 13 16,-13-13-15</inkml:trace>
  <inkml:trace contextRef="#ctx0" brushRef="#br0" timeOffset="59283.36">18190 4075 0</inkml:trace>
  <inkml:trace contextRef="#ctx0" brushRef="#br0" timeOffset="72048.82">18494 3863 0,'-39'0'16,"39"13"-16,-14-13 0,-12 13 15,0 14 1,12-14 0,1 0-1,26 14 1,1-14 15,25 0-15,-12 14-1,26-1 1,-27 1 0,-26-14-16,13 13 15,-13 1 1,-26-1-1,-1-13 1,-12-13 0,12-13-1,14 0 1,13-13 0,0-1-1,26 1 16,1-1-15,-1 1 0,27-14-1,-39 27 1,12-14 0,-26 1-1,-13-1 1,0 14-1,-14-13 1,1 26 0,12 0-1,1 13 1</inkml:trace>
  <inkml:trace contextRef="#ctx0" brushRef="#br0" timeOffset="72732.64">18891 3863 0,'0'0'0,"0"-13"0,-13 13 15,0-14 1,-14 14-1,-12 14 1,-1-1 0,0 27-1,27-14 1,0-13 0,26 1-1,27-14 16,-1-27-15,1 14 0,-13 13-1,-14 0 1,-13 40 0,0 12-1,-13 15 1,-1-14-1,14-27 1</inkml:trace>
  <inkml:trace contextRef="#ctx0" brushRef="#br0" timeOffset="73234.89">19143 4035 0,'-40'40'0,"13"-27"16,-39 40-1,40-27-15,-67 54 16,-39 25 0,39-12-1,40-53 1,40-14-1</inkml:trace>
  <inkml:trace contextRef="#ctx0" brushRef="#br0" timeOffset="73482">19275 4207 0,'-53'13'15,"13"0"1,1 14-16,-67 39 16,-66 53-1,79-26 1,-13-1-1,93-79-15,0 1 16</inkml:trace>
</inkml:ink>
</file>

<file path=ppt/ink/ink20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55:55.221"/>
    </inkml:context>
    <inkml:brush xml:id="br0">
      <inkml:brushProperty name="width" value="0.05292" units="cm"/>
      <inkml:brushProperty name="height" value="0.05292" units="cm"/>
      <inkml:brushProperty name="color" value="#0070C0"/>
    </inkml:brush>
  </inkml:definitions>
  <inkml:trace contextRef="#ctx0" brushRef="#br0">4432 4908 0,'-13'0'16,"-1"-13"31,14 26 31,0 0-47,0 0-15,0 1-1,-13-1 16,13 0 1,-13 0 30,0-13 1,-1 0-48,1 0 17,0 0-1,0 0-16,13-13 32,0 0-31,13 0 0,0 13-1,0 0-15,1 0 16</inkml:trace>
  <inkml:trace contextRef="#ctx0" brushRef="#br0" timeOffset="5066.43">22900 1535 0,'-14'0'0,"41"0"31,52 13-15,-39-13 0,-14 0-16,27 0 0,-13 0 0,0 13 0,-14-13 15,14 0-15,-14 0 0,1 0 16,12 0-16,-25 13 0,12-13 15,14 0-15,-27 0 0,0 0 16,1 0-16,-67 0 31</inkml:trace>
  <inkml:trace contextRef="#ctx0" brushRef="#br0" timeOffset="5444.39">22913 1601 0,'26'13'16,"-12"0"0,12-13-16,53 0 15,-39 13-15,0-13 0,-14 0 0,14 0 16,-14 0-16,14 0 0,-13 0 16,12 0-16,-26 0 0,14 14 15,-1-14-15,-12 0 0,-1 0 0,0 0 16,0 0-16,1 0 0,-1 0 0,0 0 15,0 0 1,0 0 0,1 0-16,-1 0 15,-40-14 110</inkml:trace>
  <inkml:trace contextRef="#ctx0" brushRef="#br0" timeOffset="6559.58">5437 4233 0,'-13'14'15</inkml:trace>
  <inkml:trace contextRef="#ctx0" brushRef="#br0" timeOffset="7826.24">20174 701 0,'27'-26'16,"-1"26"-16,1-14 15,-1 14-15,1-13 0,-1 13 0,14-13 16,-14 13-16,14-13 0,-13 13 0,25-13 16,-25 13-16,13 0 15,-27-14-15,0 14 16,0 0-16</inkml:trace>
  <inkml:trace contextRef="#ctx0" brushRef="#br0" timeOffset="8021.22">20294 754 0,'-14'0'15,"54"0"17,-27-13-32,14 13 0,-14 0 0,13 0 15,1-13-15,-1 13 0,-12 0 16,12 0-16,-13-14 0,0 14 0,1 0 15,12 0-15</inkml:trace>
  <inkml:trace contextRef="#ctx0" brushRef="#br0" timeOffset="17614.5">21418 5847 0,'13'14'16,"-13"-1"-16,0 0 0,-13 0 0,13 14 0,0-14 16,-13 13-16,13-12 15,-13 12-15,13-13 0,-14 0 0,14 14 16,-13-14-16,13 0 0,0 1 0,-13-1 16,13 0-16,0 0 15</inkml:trace>
  <inkml:trace contextRef="#ctx0" brushRef="#br0" timeOffset="17980.55">21669 5821 0,'-13'-13'0,"13"-1"31,-13 41-31,13-14 16,-13 0-16,13 14 16,0-14-16,0 0 0,0 0 0,0 1 15,13-1-15,-13 0 0,13 0 0,-13 1 16,13-1-16,1-13 0,-1 0 16,0 13-16,0-13 0,1 0 15,-1-13-15,0 13 0,0-13 16,-13-1-16,0 1 15,13-13 1,-26 12-16,13 1 0,0 0 0,0 0 16,-13 0-16,0-1 15,13 1-15,-13 13 0,-14-13 16,14 13-16,0-13 16,-1 13-1</inkml:trace>
  <inkml:trace contextRef="#ctx0" brushRef="#br0" timeOffset="18329.3">22225 5728 0,'-26'13'31,"12"1"-31,1-1 0,0 0 0,-14-13 16,14 13-16,-13 1 0,12-1 16,-12 0-16,13 0 0,0 1 0,-1-14 15,1 13-15,0 0 0,0-13 0,13 13 16,-14 0 0,14 1-16,27-1 15,-14 0 1,0-13-16,1 0 0,-1 13 15,0-13-15,13 0 0,-12 0 0,-1 14 16,13-14-16,-12 0 0,-1 0 0,0 0 16,0 0-16,14 0 15,-27-14-15,13 14 0,0 0 16</inkml:trace>
  <inkml:trace contextRef="#ctx0" brushRef="#br0" timeOffset="18565.5">22212 5715 0,'-13'26'16,"13"-12"-16,-14-1 0,14 13 0,-13 1 15,13-14-15,-13 14 0,13 12 16,-13-12-16,13 12 0,-14-12 15,14-1-15,-13-13 0,13 14 0,-13-1 16,13 1-16,0-14 0,0 0 16,-13-13-16,13 14 0,13-1 15</inkml:trace>
  <inkml:trace contextRef="#ctx0" brushRef="#br0" timeOffset="18807.41">22556 5927 0,'39'0'15,"-25"0"-15,-1 0 0,0 0 0,0 0 16,14 0-16,-14 0 16,-13-14-16,26 14 15</inkml:trace>
  <inkml:trace contextRef="#ctx0" brushRef="#br0" timeOffset="19065.36">23098 5689 0,'-13'26'15,"13"-13"-15,0 0 0,-13 14 0,13-14 16,-14 27-16,1-14 15,0 14-15,13-14 0,-13 1 16,13-14-16,0 0 0,-13 1 0,13-1 16,0 0-16,0 0 0,0 0 15</inkml:trace>
  <inkml:trace contextRef="#ctx0" brushRef="#br0" timeOffset="19311.43">23270 5741 0,'0'0'0,"0"-13"0,-26 26 16,26 1 0,-27 12-16,27-13 15,-13 1-15,13-1 16,0 0-16,0 14 0,0-14 15,0 0-15,0 0 16,13 0-16,-13 1 16,13-14-16,-13 13 15</inkml:trace>
  <inkml:trace contextRef="#ctx0" brushRef="#br0" timeOffset="19679.62">23482 5781 0,'-27'13'31,"14"-13"-31,0 67 15,13-54-15,0 0 0,0 0 16,13-13-16,0 0 16,14 0-16,-14 0 15,0 0-15,0-13 0,1 0 16,-1 0-16,-13-1 0,13 14 16,-13-13-16,0 0 0,0 0 0,0-1 15,0-12 1,-13 26-16,13-13 0,-13 13 15,13-14-15,-14 14 0,-12 0 0,13 14 16,0-14-16,-1 0 16,1 13-16,0 0 0</inkml:trace>
  <inkml:trace contextRef="#ctx0" brushRef="#br0" timeOffset="20443.4">23270 5913 0,'13'14'16,"1"-1"-16,-1-26 15,0 13 1,0-14-16,14-12 16,-14 13-1,-13 0-15,0-1 0,13-12 16,-13 13-1,0-1-15,0-12 16,0 13-16,-13 13 16,-14 0-1</inkml:trace>
  <inkml:trace contextRef="#ctx0" brushRef="#br0" timeOffset="20936.16">21762 6482 0,'238'-53'0,"-172"53"16,14-13-16,12 0 0,1 0 0,26-14 16,13 14-16,-13 0 0,146 0 15,-133-1-15,-26 14 0,13-13 0,-13 13 16,0 0-16,-14 0 0,1 0 16,-1-13-16,-12 13 0,26 0 15,-53 0-15,-14 0 0,-12 0 16,-1-13-16,1 13 0,-1 0 15,-13 0-15,1 0 0,-1 0 0,-13-14 16,-13 14 0,-27 0-1,-39 0-15</inkml:trace>
  <inkml:trace contextRef="#ctx0" brushRef="#br0" timeOffset="21544.62">22595 6588 0,'14'0'15,"-28"27"1,14-14 0,-13 0-16,13 0 0,0 14 15,-26 12 1,26-25-16,-14 12 15,14-13-15,-13 1 0,13-1 0,0 0 16,-13-13-16,13 13 0</inkml:trace>
  <inkml:trace contextRef="#ctx0" brushRef="#br0" timeOffset="21922.37">22860 6668 0,'-13'-14'16,"-27"28"0,27-14-16,0 13 0,-1-13 15,1 0-15,0 13 0,0-13 16,13 13-16,-14-13 0,28 13 15,-1 1 1,-13-1-16,26 0 16,-12 0-16,-1-13 15,-13 14-15,13-14 0,-13 13 16,13-13-16,-13 13 0,0 0 16,0 0-16,0 1 15,-13-14-15,0 13 0,-14 0 16,14 0-16,0-13 0,-14 14 15,1-14 1,13 0-16,0 0 16</inkml:trace>
  <inkml:trace contextRef="#ctx0" brushRef="#br0" timeOffset="22199.7">23297 6509 0,'-27'39'16,"1"-12"-16,-14 26 16,27-13-16,-27-1 0,-13 27 15,27-26-15,-1 0 0,-12-1 16,12 1-16,1-13 0,-14 39 15,13-40-15,1 27 0,13-40 16,0 1-16,-1-1 16,1 0-16,13 0 0,-13 0 0,0 1 15</inkml:trace>
  <inkml:trace contextRef="#ctx0" brushRef="#br0" timeOffset="22892.75">23178 7078 0,'13'39'32,"-13"-25"-32,13-1 0,-13 0 15,13 0-15,-13 0 0,13 1 16,1-1-16,-14 0 15,13-13-15,0 13 0,0-13 0,1 0 0,-1 0 16,0 0 0,0-13-16,-13 0 15,13 0-15,-13-1 0,-13-12 16,13 13-16,0 0 0,0-14 0,0 14 16,0-14-16,0 14 0,0 0 15,0-14-15,0 1 0,13 13 16,-13 0-16,14-1 0,-1 1 15,0 13-15,0-13 0,1 0 16,12 13-16,-13-14 0,14 14 0,-1 0 16,1-13-16,-1 13 0,1 0 15,-1-13-15,1 13 0,-14 0 0,13 0 16,1 0-16,-14 0 0,0 0 0,0 0 16,1 0-16,-1-13 0,0 13 15,0 13-15,0-13 0,1 0 16,-14 13-1</inkml:trace>
  <inkml:trace contextRef="#ctx0" brushRef="#br0" timeOffset="23419.46">23521 7091 0,'40'-27'0,"-27"14"16,27 13 0,-13 13-16,-14 1 15,0-14-15,-13 13 16,0 0-16,13-13 0,-13 13 16,0 1-16,0 12 0,0-13 15,-13-13-15,13 13 0,0 1 16,0-1-16,0 0 0,-13-13 0,13 13 15,0 1-15,0-1 0,0 0 16,0 0 0</inkml:trace>
  <inkml:trace contextRef="#ctx0" brushRef="#br0" timeOffset="23621.5">23495 7236 0,'13'-13'0,"0"0"15,40 0 1,-39 13 0,-1 0-16,0 0 0,14 0 0,-14 0 15,0 0-15,13 0 16,-12-14-16</inkml:trace>
  <inkml:trace contextRef="#ctx0" brushRef="#br0" timeOffset="23928.37">23958 7117 0,'-40'0'0,"27"14"16,13-1-16,0 0 16,0 0-16,0 0 15,13-13-15,1 27 0,-1-14 16,-13 0-16,0 1 16,0-1-16,0 0 15,-13 0 1,-1-13-16,1 13 15,0-13-15,0 0 0,-1 0 16,-12-13-16,13 13 0,-27-13 16,27 0-1,-14 13-15</inkml:trace>
  <inkml:trace contextRef="#ctx0" brushRef="#br0" timeOffset="24698.97">21061 6403 0,'53'-13'16,"-40"13"-16,0 0 0,0 0 0,1 0 15,-1 0-15,0 0 0,-13 13 16,13-13-16</inkml:trace>
  <inkml:trace contextRef="#ctx0" brushRef="#br0" timeOffset="24835.39">21114 6535 0,'26'-13'31,"-13"13"-15,14 0-16,-1 0 0,1 0 0,-14 0 16</inkml:trace>
  <inkml:trace contextRef="#ctx0" brushRef="#br0" timeOffset="25356.64">22357 7845 0,'14'-13'0,"-1"13"15,13 0-15,-13 0 0,1 0 0,12-14 16,1 14-16,-14 0 0,0 0 0,13 0 16,-12 0-16,-1 0 0,0 14 15,0-14-15</inkml:trace>
  <inkml:trace contextRef="#ctx0" brushRef="#br0" timeOffset="25524.13">22437 7990 0,'39'0'15,"-25"0"-15,12 0 16,0 0-16,-12 0 0,-1 0 0,13 0 15,-12-13-15,25 13 16,-12 0-16</inkml:trace>
  <inkml:trace contextRef="#ctx0" brushRef="#br0" timeOffset="32977.46">19024 11880 0,'-14'26'47,"28"-13"-47,-14 1 0,0 25 15,0-25 1,0-1-16,0 0 0,0 14 16,0-14-16,0 13 0,0 1 0,0-14 15,0 0-15,0 14 0,0-14 0,-14 13 16,14 1-16,0-14 16,0 0-16,0 0 0,0 1 15,0-1-15,0-40 47,0 14-31,0-26-16,0 25 15,0 1-15,0 0 0,0-14 16,0 14-16,0 0 0,14 0 0,-14-1 16,0 1-16,0 0 15,0 0-15,0 0 31,13 39-15,-13-13 0,0 0-16,0 14 0,13-14 0,-13 0 15,0 14-15,0-1 0,0-12 0,0 12 16,0-13-16,0 14 0,0 12 16,0-25-16,0-1 15,0 0-15,0 0 0,0 0 16,0 1-16,-13-14 15,13-27 17,0 14-32,0 0 15,-13 0-15,13-1 0,0 1 0,0 0 0,-14 0 16,14-1-16,-13 1 16,13 0-16,0 0 15</inkml:trace>
  <inkml:trace contextRef="#ctx0" brushRef="#br0" timeOffset="33652.53">18600 11364 0,'13'13'31,"-13"14"-15,0-14-16,0 0 0,14 40 16,-14-13-1,0-27-15,0 0 0,0 0 16,0 14-16,0-14 15,0 0-15</inkml:trace>
  <inkml:trace contextRef="#ctx0" brushRef="#br0" timeOffset="33849.51">18719 11483 0,'0'-13'15,"0"-1"-15</inkml:trace>
  <inkml:trace contextRef="#ctx0" brushRef="#br0" timeOffset="34388.12">18957 11284 0,'-39'0'16,"25"0"-16,1 14 0,0-1 15,-13 0 1,12 0-16,1 1 0,13-1 15,-13-13-15,13 13 0,-13 0 16,26-13 0,0 0-1,0-13 1,1 13-16,-1-13 0,0 0 16,0-1-16,0 14 15,-13-13-15,14 13 16,-1 13-16,-13 1 15,13-14 1,-13 13-16,0 0 0,0 0 0,0 14 16,0-1-16,0-13 0,0 1 15,0-1-15,0 13 0,0-12 0,0-1 16,0 0-16,0 0 0,0 14 16,0-14-16,0 0 31,13 0-16</inkml:trace>
  <inkml:trace contextRef="#ctx0" brushRef="#br0" timeOffset="34812.86">19248 11218 0,'0'-13'16,"-13"13"-16,0 0 0,0 13 16,-14 1-1,14 12-15,0-13 0,-14 53 16,14-26-1,0-27-15,13 14 0,0-14 16,0 0-16,0 0 0,0 1 16,13-1-16,-13 0 0,13 0 0,1 1 15,-1-14-15,0 13 16,0-13-16,1-13 0,-1 13 16,-13-14-16,13 14 0,-13-13 15,0 0 1,0 0-16,-13-1 0,0 14 15,-1 0-15,1 0 16,0 0-16,0 0 16,-1 14-16,1-14 0,0 13 0,0 0 15,-14 0-15</inkml:trace>
  <inkml:trace contextRef="#ctx0" brushRef="#br0" timeOffset="36239.41">13560 11602 0,'0'13'15,"13"0"-15,-13 14 16,0-14-16,13 40 0,-13 0 16,0-27-16,14 1 15,-14-1-15,0 1 0,0 12 16,0 1-16,0-27 15,0 27-15,0-27 16,0 1-16,0-1 0,13-66 63,-13 40-63,0-14 0,0-13 15,-13 27-15,13-13 0,13 13 16,-13-1-16,0 1 15,0 0-15,0 0 0,-13 52 32,13-25-32,0-1 15,0 0-15,0 0 0,0 27 0,0-27 16,0 14-16,0-14 16,-14 0-16,14 0 0,0 1 15,0-1-15,0 0 16</inkml:trace>
  <inkml:trace contextRef="#ctx0" brushRef="#br0" timeOffset="36756.58">13229 11284 0,'27'-13'0,"-14"13"16,13-13-16,-12 13 16,12-13-16,-13 13 0,27-13 15,-14-1 1,-12 1-16,-1 13 0,0 0 0,0-13 15</inkml:trace>
  <inkml:trace contextRef="#ctx0" brushRef="#br0" timeOffset="36981.83">13560 11033 0,'0'13'31,"13"1"-15,-13 12-16,0 14 16,0-14-16,0 1 15,0-14-15,0 0 0,0 14 16,-13-14-16,13 0 16,0 0-16,13 0 15</inkml:trace>
  <inkml:trace contextRef="#ctx0" brushRef="#br0" timeOffset="37175.66">13679 11126 0,'0'-14'15,"0"1"1</inkml:trace>
  <inkml:trace contextRef="#ctx0" brushRef="#br0" timeOffset="37572.44">13838 10941 0,'-53'13'16,"26"0"-16,14 13 15,0-12-15,0-1 16,26 0 15,27-26-15,-40 0-1,13 13-15,0-14 16,0 28 15,0-1-31,-13 40 16,0-40-16,0 13 15,0-12-15,0-1 16,0 0-16,0 0 0,0 14 16,0-14-16,0 0 0,14 1 15</inkml:trace>
  <inkml:trace contextRef="#ctx0" brushRef="#br0" timeOffset="37897.42">14049 10835 0,'-53'53'15,"40"-14"-15,0-12 16,13-14-16,-13 27 15,13-27-15,0 0 0,13 14 16,-13-14-16,13 0 0,0 0 16,1 0-1,-1-13-15,0-13 16,0 13 0,-13-13-16,0 0 15,-13 13 1,0 13-1,0-13-15,-1 13 0,1-13 16</inkml:trace>
  <inkml:trace contextRef="#ctx0" brushRef="#br0" timeOffset="38169.53">13441 11456 0,'145'-79'15,"-105"66"1,0 0-16,-14-1 0,14 1 0,39 0 16,-13-14-16,1 1 15,-41 26-15,0-13 16,1 0-1,-14 13-15,0 0 0,1 0 16</inkml:trace>
  <inkml:trace contextRef="#ctx0" brushRef="#br0" timeOffset="38452.53">13600 11496 0,'79'-40'31,"-53"40"-31,54-26 16,-14 0-16,-26 12 16,-1 1-16,1 0 0,13 0 15,0-1-15,13-12 16,-53 26-1,0-13-15,1 13 16,-1-14 0,0 14-16</inkml:trace>
  <inkml:trace contextRef="#ctx0" brushRef="#br0" timeOffset="58217.59">23495 7885 0,'-13'0'15,"0"13"-15,-14 0 16,14 0-16,-53 27 16,26-14-1,27-12-15,0-14 0,-1 26 16,1-26-16,13 13 16,-13-13-16,13 14 0,0-1 15,13 0-15,0-13 16,1 0-16,-1 13 15,13-13-15,-13 0 0,14 0 0,-1 0 16,-12 0-16,12 0 0,1-13 0,-14 13 16,26 0-16,-12 0 15,-14-13-15,0 13 0,1 0 0,-1 0 16,-13-13-16,13 13 16</inkml:trace>
  <inkml:trace contextRef="#ctx0" brushRef="#br0" timeOffset="58431.9">23495 7885 0,'-26'39'16,"12"14"-1,1-26-15,13-1 0,-13 1 16,0 12-16,13-26 0,-14 14 0,14 26 15,-13-27-15,13-12 0,0 12 16,0-13-16,-13 14 0,13-14 16,0 0-16,0 0 0,0 1 0,0-1 15</inkml:trace>
  <inkml:trace contextRef="#ctx0" brushRef="#br0" timeOffset="58729.65">22781 8546 0,'66'-26'15,"-27"12"-15,14 14 0,-13-13 0,26 0 0,0 13 16,1-13-16,12-1 0,0 1 15,80 0-15,-80 0 16,1 0-16,-14 13 0,13-14 0,-13 14 0,-13-13 16,0 13-16,-13 0 15,0-13-15,-27 13 0,13 0 0,-12 0 16,12 0-16,-13 0 0</inkml:trace>
  <inkml:trace contextRef="#ctx0" brushRef="#br0" timeOffset="59213.36">22992 8890 0,'14'0'0,"-14"13"31,0 14-15,-14 12-1,14 1 1,-13-13 0,13-1-1,0-13 17</inkml:trace>
  <inkml:trace contextRef="#ctx0" brushRef="#br0" timeOffset="59543.88">23336 8877 0,'-39'-13'15,"25"13"-15,1 0 0,-13 0 0,12 13 16,-12-13-16,13 0 15,0 13-15,-1-13 0,14 13 16,0 0-16,14 1 16,-1-14-16,-13 13 15,13-13-15,0 13 0,0 14 16,1-14 0,-41 13-1,27-12-15,-13-14 16,0 13-16,-14 0 0,14 0 15,0-13-15,-14 40 16,1-27-16,13 0 16,13 1-16</inkml:trace>
  <inkml:trace contextRef="#ctx0" brushRef="#br0" timeOffset="60152.56">22886 9512 0,'199'-146'0,"-146"107"16,0-1-16,13 0 0,-13 1 15,79-41-15,-66 40 16,0 14-16,-13 0 0,0-1 0,0 1 0,-26 12 16,12 1-16,-12 0 0,12 0 15,-25-1 1,12 1-16,-39 26 31</inkml:trace>
  <inkml:trace contextRef="#ctx0" brushRef="#br0" timeOffset="60789.25">23257 9631 0,'0'26'0,"13"-12"16,-13-1-16,13-13 0,-13 13 15,14-13-15,-1 0 16,-13 13-16,13-13 0,13-13 16,-12 13-1,-14-13-15,13 0 0,-13-1 16,0 1-16,0 0 0,0 0 0,13-1 16,-13 1-16,-13 0 0,13-14 15,0 14-15,0 0 16,0 0-16,13 0 15,-13-1-15,13 14 16,-13-13-16,14 13 0,-1-13 0,0 13 16,14-13-16,-1-1 0,0 1 15,1 13-15,39-26 16,-26 12-16,-1 14 0,-12-13 0,52-13 16,-66 26-1,14 0-15,-14-13 0,14 13 16,-14 0-16,0-14 15,-26 28 1</inkml:trace>
  <inkml:trace contextRef="#ctx0" brushRef="#br0" timeOffset="61077.62">23654 9525 0,'26'-13'15,"14"39"1,-27-13-16,-13 1 0,0-1 0,0 0 15,0 14 1,0-1-16,0-13 0,0 1 16,0-1-16,0 0 0,13 0 15,-13 0-15,0 1 0</inkml:trace>
  <inkml:trace contextRef="#ctx0" brushRef="#br0" timeOffset="61279.57">23614 9710 0,'-13'-13'16,"26"0"0,0 13-16,1-13 0,-1 13 15,0 0-15,0-14 0,14 14 0,-14 0 16,0-13-16,14 13 0,-14-13 15,13 13-15,40-27 16,-52 14-16</inkml:trace>
  <inkml:trace contextRef="#ctx0" brushRef="#br0" timeOffset="61493.41">23998 9525 0,'0'0'16,"-27"13"-1,14 0 1,13 1-16,0-1 15,0 13 1,0-12-16,0-1 0,0 0 16,0 0-1,-13 1-15,13-1 16,-13-13-16,-1 13 0,1-13 16,0 13-16,0-13 15,-1 0-15,1 0 16,0 0-16</inkml:trace>
  <inkml:trace contextRef="#ctx0" brushRef="#br0" timeOffset="61994.48">22040 10927 0,'53'-13'0,"-14"0"16,-25 13-16,-1 0 15,0 0-15</inkml:trace>
  <inkml:trace contextRef="#ctx0" brushRef="#br0" timeOffset="62171.36">21987 11073 0,'26'0'16,"-12"0"-1,-1 0-15,0-13 0,13 13 0,1 0 16,-14 0-16,14-14 0,26 1 16</inkml:trace>
  <inkml:trace contextRef="#ctx0" brushRef="#br0" timeOffset="62841.49">23270 10702 0,'0'14'15,"0"-1"1,-26 13-16,12-12 16,1-1-16,0 0 0,0 0 15,0 0-15,-1 1 0,1-1 0,0 0 16,0-13-16,13 13 0,-14 1 0,14-1 16,-13-13-16,26 13 15,1 0-15,-1-13 16,0 0-16,0 0 0,1 14 15,12-14-15,0 0 0,1 0 0,-1 0 16,1 0-16,-1 0 0,14-14 0,-14 14 16,1 0-16,-14 0 0,14-13 15,-14 13-15,13 0 0,1-13 16,-14 0-16</inkml:trace>
  <inkml:trace contextRef="#ctx0" brushRef="#br0" timeOffset="63076.66">23363 10649 0,'-14'80'0,"14"-67"0,0 14 16,0-1-16,0 0 0,0 14 0,0-13 15,0-1-15,0 1 16,-13-1-16,13 14 0,0-14 0,0-13 16,0 1-16,0-1 0,0 0 15,0 0-15,0 14 16</inkml:trace>
  <inkml:trace contextRef="#ctx0" brushRef="#br0" timeOffset="78867.5">23402 10808 0,'0'-26'15,"-13"13"1,0 13-16,0 0 16,-1 0-16,1 13 0,-13-13 15,13 13-15,-1 0 0,1-13 0,0 13 16,0 14 0,13-14-16,13 0 0,0 1 15,0-14-15,1 0 16,12 0-16,-26-14 0,13 14 15,0 0-15,-13-13 0,14 13 0,-14-13 16,0 0-16,-14-1 16,1 14-16,0 0 15,0 0-15,0 0 0,-14 0 16,14 14-16,-14-14 0,14 13 16,0 0-16,0 0 15,0 1-15,-1-1 0,1 0 16,13 0-16</inkml:trace>
  <inkml:trace contextRef="#ctx0" brushRef="#br0" timeOffset="79335.46">22371 11655 0,'92'-40'16,"-79"40"-16,1 0 0,25 13 16,-26-13-1,1 27-15,-28-1 16,-12 14-16,-27 13 16,27-27-16,-1 1 15,1-1-15,13-12 0,-1-1 16,14 0-16,0 0 15,0 0-15,14-13 16,-1 0-16,0 14 0,27-28 16,13 14-16,-40-13 15,13 13-15,-13 0 0,14-13 16,-14 0-16,0 13 0,1-13 0,-1 13 16</inkml:trace>
  <inkml:trace contextRef="#ctx0" brushRef="#br0" timeOffset="79479.92">22754 11800 0,'13'-13'0,"-13"0"0,14 13 32</inkml:trace>
  <inkml:trace contextRef="#ctx0" brushRef="#br0" timeOffset="79769.8">23111 11615 0,'-13'13'31,"0"1"-31,13-1 0,13 0 16,0 0-16,1 1 0,12 12 16,-13-26-16,1 27 15,-14-14-15,13 0 16,-13 0-16,0 0 16,-13 1-16,13-1 0,-14 0 0,1 0 15,0-13-15,0 14 0,-1-1 16,1-13-16,-13 26 0,12-26 15,14 13-15</inkml:trace>
  <inkml:trace contextRef="#ctx0" brushRef="#br0" timeOffset="80197.5">23310 11668 0,'-13'27'16,"26"12"-1,0-39-15,0 14 16,27-14 0,-27 0-16,0 0 15,14-27-15,-14 27 0,0-26 16,-13 12-16,0 1 15,0 0-15,0 0 0,-26-1 16,13 1-16,-1 13 0,1-13 16,-27 13-16,-12 0 15,25 0-15,1 0 0</inkml:trace>
  <inkml:trace contextRef="#ctx0" brushRef="#br0" timeOffset="80504.6">23019 11589 0,'39'26'0,"-78"27"15,-1-13 1</inkml:trace>
  <inkml:trace contextRef="#ctx0" brushRef="#br0" timeOffset="83013.72">19460 12554 0,'13'14'78,"1"-1"-63,-14 0-15,0 27 16,0-27 0,0 0-16,0 1 0,0-1 15,0 0-15,0 0 0,0 14 16,0-14 15,0-40 16,0 1-31,0 13-16,0 0 0,0-14 15,0 14 1,13 39 31,-26 1-32,13-14-15,0 0 0,13 0 16,-13 1-16,0 12 16,0-13-1,0-39 32,0 13-31,0-1-16,0 1 0,0-26 15,0 12 1,0 14-16,0 0 16,0-1-1,0 41 16,0-14-31,0 0 16,0 1-16,0-1 0,0 0 0,0 0 16,0 0-16,0 1 0,0-1 0,13 0 15,-13 0-15,0 1 16,0-1-16,0 0 16,0 0-16,0 1 15,0-54 16,0 13-15,0 14 0,0 0-16,0-14 0,0 1 15,0 13-15,0 0 16,-13 13-16,13-14 0,0 1 16,26 26 15,-13 1-16</inkml:trace>
  <inkml:trace contextRef="#ctx0" brushRef="#br0" timeOffset="83884.67">19487 13137 0,'0'-14'16,"13"14"0,0 0-16,0 0 0,0 14 15,-13-1-15,14 0 16,-28 0 0,14 0-16,0 1 0,-13-1 15,13 0-15,-13 0 16,13 1-16,-13-14 0,13 13 15,-13 0 1,39-13 31,-13 0-31,14-13-1,-14 0 1,0 13-16,0 0 0,-13-14 15</inkml:trace>
  <inkml:trace contextRef="#ctx0" brushRef="#br0" timeOffset="84040.61">19778 13189 0,'-27'-13'0</inkml:trace>
  <inkml:trace contextRef="#ctx0" brushRef="#br0" timeOffset="84484.15">19857 13097 0,'13'-27'15,"0"27"1,1 14-16,-1-1 15,-13 0 1,0 0 0,0 1 15,13-14-15,0 13-16,1-13 31,-14 13-31,13-13 15,-26 13 1,-1 14 0,1-27-16,13 13 0,-13-13 15,0 13 1,-1-13-16</inkml:trace>
  <inkml:trace contextRef="#ctx0" brushRef="#br0" timeOffset="84781.67">20029 13110 0,'0'-13'16,"0"39"0,13-12 15,0-1-16,1-13-15,-1 0 0,0 0 16,0 0-16,1-13 16,-14-14 15,0 14-31,0 0 0,-14-1 16,-25 14 15,25 0-31,-25 27 15,25-14-15,-12-13 16,13 13-16</inkml:trace>
  <inkml:trace contextRef="#ctx0" brushRef="#br0" timeOffset="85038.21">19460 13428 0,'93'-27'15,"-1"14"1,-52 0-16,0-1 0,-1 14 16,1-13-16,13 0 0,-27 13 15,1-13-15,-1 13 0,1-13 16,-14 13-16,13 0 15,-12 0-15,-14 13 16</inkml:trace>
  <inkml:trace contextRef="#ctx0" brushRef="#br0" timeOffset="85631.88">19513 13520 0,'-26'0'15,"65"-13"1,-26 13-16,40-13 16,66-27-1,-79 40-15,0-13 0,0 0 0,-14 13 16,0-14-16,1 1 0,39 0 16,-53 13-1,0 0-15,27-13 16,-27-1-16,1 14 15,-1 0 1,13-13 15,-12 13-15,-14 13 93,13-13 32,0-13-110</inkml:trace>
  <inkml:trace contextRef="#ctx0" brushRef="#br0" timeOffset="86784.43">16470 12515 0,'0'26'16,"14"-13"-1,-14 27-15,0 0 16,13-27-16,-13 0 0,0 14 15,0-14-15,13 53 16,-13-53-16</inkml:trace>
  <inkml:trace contextRef="#ctx0" brushRef="#br0" timeOffset="87276.77">16510 13031 0,'-26'13'0,"26"0"0,0 14 16,0-14-16,13 0 0,-13 0 15,13-13-15,0 14 0,-13-1 16,27-13-16,-14 0 0,0 13 0,0-13 15,1 0-15,-1-13 0,0 13 0,0 0 16,1 0-16,-1-13 0,0-1 16,0 1-16,-13 0 15,0 0-15,0-1 16,-13 1-16,0 13 0,-27-26 16,27 13-16,-14 13 15,1 0-15,13-14 16,-1 28-16,14-28 0,-13 28 15,0-14-15</inkml:trace>
  <inkml:trace contextRef="#ctx0" brushRef="#br0" timeOffset="87840.65">17436 12568 0,'0'26'31,"0"-13"-31,0 1 0,0-1 16,0 27-16,0-27 0,13 26 15,-13-25-15,-13 12 16,13-13-16,13 14 0,-13-14 16,0 0-16</inkml:trace>
  <inkml:trace contextRef="#ctx0" brushRef="#br0" timeOffset="88054.5">17555 13018 0,'-13'66'15,"0"-53"1,13 0-16,0 0 0,0 1 0,0-1 16,0 0-16,13 0 0</inkml:trace>
  <inkml:trace contextRef="#ctx0" brushRef="#br0" timeOffset="93216.48">22873 11523 0,'0'-14'0,"13"1"15,1 0-15,-1 13 16,0 0-16,-13-13 0,13 13 0,1 0 16,25 0-16,-25 0 15,-1 0-15,13 0 16,-13 13-16,1 0 0,-14 0 16,0 1-1,0-1-15,-14 0 0,1 0 16,-26 14-1,25-14-15,1-13 0,0 13 16,0-13-16,-1 13 0,1 1 31,0-14-31,26 0 32,14 0-17,-14 0-15,0 0 16,0 13-16,1-13 0,-1 0 0,0 13 15,0-13-15,0 13 16,1 1-16,-1-1 16,-13 0-1,0 0-15,-13 1 0,13-1 16,-14 0 0</inkml:trace>
  <inkml:trace contextRef="#ctx0" brushRef="#br0" timeOffset="95396.69">18693 11708 0,'0'13'15,"26"-13"1,1-13-16,-14 13 0,13-13 0,14 13 16,0-14-16,-1 1 0,14 13 0,-13-13 15,13 0-15,-13 13 0,92-40 16,-92 40 0,-1-13-16,1 0 0,0-1 0,-14 1 15,1 13-15,-1-13 0,1 0 0,-1 13 16,-13-14-16,27 1 0,-14 0 15,-12 0-15,-1-1 16,0 1-16,0-13 0,1 13 16,-1-1-16,-13 1 0,0 0 0,13-14 15,-13 14-15,0-27 16,0 27-16,0 0 0,0-13 0,-13 12 16,13-12-16,0 13 0,-13-1 0,-1 1 15,14-13-15,-13 12 16,-13-25-16,12 26 0,1-1 0,0 1 15,0 0-15,-1 0 0,1-1 0,0 1 16,-13 0-16,12 0 16,1 0-16,0-1 0,-14 1 0,14 13 15,-13-13-15,13 13 0,-14-13 0,1 13 16,-1-14-16,1 14 0,-1 0 16,-26 0-16,14 0 0,12 0 15,1 0-15,-14 0 0,14 0 16,-1 14-16,-13-14 0,14 0 0,-1 13 15,1-13-15,-27 13 0,27 0 16,12-13-16,-12 14 0,-1-14 16,1 13-16,13 0 0,-14 0 0,14 0 15,-13 1-15,12-14 0,-25 26 16,12-13-16,14 1 0,-13 12 0,-1-13 16,1 14-16,-1-14 0,-12 27 15,25-27-15,1 0 0,0 0 16,-14 1-16,14 12 0,0-13 15,0 0-15,-1 1 0,14-1 0,-13 0 16,0 14-16,13-14 0,0 0 0,-13 0 16,13 14-16,0-14 15,0 0-15,0 0 0,0 14 0,0-14 16,0 0-16,13 1 0,-13-1 16,13 13-16,0-12 15,-13-1-15,14 0 0,-1 0 0,0 0 0,0 1 16,1-14-16,12 13 0,-13 0 15,14 0-15,-14-13 0,13 14 16,-12-14-16,12 0 0,1 0 0,-14 13 16,13-13-16,-12 0 0,12 0 15,-13 0-15,14 0 0,-1 0 16,-13 0-16,1 0 0,-1 0 0,0 0 16,0 0-16,0 0 0,1 0 15,-1 0 1,0 0-16,0 0 0,1 0 15,-1 0 1,0 0 0,0 0 15,1 0-15,-1 0 62</inkml:trace>
  <inkml:trace contextRef="#ctx0" brushRef="#br0" timeOffset="98511.75">19063 12250 0,'0'-13'62,"0"-13"-46,0 12-16,0 1 15,0-13 1,-13 12-16,13 1 0,0 0 0,0 0 0,0-1 16,0 1-16,0 0 0,0 0 0,0 0 15,0-1 1,0 1-16,0 0 15,0 53 17,0-27-32,0 40 15,0 26 1,0-52-16,0 39 16,0-53-16,0 0 15,0 0-15,0 1 0,0-1 16,0 0-16,0 0 0,0 0 15,0-39 17,0 13-32,0 0 0,0-1 15,0-39-15,-13 1 16,13 38-16,0-12 0,0-1 16,-13 14-16,13 0 0,0 0 0,0-14 15,0 14-15,0 53 31,0-27-15,0 13-16,0 27 16,0-26-16,0-1 0,0 1 0,0 26 15,0-14-15,0-12 16,0-14-16,0 27 16,0-27-16,0 0 0,0 0 15,0 1 1,0-41 31,0 14-32,0-14 1,0 1 0,0 13-16,0-1 15,0 1-15,0 0 16,0 0-1,0 0 17,0-1-17,0 1 157,0 0-156,0 0-1</inkml:trace>
  <inkml:trace contextRef="#ctx0" brushRef="#br0" timeOffset="103011.99">22622 12171 0,'66'0'0,"-40"0"15,1 0-15,-1 0 0,1 13 0,52-13 16,27 0-16,-53 0 16,0 0-16,0 0 0,0-13 15,26 13-15,-13-13 0,0-1 0,1 14 16,-1-13-16,0 0 0,-26 0 0,12-1 15,1 1-15,-13 0 0,0 0 16,-1 13-16,1-13 0,0-1 0,-14 1 16,1 0-16,-14 13 0,13-13 15,-12-1-15,12 14 0,-13-13 0,1 0 16,-1 0-16,0-1 0,-13 1 0,13 0 16,0 0-16,-13 0 15,0-1-15,0-12 0,0 13 0,0-14 0,-13 1 16,13-1-16,0 14 0,-13-13 15,0-1-15,0 1 0,-1-1 0,1 1 16,0 13-16,0-14 0,-1 14 16,1-14-16,-40-12 0,27 25 0,-1-12 15,1 13-15,-40-14 16,26 14-16,14-13 0,-14 12 16,0 1-16,-26 0 0,40 0 15,-14-1-15,-13 1 16,27 13-16,-1-13 0,-39 0 15,26 13-15,14-13 0,-1 13 16,-12 0-16,12-14 0,-12 14 0,-67 0 16,79 0-1,-12 0-15,12 0 0,1 0 0,-14 0 16,13 0-16,1 0 0,-14 0 0,14 0 16,-54 14-16,54-14 15,-14 13-15,1-13 0,12 13 0,1-13 16,-1 13-16,1 0 0,-1-13 15,1 14-15,-14-1 0,14 0 0,13 0 16,-14-13-16,1 14 0,12-1 16,-12 0-16,13 14 0,-1-14 0,1 0 15,0 13-15,0 1 0,-14 13 16,27-14-16,-13-13 16,0 40-16,0-26 0,13 26 15,-14-27-15,14 1 0,-13 12 0,13-12 16,0-1-16,0 1 0,0 12 15,0-12-15,0-1 16,0 1-16,0-14 0,13 13 0,-13-12 16,14 12-16,-1-13 15,0 0-15,27 27 0,-14-27 0,1 1 16,12-14-16,1 13 0,0-13 0,-1 0 16,14 0-16,-13-13 0,13 13 15,0-14-15,26 1 0,-39 0 16,-14 13-16,-12-13 0,-1 13 15</inkml:trace>
  <inkml:trace contextRef="#ctx0" brushRef="#br0" timeOffset="105263.85">12912 12594 0,'-14'66'15,"14"-39"-15,0-14 16,0 0-1,0 0-15,0 1 0,14-1 16,-14-40 15,0 14-31,0 0 16,13 0-16,-13-27 16,0 27-1,-13 0 1,13 52 15,0-12-15,0-14-16,0 0 0,-14 0 0,14 1 15,0-1-15,0 0 0,0 0 16,0-39 15,0 13-15,0-1-1</inkml:trace>
</inkml:ink>
</file>

<file path=ppt/ink/ink20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4:57:44.812"/>
    </inkml:context>
    <inkml:brush xml:id="br0">
      <inkml:brushProperty name="width" value="0.05292" units="cm"/>
      <inkml:brushProperty name="height" value="0.05292" units="cm"/>
      <inkml:brushProperty name="color" value="#0070C0"/>
    </inkml:brush>
  </inkml:definitions>
  <inkml:trace contextRef="#ctx0" brushRef="#br0">1124 2143 0,'80'-13'0,"-40"0"0,-1-1 0,27 1 16,146-26 0,-133 25-16,14 1 0,13-13 15,13-1-15,0 14 0,0-14 0,0 1 0,0 0 16,0 12-16,119-25 15,-145 25-15,26 1 0,-40-13 16,14 26-16,0-14 0,-14 1 0,0 13 16,-13-13-16,1 13 0,12-13 15,-39 13-15,-14 0 0,1 13 16,-14-13-16,13 0 0,-12 0 0,-1 0 16,0 0-16,0 13 0,0 0 15,-13 1-15,14-1 0,-14 0 16,13 0-16,-13 14 0,13-1 0,-13-12 15,13 25-15,1 1 0,-14 0 0,26 79 16,1-66 0,-14 13-16,0-13 0,0 13 15,27 66-15,-14-66 0,1 0 0,-14 1 16,14-1-16,-1 13 0,0-13 16,-12 0-16,12 0 0,1 1 15,-1-14-15,-13 13 0,0 0 0,14-13 16,-14 0-16,14 92 15,-27-105-15,13 0 0,-13-1 16,0 1-16,0-14 0,0 1 0,0-1 16,-13 14-16,-1-14 0,1 27 15,0-26-15,0-14 0,-14 14 16,1-1-16,13-13 0,-14 0 16,-39 14-16,26-14 0,1 0 0,-41 14 15,27-27 1,14 13-16,-28-13 0,-65 13 15,53 1-15,-1-14 0,1 0 0,0 13 16,-14-13-16,0 0 0,1 0 16,-1 0-16,-13 0 0,14 13 0,-1-13 15,1 0-15,-14 0 0,13 0 0,-13 0 16,14 0-16,-1 13 0,-198-13 16,198 13-1,-12-13-15,12 0 0,0 14 0,1-14 0,-1 13 16,1-13-16,-80 13 0,92 0 15,1-13-15,0 0 16,12 0-16,14 14 0,-13-14 0,-26 0 16,52 0-16,0 0 0,-13-14 15,27 14-15,0 0 16,-1 0-16,14 0 0,-27 0 16,27 0-16,0-13 0,-1 13 15,1-13-15,0 0 16,0-1-16,13 1 0,0 0 15,-13-13-15,13-14 0,-14 0 0,14 0 0,-13-26 16,0 0-16,13 0 0,-13-13 0,-1-1 16,1 1-16,0-1 15,13 1-15,-13 0 0,-1-1 0,14 1 16,-13 0-16,13-1 0,-13 14 16,13 0-16,0 0 0,0 0 0</inkml:trace>
  <inkml:trace contextRef="#ctx0" brushRef="#br0" timeOffset="1157.5">15743 3492 0,'92'-13'0,"-52"13"16,13 0-16,0-13 0,0 13 15,66-13-15,-40 13 16,-13 0-16,-13 0 0,0-13 0,0 13 16,0 0-16,-13 0 0,-14-14 0,1 14 15,-1 14-15,14-14 16</inkml:trace>
  <inkml:trace contextRef="#ctx0" brushRef="#br0" timeOffset="1338.71">15981 3559 0,'-40'0'0,"67"0"16,26 0-16,-14 0 0,14 13 0,0-13 0,13 0 15,-13 0-15,66 0 16,-66 0-16,0 13 0,0-13 16,-13 0-16,13 13 0,-27-13 0,0 0 15</inkml:trace>
  <inkml:trace contextRef="#ctx0" brushRef="#br0" timeOffset="2226.08">18600 4485 0,'-26'53'0,"26"-27"16,0-13-16,0 14 0,0-1 0,0 1 15,0-1-15,0 1 0,0-14 16,0 13-16,0 1 0,0-14 0,0 27 16,0-27-16,0 13 0,0-12 15,0-1-15</inkml:trace>
  <inkml:trace contextRef="#ctx0" brushRef="#br0" timeOffset="2401.94">18759 4842 0,'0'-13'0,"0"-1"0,0 1 15,0 0 1,13 0 15,0 13-15</inkml:trace>
  <inkml:trace contextRef="#ctx0" brushRef="#br0" timeOffset="2817.9">19275 4458 0,'-119'-26'0,"92"39"16,-39 0-16,40 0 16,-40 27-16,39-27 15,14 1-15,0 12 0,-1-13 0,1 14 16,13-14-16,13 0 16,1-13-16,-1 13 15,27-13-15,-1-13 16,-12 0-16,-14 13 0,13-13 0,1 0 15,-1-1 1,-12 14-16,-1-13 0,0 13 16,0 0-16,-13 13 15,14-13-15,-14 14 0,13-1 0,-13 0 16,0 13-16,0-12 0,13 12 16,-13-13-16,0 27 0,0-14 15,0-12-15,0-1 16,0 13-16,0-12 0,0-1 15,0 0-15,0 0 16,13-13-16</inkml:trace>
  <inkml:trace contextRef="#ctx0" brushRef="#br0" timeOffset="3137.5">19592 4458 0,'-66'53'15,"40"-13"-15,13 13 16,13-40-16,0 13 0,0-12 16,13 25-16,0-25 0,13-1 15,14 0 1,-27 0-16,1-26 0,-1 13 15,0 0-15,0-13 16,-13 0-16,0-1 16,-13 14-16,13-13 0,-13 13 15,0-13-15,-14 13 0,-13 0 16,1 13-16,26 0 16,-14-13-16,-13 27 15,14-14-15</inkml:trace>
  <inkml:trace contextRef="#ctx0" brushRef="#br0" timeOffset="3874.95">18018 7686 0,'-13'265'15,"13"-173"-15,0 27 0,0 0 16,0 14-16,13-1 0,-13 0 0,13 14 16,-13-1-16,14 318 15,-14-304-15,0 0 0,0 0 0,13-14 16,-13-13-16,0 14 15,0-27-15,0 0 0,13-40 0,-13 14 16,0-14-16,0-12 0,0 12 0,0-26 16,0-13-16,0-1 0,0 1 15,0-14-15,-13 1 0,13-14 16,-13 0-16</inkml:trace>
  <inkml:trace contextRef="#ctx0" brushRef="#br0" timeOffset="4336.56">16047 10954 0,'238'-27'15,"-159"14"-15,305-13 0,-265 12 0,13 1 16,14 0-16,-14 0 0,27-1 15,159-12-15,-146 13 0,13 13 16,0-13-16,13 13 0,1-14 16,12 14-16,67 0 0,-66 0 15,66 0-15,-53 0 0,277-13 0,-224 26 16,212-13-16,-67 0 16,-145 0-16,-67 0 0,1 0 15,185-13-15,-199 13 16,160 0-16,-186-13 0,-14 13 15,-25 0-15,-28 0 0,81-13 16,-107-1-16,-13 14 0,-26 0 16,39-13-16,-65 13 0,-1-13 15</inkml:trace>
  <inkml:trace contextRef="#ctx0" brushRef="#br0" timeOffset="7097.3">18164 10610 0,'13'0'32,"0"0"-17,14 0 1,-14 0-16,0 0 0,27 0 16,-27 0-16,40-13 15,39-1 1,-65 14-16,-1-13 0,1 13 0,26-13 15,-27 0-15,1 13 0,-1-14 16,1 1-16,-1 13 0,0-13 16,1 0-16,26-14 15,-27 14-15,14 0 0,-27 0 0,14-1 16,-14 1-16,27-13 16,-14 12-16,-13 1 0,27-13 15,-27 13-15,27-27 16,-27 27-16,0-1 0,1 1 15,12-13-15,-13 12 0,1 1 16,-1 0-16,0 0 0,0 0 16,14-27-16,-1 13 15,-26 1-15,13 13 0,14-27 16,-14 27-16,0-27 16,1 14-16,-1 12 0,0-25 15,13 12-15,-12 1 16,-14 13-16,13-1 0,0 1 0,-13-13 15,13 12-15,1-25 16,-1 12-16,0 14 0,0-27 16,14-26-16,-14 53 15,0-13-15,-13 12 0,27-25 16,-27 25-16,13-12 0,-13 13 16,13-1-16,-13-12 0,13 13 15,-13 0-15,14-1 0,-14-12 0,13 13 16,-13-1-16,0 1 0,13-13 0,0 13 15,0-27-15,-13 13 16,14 14-16,-1-27 16,0 1-16,0 26 15,1-1-15,-14-12 0,13 13 0,0-1 16,-13-12-16,27-14 0,-14 27 16,-13 0-16,13 0 0,0-14 0,0 14 15,1 0-15,-1-27 0,0 27 16,-13-1-16,13 1 0,1 0 15,-14 0-15,13-14 0,0 14 16,0 0-16,0 0 0,1-1 16,12-25-1,-13 25-15,1-12 0,-1 26 16,0-13-16,0 0 0,1-1 16,-1 1-16,0 0 0,13 0 15,14-14-15,0 1 16,-27 13-16,14 13 15,-14-14-15,13 1 0,14 0 16,13-14-16,-13 14 16,-27 13-16,13-13 0,1 13 15,-14-13-15,13 13 0,-12 0 16,-1 0-16,13-14 0,-12 14 16,-1 0-16,13 0 0,-13 0 0,1-13 15,12 13-15,1 0 16,-1 0-16,-13 0 0,0 0 0,14 0 15,-14 0-15,0 0 0,1 0 0,12 0 16,-13 13-16,1-13 0,-1 0 16,13 14-16,-13-14 0,14 13 15,-14 0-15,0-13 0,1 13 16,-1 1-16,0-14 0,0 13 16,14 13-16,-14-12 0,0-1 15,0-13-15,14 26 0,-14-13 16,0 1-16,1-1 0,-1 0 0,0 0 15,0 1-15,0 12 0,1-13 16,12 14-16,-13-14 0,1 0 16,-1 14-16,0-14 0,14 13 15,-14 1-15,0-14 0,13 13 16,-12 1-16,-1-14 0,-13 0 16,13 1-16,0-1 0,1 13 15,-1-12-15,0-1 0,0 0 0,14 27 16,-14-27-16,0 13 0,27 27 15,-27-39-15,0-1 16,14 26 0,13-12-16,-27-1 0,0-12 15,27 12-15,-14 14 16,-13-27-16,14 0 0,26 27 16,-40-27-16,13 14 15,1 12-15,-27-26 16,13 1-16,0-1 0,1 0 15,-1 27-15,13-14 16,1 1-16,-14 12 16,0-25-16,0-1 15,1 0-15,12 27 0,-13-27 0,1 0 16,-1 1-16,0-1 0,0 0 16,14 13-16,-14-12 0,13 12 15,-12-13-15,39 27 16,-14-14-1,-12-12-15,-1-1 16,-13 0-16,14 0 0,12 14 16,1-1-16,0 1 15,13-14-15,0 27 16,13-14-16,-40-13 16,40 14-16,-26-14 15,-13 0-15,52 14 0,-53-14 16,41 13-16,12-12 15,-13 12-15,0 1 16,-26-14-16,26 13 16,53 14-16,-79-27 15,26 0-15,13 14 16,-39-27-16,39 26 16,-26-26-16,0 14 15,-26-14-15,-14 0 0,27 0 16,-27 0-16,0 0 15,14-14-15,-14 1 16,-13 0-16,-27 0 16,-26-14-1,14 14-15,-14 0 0,-13 0 0</inkml:trace>
  <inkml:trace contextRef="#ctx0" brushRef="#br0" timeOffset="7749.17">20942 10716 0,'13'53'16,"0"-40"-16,-13 0 0,0 40 16,0 13-16,0-26 15,-13 13-15,13-27 0,0 40 16,0-39-16,0-1 16,13 1-16,-13-14 0</inkml:trace>
  <inkml:trace contextRef="#ctx0" brushRef="#br0" timeOffset="8354.37">22754 10147 0,'27'79'16,"-27"-52"-16,0-1 0,0 80 15,0-66 1,0-1-16,0 14 0,-14-13 0,14 39 15,-13-26-15,0 0 16,13-40-16,0 14 16,0-14-16,0 0 0,0 0 0,0 1 15,0-1 1</inkml:trace>
  <inkml:trace contextRef="#ctx0" brushRef="#br0" timeOffset="9029.78">23257 10253 0,'-53'26'15,"40"1"-15,0-14 0,-14 13 0,14 1 16,-14-14-16,14 27 16,0-27-16,13 0 0,-13 0 0,13 1 0,0-1 15,0 0-15,13-13 16,-13 13-16,13-13 0,0 0 16,14-13-16,-14 13 0,0-13 15,14 0-15,-1-14 0,14-13 16,-27 27-16,14-13 15,-27 12-15,13 1 0,-13 0 16,-27 39 0,14-12-1,-13 12-15,-1-13 0,1 14 0,13-1 16,-1-12-16,1-1 16,0 0-16,13 0 0,0 0 0,0 1 15,0-1-15,13 0 0,0-13 16,1 0-16,25 0 15,-26-13-15,14 13 0,-1-13 16,-12-1-16,12 14 0,0-13 0,-12 13 16,-1-13-16,13 13 15,-12-13-15,-14 26 0,13-13 16,-13 26-16,-13-26 16,13 14-16,0-1 0,0 0 15,-14 0-15,28 1 16,-14-1-16,13 0 0,0-13 0,0 0 15,1 0-15,12 0 16,-13 0-16,14 0 0,-1 13 0,14-13 16,-14 0-16,-12 0 0,12 0 15,0 0-15,-12 0 0,12 0 0,14 0 16,-14 0-16,27-13 16,-26 13-16,-14-13 0,13 13 0,14-13 15,-27 13-15,0-14 16,1 14-16</inkml:trace>
  <inkml:trace contextRef="#ctx0" brushRef="#br0" timeOffset="9604.92">19368 10292 0,'-27'40'16,"27"-14"-16,0-12 15,0 12-15,0 1 0,0-1 0,-13 1 16,13-1-16,0 0 0,-13 1 16,13 13-16,-14-14 0,14 0 15,0-12-15,-13-1 0,0 0 16</inkml:trace>
  <inkml:trace contextRef="#ctx0" brushRef="#br0" timeOffset="10308.99">18693 10491 0,'-40'13'16,"14"0"-16,92-39 0,-198 79 15,118-27-15,1-13 0,-13 1 16,-14 25-16,27-26 16,-1 14-16,14-14 15,14 0-15,12-13 16,14 0-16,0-13 15,-1 0-15,1 0 0,0-14 16,12 1-16,1-1 0,-13 1 0,0 13 16,-1-14-16,-12 14 0,-14 0 0,14 0 15,-14-1 1,0 14-16,-39 27 16,12-14-16,1 0 15,-13 14-15,-1-14 0,14 13 0,0-12 16,-14 12-16,27-13 15,0 0-15,14-13 16,-1 0-16,0 0 0,27-13 16,-14 0-16,1 0 15,-1 0-15,1-1 0,-1 1 0,14 0 16,-27 0-16,0-1 16,-26 41 15,0-14-31,-14 14 0,14-1 15,-13 0-15,12-12 0,-12 12 16,13-26-16,13 13 0,26-26 31,14-27-31,-14 27 0,1-13 16,-1 13-16,-13-1 0,14-12 16,-14 13-16,0 13 15,1-14-15,-14 41 31,-14-14-31,14 0 0,0 1 16</inkml:trace>
  <inkml:trace contextRef="#ctx0" brushRef="#br0" timeOffset="11720.52">19434 10755 0,'13'53'16,"-13"-40"-16,0 40 0,13-26 15,-13-1-15,-13 27 0,13-13 0,0 39 16,0-39-16,-13 0 16,13-14-16,0 1 0,0 12 15,0-12-15,0-14 0,0 13 16,0-12-16,-14-1 0,14 13 15,0-12-15,0-1 16,0 0-16,0 0 16,0 0-1,0 1 1,14-14 0,-14 13 15,13-13 0,0-13-15,0 13-16,1 0 15,-1 0 1,0 0-16,0-14 16,0 14-16,1 0 15,-14-13 1,13 13-16,0 0 0,0-13 15,1 13-15,-1 0 0,53-13 32,-40 0-32,-12 13 0,12 0 15,27 0-15,13-14 16,-39 14-16,12 0 0,120-13 16,-106 13-16,26-13 15,67 0-15,-80 13 16,13 0-16,-12-14 0,-1 14 0,53 0 15,-53 0-15,0 0 0,0 0 16,14 0-16,-1 0 0,-13 0 16,66 0-16,-65 0 0,12 0 15,-13 0-15,13 0 0,-12 0 16,-1 0-16,-13 0 0,13-13 16,-13 13-16,0 0 0,13 0 0,13 0 15,-26 0-15,13-13 16,-39 13-16,-14 0 0,13 0 15,14 0-15,-27 0 0,14 0 16,-14-13-16,0 13 0,0 0 0,1 0 16,12 0-16,-13-14 0,14 14 15,-14 0-15,13-13 0,-12 13 16,12 0-16,1-13 16,-1 13-16,-13 0 15,1-13-15,-1 13 0,26 0 0,-12-13 16,-1 13-16,1 0 0,-14 0 15,0-14-15,1 14 16,12 0-16,-13 0 0,0-13 0,1 13 16,-1 0-16,0-13 0,14 13 0,-14 0 15,0-13-15,0 13 16,1 0-16,-1 0 16,0 0-16,-13-14 0,13 14 15,0-13 1,1 0-1,-14 0 1,0-1 0,-14 1-16,14 0 0,0 0 0,0 0 15,0-1-15,-13-12 0,13 13 16,0-14-16,0 1 0,-13-1 0,13 14 16,0-13-16,0 12 0,0-25 15,0 25-15,0 1 0,0 0 16,0 0-16,0 0 15,0-1-15,0 1 0,-13 13 16,0 0 0,-1 13-16,1-13 15,0 14-15</inkml:trace>
  <inkml:trace contextRef="#ctx0" brushRef="#br0" timeOffset="12353.67">21061 11681 0,'-80'27'0,"41"-1"0,-14 14 32,40-14-32,-14-12 15,27-1-15,0 0 0,13 0 16,1-13-16,-1 0 15,0-13-15,14 13 0,25-26 16,1-14-16,-26 27 16,-1 13-16,-12-13 0,12-1 15,-13 1-15,0 13 16,1 13-16,-1 1 16,-13-1-16,0 0 0,0 13 15,0-12-15,0-1 0,0 13 16,0-12-16,0-1 0,0 0 15,-13 0-15,13 0 0,0 1 0,0 12 16,0-13-16,-14-13 16,14 14-16,14-1 15</inkml:trace>
  <inkml:trace contextRef="#ctx0" brushRef="#br0" timeOffset="12672.3">21497 11774 0,'-13'0'0,"0"0"0,0 0 15,-1 0-15,-12 13 16,0 0-16,12-13 16,1 0-16,13 14 0,0-1 31,13 0-31,1 0 0,-1-13 15,0 14-15,27 12 16,-27-26-16,0 13 16,0 0-16,-13 1 0,0-1 15,0 0 1,0 0-16,-13-13 0,13 14 0,-13-1 0,0-13 16,13 13-16,-14 0 0,1-13 15,13 14-15,-13-14 0,13 13 16,-13-13-16</inkml:trace>
  <inkml:trace contextRef="#ctx0" brushRef="#br0" timeOffset="12868.18">21762 11708 0,'13'-13'0,"-13"39"31,-13-13-16,13 1-15,-13-1 0,13 0 0,-13 27 16,-1-14-16,1-13 16,0 14-16,0-14 0,-1 13 15,14-12-15,-13-1 0,13 0 0,-13 0 0,13 1 16,0-1-16</inkml:trace>
  <inkml:trace contextRef="#ctx0" brushRef="#br0" timeOffset="12988.5">21669 11906 0,'0'-13'0,"-13"0"0,26 39 16,-26-65-1</inkml:trace>
  <inkml:trace contextRef="#ctx0" brushRef="#br0" timeOffset="13104.35">21921 11933 0,'13'0'16,"0"-14"-1</inkml:trace>
  <inkml:trace contextRef="#ctx0" brushRef="#br0" timeOffset="13757.18">21061 12356 0,'40'13'0,"-14"-13"16,-92-13-16,172 26 0,-80-26 0,14 13 0,13-13 15,13 0-15,0-1 16,66-12-16,-66-1 0,1 14 0,52-26 16,-40 12-16,-39 1 15,-1 12-15,-12 1 0,-1 0 16,14-27-16,-27 27 0,0 0 15,14-14-15,-27 14 16,13-27-16,0 14 16,-13-1-16,0-25 0,-26-41 15,13 53-15,-1 14 16,-12-14-16,13 14 0,-27-1 16,14 1-16,-14 13 0,0-14 0,1 1 15,-14 12-15,-40-25 0,53 25 16,-13 14-16,-52-13 0,52 13 15,0-13-15,-13 26 0,-1-13 16,1 13-16,-66 1 16,13 25-16,53-25 0,13 12 15,0 1-15,13-1 0,-13 0 16,-26 41-16,39-28 0,14-12 0,13-1 16,-14 40-16,14-26 15,13 0-15,0-1 0,40 28 16,13 25-16,-14-52 15,54 13-15,-53-27 0,12 1 16,15-1-16,52 1 16,-66-27-16,0 0 0,-14 0 0,14 0 15,0-14-15,0 1 0,0 0 16,-13 0-16,12-1 0,-12 1 16,26-26-16,-26 12 0</inkml:trace>
  <inkml:trace contextRef="#ctx0" brushRef="#br0" timeOffset="15096.1">22979 10425 0,'-40'53'16,"27"-27"-16,0-13 0,0 0 16,-1 14-16,1-1 15,13-12-15,-13-1 0,13 0 0,13 0 16,14-26-1,-14 0-15,0 0 16,14-1-16,-1-12 0,27-27 16,-27 13-16,-12 14 0,-1 13 15,-13-1-15,13 14 16,-13-13-16,-26 26 16,12 1-16,-38 25 0,25-12 15,14-1-15,-14 1 16,14-1-16,0-13 0,0 27 15,13-14-15,13 1 16,0-27-16,0 13 0,27-26 16,-13 13-16,52-27 15,-53 14-15,14 0 0,0-13 0,-14 12 16,1 1-16,-1 0 16,-13 0-16,1-1 0,-1 14 0,0 0 0,0 0 15,-13 14 1,0-1-16,13 13 15,-13-12 1,14-14-16,-14 13 0,13-13 0,0 0 16,0 0-16,1 0 0,-1 0 15,13 0-15,-12 0 0,12 0 16,0 0-16,-12 0 0,12 13 0,-13-13 16,14 13-16,-14-13 0,14 13 15,-1 1-15,-13-1 0,0-13 0,14 13 16,-14 0-16,0 1 0,1-14 0,-1 13 15,0-13-15,0 0 0,0 0 16,1 0-16,-1 0 0,0 0 0,14 0 16,-14-13-16,0 13 15,0-14-15,1 14 0</inkml:trace>
  <inkml:trace contextRef="#ctx0" brushRef="#br0" timeOffset="16207.93">23746 10623 0,'-26'79'0,"26"-52"0,0-14 15,0 0-15,0 40 0,0-40 16,-13 14-16,13-14 0,0 14 0,0-14 16,0 13-16,0-12 0</inkml:trace>
  <inkml:trace contextRef="#ctx0" brushRef="#br0" timeOffset="16934.84">23720 11245 0,'40'0'0,"-1"0"16,-26 13 0,1 0-16,-14 0 0,-14 14 15,14-14-15,-13 0 16,0 1-16,0-1 0,-14 13 15,14-12-15,13-1 16,-13-13-16,13 13 0,-13 0 16,-1 0-16,14 1 31,14-1-15,12-13-16,-13 0 15,1 0-15,12-13 16,-13 13-16,0-14 15,1 14-15,-14-13 16</inkml:trace>
  <inkml:trace contextRef="#ctx0" brushRef="#br0" timeOffset="17634.3">22728 9565 0,'0'39'31,"0"-25"-31,0 12 0,0-13 0,13 80 16,-13-53-1,0-14-15,0 0 0,0 41 16,0-14-16,-13-27 16,13-13-16,0 14 0,0-14 0,0 0 15,0 0-15,0 1 0,0-1 0</inkml:trace>
  <inkml:trace contextRef="#ctx0" brushRef="#br0" timeOffset="18010.14">22609 8943 0,'0'26'0,"0"14"15,0-27 1,0 1-16,-14-1 0,14 0 0,0 0 16,-13 40-16</inkml:trace>
  <inkml:trace contextRef="#ctx0" brushRef="#br0" timeOffset="18181.07">22767 8996 0,'-26'0'15,"13"13"-15</inkml:trace>
  <inkml:trace contextRef="#ctx0" brushRef="#br0" timeOffset="18522.5">22860 8864 0,'-40'0'0,"27"13"16,66-26-16,-119 26 0,53 0 0,-1-13 15,1 13-15,0-13 0,13 13 16,-13 1-16,26-14 31,13 0-15,-12 0-16,-1 0 0,0-14 0,0 14 0,14 0 15,-1 14 1,-26-1 0,0 0-16,0 0 15,0 1-15,0-1 0,0 0 16,0 0-16,0 1 0,-13-1 0,13 0 16,0 0-16,0 0 15</inkml:trace>
  <inkml:trace contextRef="#ctx0" brushRef="#br0" timeOffset="18803.97">23151 8824 0,'-53'26'16,"53"-12"-16,-26 38 15,26-38-15,0-1 0,0 0 16,13 27 0,0-27-16,0 0 15,1-13-15,-1 0 16,-40-13 15,1 26-15,13 1-1,-1-1 1</inkml:trace>
  <inkml:trace contextRef="#ctx0" brushRef="#br0" timeOffset="19477.21">24051 11284 0</inkml:trace>
  <inkml:trace contextRef="#ctx0" brushRef="#br0" timeOffset="20037.96">24223 11179 0,'39'-14'16,"-12"28"-16,-14-1 15,-13 0 1,0 14-1,13-27-15,-13 13 0,13 0 16,-13 0 0,14 0-16,-1 1 0,-13-1 0,13 0 15,-13 0 1,-13 1-16,13-1 16,0 0-16,-13-13 0,13 13 0,-14-13 15,1 14-15,0-1 0,-27 13 16,27-13-16</inkml:trace>
  <inkml:trace contextRef="#ctx0" brushRef="#br0" timeOffset="20662.28">23892 11774 0,'106'-13'0,"-67"13"0,1-13 0,13 13 16,-13-14-16,79-12 15,-66-1-15,0 14 0,0-13 16,-14 12-16,14-12 0,-13 13 0,-1-14 16,1 14-16,0-13 0,0-1 15,-14 14-15,0-14 0,1 1 16,-1 0-16,-12-1 0,12 1 0,-26 12 0,13-12 15,1-1-15,-14 1 0,0-27 16,0 13-16,-14 1 16,14-14-16,-26 13 0,13-13 0,-14 14 15,1-1-15,-14 0 0,14 0 16,-27 14-16,-40-14 0,53 27 16,-26 13-16,13 0 0,-13 0 0,0 0 15,0 13-15,0 1 0,-14 12 16,14 0-16,-13 1 0,-106 92 15,118-66-15,15 0 0,-1 0 16,13-14-16,0 28 16,-39 91-16,66-92 0,-1-26 15,14 0-15,14 0 0,-1-1 16,13 1-16,14 0 0,-14-1 16,27-12-16,-13-1 0,0-13 0,-1 1 15,1-14-15,-13 0 0,39 0 16,-40-14-16,1 1 0</inkml:trace>
  <inkml:trace contextRef="#ctx0" brushRef="#br0" timeOffset="28993.13">5212 9525 0,'-13'159'15,"0"-146"-15,13 13 0,0 1 16,0-14-16,-13 40 16,13-40-16,0 0 0,0 1 0,0-1 15,0 0-15,0 0 16,0-66 15,13 40-31,-13-53 16,0 13-16,0 14 0,0-1 15,13-13-15,-13 13 0,13 1 0,-13-1 0,14 0 16,-1 14-16,0-1 0,0 14 16,0-27-16,1 40 15,-14-13-15,13 13 0,0 0 0,0 0 16,1 0-16,-1 27 16,0-14-16,14 13 0,-14 14 15,13 26-15,-26-39 0,13-14 0,-13 13 16,0 1-16,14-1 0,-14 1 0,0-1 15,13-13-15,-13 14 0,0-14 16,0 13-16,0-12 0,0-1 0,0 0 16,0 0-16,0 1 0,13-14 0,-13 13 15,0 0-15,0 0 16</inkml:trace>
  <inkml:trace contextRef="#ctx0" brushRef="#br0" timeOffset="29230">5173 9763 0,'13'-13'15,"13"13"1,1-13-16,-1-1 0,-13 14 16,1 0-16,12-13 0,-13 13 0,14 0 15,-14-13-15,0 13 16,14-13-16</inkml:trace>
  <inkml:trace contextRef="#ctx0" brushRef="#br0" timeOffset="30105.22">5662 9618 0,'13'26'31,"-13"-13"-31,0 1 0,14-14 15,-14 13-15,0 0 0,13-13 0,0 26 16,13-12 0,-12-14-1,12-14 1,-26 1-16,13 0 16,-13 0-16,0-14 0,0 14 15,0 0-15,0 0 0,0-1 16,14 1-16,-14 0 15,0 0-15,26 26 32,14 0-1,-27-13-31,0 13 0,0-13 0,1 0 16,12 0-16,-13 0 0,1-13 15,-1 13-15,0 0 0,0-13 0,0 13 16,1-13-16,-1 13 15,-13-14-15,0 1 0,-13 13 16,-1 0 0,1 13-1,0-13 1,26 14 0,0-1-16,14 0 31,-14-13-31,14 27 0,-14-27 15,-13 13-15,13 0 0,0 0 0,1 1 16,-14-1-16,0 0 0,13 0 0,-26 0 16,13 1-16,0 12 0,-14-13 0,14 1 15,-13 12-15,0-13 0,-14 14 16,14-27-16,0 13 16,0-13-16,13 13 0,-14-13 0,1 0 15,13-13 1,13 0-16,-13-1 15,14 1-15,-1 0 0,0 0 0,0 13 16,27-27-16,-27 14 0,1 0 16,25 0-1,1-1-15,-27 14 0,14-13 16,-14 13-16</inkml:trace>
  <inkml:trace contextRef="#ctx0" brushRef="#br0" timeOffset="30325.06">6601 9591 0,'67'-26'16,"-54"26"-16,40-14 0,-40 14 16</inkml:trace>
  <inkml:trace contextRef="#ctx0" brushRef="#br0" timeOffset="30496.19">6641 9737 0,'-13'13'0,"39"-13"16,-12 0 0,-1-13-16,0 13 0,0 0 0,14 0 15,-14-14-15,0 14 0,0 0 16,14-13-16,-14 13 0,13-13 16</inkml:trace>
  <inkml:trace contextRef="#ctx0" brushRef="#br0" timeOffset="31340.33">7607 9327 0,'0'-14'0,"0"41"15,13-14-15,-13 0 16,0 40 0,13-40-16,-13 27 15,0 0-15,0-27 0,0 0 0,0 0 16,0 1-16,0-1 15,0 0-15,0 0 0,0 1 0,13-1 16,1 0-16,-1-13 16,0-13-1</inkml:trace>
  <inkml:trace contextRef="#ctx0" brushRef="#br0" timeOffset="31698.32">7911 9393 0,'-13'0'16,"26"0"-16,-53 0 16,40 13-1,0 0-15,0 0 16,0 1-16,14-1 0,-14 0 16,13-13-16,0 13 0,-13 1 0,27-14 0,-14 13 15,0-13-15,0 0 0,0 0 16,1 0-16,-1 0 0,0 0 0,14 0 15,-14-13 1,0-1-16,-13 1 16,0 0-16,0 0 15,0-1-15,-13 1 16,13 0-16,-13 13 0,-1-13 0,1-1 16,0 14-16,0-13 0,-1 13 15,1 0-15,0 0 16,0 0-16,0 0 15</inkml:trace>
  <inkml:trace contextRef="#ctx0" brushRef="#br0" timeOffset="31964.71">8109 9313 0,'0'40'15,"0"-27"-15,14 14 16,12-1 0,-13-26-16,14 13 15,-14-13 1,0-13-16,1 13 16,-14-13-16,0-14 15,-14 14-15,14 0 16,-13 0-16,0 13 0,13-13 0,-13 13 15,-1-14 1,1 14-16,0-13 16</inkml:trace>
  <inkml:trace contextRef="#ctx0" brushRef="#br0" timeOffset="32212.59">8705 9353 0,'53'-26'0,"-40"26"0,0 0 16,0 0-16,1 0 0,-1 0 15</inkml:trace>
  <inkml:trace contextRef="#ctx0" brushRef="#br0" timeOffset="32394.07">8731 9472 0,'-13'0'16,"66"-13"15,-13 0-31,-27-1 0,13 14 16,-12-13-16,-1 13 0,13-13 15,-13 13-15,1-13 0</inkml:trace>
  <inkml:trace contextRef="#ctx0" brushRef="#br0" timeOffset="33030.48">9684 9512 0,'13'-13'15,"0"-14"-15,40-52 16,-40 39 0,14-53-16,-14 54 15,0-27-15,0 52 16,-13-52 0,0 53-16,-13 39 31,13-12-16,-13 12-15,13 27 16,13-40-16,-13 1 0,13-1 16,1 0-16,12 0 15,1 0-15,-14-13 0,53-13 16,-40 0-16,-12 0 0,12 0 16,-13-1-16,1 1 0,12 0 15,-13-14-15,-13 14 0,14 0 16,12-14-16,-13 27 15,-13 14 1,0-1 0,0 0-16,0 0 0,13 1 15,-13-1-15,14 0 16,-14 0-16,13 1 0,0-1 16,0 0-16,1-13 15,-1 0-15,0 13 0,0-13 0,1 0 16</inkml:trace>
  <inkml:trace contextRef="#ctx0" brushRef="#br0" timeOffset="33566.36">11576 8903 0,'-40'27'0,"27"-14"16,-1 13-16,1 1 0,-13-1 0,12 1 0,-25 26 16,12-27-16,14 1 0,-13-1 15,12 1-15,-12-14 0,13 13 0,13-13 16,-14 1-16,1 12 15,0-13-15,13 1 0,-13-14 16</inkml:trace>
  <inkml:trace contextRef="#ctx0" brushRef="#br0" timeOffset="33834.22">11179 8903 0,'0'-13'0,"13"53"16,0-14 0,14 1-16,-1-1 15,53 40-15,-39-39 16,-13-14-16,12 13 0,-12-12 16,12 12-16,1-13 0,-13 1 0,12-1 15,-12 0-15,-1 0 0,-13 0 16,1 1-16,-1-14 0,0 13 0,0-13 15,1 13-15,-1-13 32</inkml:trace>
  <inkml:trace contextRef="#ctx0" brushRef="#br0" timeOffset="39492.33">6628 10147 0,'383'-80'15,"-263"54"-15,12-1 16,146-25-16,-133 25 0,1 14 15,-1-14-15,14 1 0,0 13 16,118-27-16,-144 14 0,131-1 16,-171 14-16,-14 13 15,1-27-15,-27 27 0,0 0 0,-27 0 16,0-13-16,1 13 0</inkml:trace>
  <inkml:trace contextRef="#ctx0" brushRef="#br0" timeOffset="39724.98">7038 10372 0,'251'-40'16,"1"-13"-1,-147 27-15,-12 12 0,-14 1 16,14-13-16,0 12 0,-14 1 0,14 0 16,-1 0-16,-12 13 15,-1-13-15,-13 13 0,0-14 0,-13 14 0</inkml:trace>
  <inkml:trace contextRef="#ctx0" brushRef="#br0" timeOffset="40203.91">11086 10821 0,'93'-13'16,"-67"13"-16,27 0 0,-13-13 0,13 13 15,0-13-15,-14 0 0,14 13 0,-13-14 16,13 14-16,-27-13 0,27 13 15,-26-13-15,-14 13 16,13 0-16,-12-13 0,-1 13 16</inkml:trace>
  <inkml:trace contextRef="#ctx0" brushRef="#br0" timeOffset="40426.22">11562 10610 0,'14'-13'0,"25"-1"15,-26 14 1,14 0-16,13 0 0,65 27 16,-91-14-1,-1 0-15,13 0 0,-26 1 16,14 12-16,-14-13 0,0 14 16,0-14-16,0 14 0,-14-1 0,1 0 15,-13 27-15,12-26 0,14-14 16,0 0-16,0 1 0,0-1 0,0 0 15</inkml:trace>
  <inkml:trace contextRef="#ctx0" brushRef="#br0" timeOffset="40790.14">12435 10504 0,'27'-13'15,"-14"26"1,0 0-16,1 0 0,-1 14 16,0-14-16,0 14 15,0 12-15,1-26 0,-14 14 0,13-1 16,-13-12-16,13 25 0,-13-12 16,0-14-16,13 0 0,-13 14 0,0-14 15,14 0-15,-14 0 16,0 1-16</inkml:trace>
  <inkml:trace contextRef="#ctx0" brushRef="#br0" timeOffset="40996.04">12435 10808 0,'14'-39'16,"-1"39"-16,40-27 16,-27 14-16,14 0 0,-14-1 15,14 1-15,-13 0 0,12 0 0,1-1 16,26 1-16,-26 0 0,-1 0 16</inkml:trace>
  <inkml:trace contextRef="#ctx0" brushRef="#br0" timeOffset="41245.26">13123 10464 0,'-39'0'0,"25"0"0,1 0 16,79 0-16,-145 0 0,66 0 0,13 14 31,39 25-15,-25-26-16,-1 1 15,0-1-15,0 0 0,1 0 16,12 14-16,-26-14 0,13 0 15,-13 14-15,-13-14 16,13 13-16,-13-12 0,0-1 16,-1 0-16,-12 0 0,-1 1 0,14 12 15,-13-13-15,-1 14 0,-12-14 0,12 0 16,-13 14-16,14-14 0</inkml:trace>
  <inkml:trace contextRef="#ctx0" brushRef="#br0" timeOffset="41658.04">12449 11126 0,'53'-14'16,"-14"14"-16,-12 0 0,12-13 15,1 0-15,26 0 0,53-27 16,-66 14-16,13 12 0,1-12 16,-1 13-16,0-14 0,53-26 15,-66 27-15,0-1 0,39-25 16,-52 25-16,-14 14 0,27-40 15,-39 26-15,12-12 16,-13 12-16,0-52 0,-13 39 0,0-52 16,0 26-1,-26-40-15,-1151 1032 0,2328-1918 0,-1178 952 16,-13 0-16,-65-26 0,38 40 16,-65 12-16,53 14 15,-14 14-15,-105 25 0,79 1 16,-80 39-16,107-26 15,-80 53-15,92-40 0,27-26 16,0 13-16,-13 53 0,53-53 16,0-1-16,13-12 0,26 40 15,1-41-15,12 1 16,14-14-16,66 27 0,14-13 16,25-14-16,-38-12 15,-68-1-15,54-13 16,-53 0-16</inkml:trace>
</inkml:ink>
</file>

<file path=ppt/ink/ink20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03:06.785"/>
    </inkml:context>
    <inkml:brush xml:id="br0">
      <inkml:brushProperty name="width" value="0.05292" units="cm"/>
      <inkml:brushProperty name="height" value="0.05292" units="cm"/>
      <inkml:brushProperty name="color" value="#0070C0"/>
    </inkml:brush>
  </inkml:definitions>
  <inkml:trace contextRef="#ctx0" brushRef="#br0">12422 2752 0,'27'-14'15,"-14"14"-15,-13-13 16,13 13-16,-39 13 31,-14 14-15,0-14-16,14 0 15,-1 1-15,1-1 0,13 0 0,-1-13 16,-12 13-16,13 1 0,0-1 16,-1 0-16,1 0 0,13 0 15,13 1 1,40-14-1,-13 13 1,0-13-16,-27 0 0,13 0 16,-13 13-1,1-13-15,-1 0 0,0 13 16,-13 1-16,0-1 16,0 0-16,-13 0 0,0 0 15,-1 1-15,1-1 0,-13 0 16,13 0-16,-1 1 0,1-14 0,0 13 15,0 0-15,-1-13 16,1 13-16,0-13 0,0 14 0,0-14 0,-1 0 31</inkml:trace>
  <inkml:trace contextRef="#ctx0" brushRef="#br0" timeOffset="259.99">12859 2699 0,'-13'26'32,"13"-13"-32,-14 1 15,14 12-15,-13-13 0,-27 80 16,27-67-1,0 1-15,0-14 0,-1 14 0,1 12 16,0-26-16,13 1 0,-13-1 16,0 13-16,-1-12 15,14-1-15,-13 0 0,0-13 16,13 13-16</inkml:trace>
  <inkml:trace contextRef="#ctx0" brushRef="#br0" timeOffset="427.04">12502 2990 0,'13'-13'16,"0"13"-16,0 0 0,0 0 0,1 0 15,-1 0-15</inkml:trace>
  <inkml:trace contextRef="#ctx0" brushRef="#br0" timeOffset="571.83">12938 3016 0,'13'0'47,"1"0"-47</inkml:trace>
  <inkml:trace contextRef="#ctx0" brushRef="#br0" timeOffset="3962.93">3069 9419 0,'172'-13'0,"-119"13"15,26 0-15,1 0 0,-1-13 16,1 13-16,12-14 0,173 1 16,-186 13-16,-13 0 15,14 0-15,-27-13 0,13 13 0,-27 0 16,14 0-16,-13 0 0,26 0 15,-53 0-15,1 13 16</inkml:trace>
  <inkml:trace contextRef="#ctx0" brushRef="#br0" timeOffset="4194.78">3426 9538 0,'93'-13'0,"-40"0"0,66-14 15,-40 27 1,1-13-16,-14 13 0,13-13 0,-13 13 0,-13-13 16,0 13-16,13 0 0,-26 0 0,13 0 15,-13 13-15,-14-13 16,1 0-16,-14 13 0,13-13 0,-13 13 15,1 1-15</inkml:trace>
  <inkml:trace contextRef="#ctx0" brushRef="#br0" timeOffset="5279.99">5596 10663 0,'53'0'16,"-27"-14"-16,27 14 0,13-13 0,14 13 15,-14-13-15,26 13 0,173-26 16,-186 26-16,1-14 16,-1 14-16,1 0 0,52-13 15,-79 13-15,0 0 0,92 13 16,-92-13 0,-26 0-16,-14 0 0</inkml:trace>
  <inkml:trace contextRef="#ctx0" brushRef="#br0" timeOffset="5536.96">7183 10742 0,'40'13'31,"-27"-13"-31,1 0 0,38 0 16,-25 14-16,-1-14 0,1 0 15,92 0 1,-53 0-16,-26 0 16,-14 0-16,40 0 15</inkml:trace>
  <inkml:trace contextRef="#ctx0" brushRef="#br0" timeOffset="6836.8">22556 10147 0,'132'-13'0,"-106"13"15,27 0-15,0 0 0,0 0 16,13 0-16,-13 13 16,0-13-16,0 0 0,0 0 0,0 0 0,-13 13 15,-1-13-15,-12 0 0,-1 13 16,1-13-16,-14 13 0,13 1 0,-12-1 15,-1 0-15,-13 0 0,13 14 0,-13-1 16,0 1-16,0-1 0,0 14 16,-13 0-16,13 39 15,-13-39-15,13-1 0,-14-12 0,14 12 0,-13 1 16,13 0-16,-13 0 0,13-1 16,0 1-16,0 0 0,0 13 15,0-14-15,0-12 0,0-1 16,13 14-16,0-14 0,-13 1 15,14-1-15,-14 1 0,13-14 0,0 53 16,0-40 0,-13 1-16,0-14 0,0 0 15,0 1-15,14-1 0,-28-13 0,14 13 16,0 0-16,-13 1 0,0-1 0,-14 13 16,1-13-16,-27 1 0,-13-1 15,-13 13-15,-1-26 0,-39 27 0,-13-27 16,-146 26-16,106-26 15,0 0-15,-13 14 0,0-28 16,-27 14-16</inkml:trace>
  <inkml:trace contextRef="#ctx0" brushRef="#br0" timeOffset="7843.09">7739 11496 0,'27'0'0,"-1"0"16,14-13-16,-1 13 0,-12-13 0,-1-1 16,14 1-16,-14 13 0,1-13 15,-14 0-15,14 0 0,-14-1 16,0 1-16,0 13 0,-13-13 15,13 13-15,-13-13 0,-26 26 32,13 0-32,0 0 0,-1 1 15,1 12-15,0 0 0,-14 14 0,14-13 16,-13 39-16,13-40 0,-1 14 16,1 0-16,0-14 0,0 1 15,13-1-15,-14-13 0,14 14 16,0-14-16,-13 0 0,13 0 0,0 1 0,13-1 15,-13 13 1,14-26-16</inkml:trace>
  <inkml:trace contextRef="#ctx0" brushRef="#br0" timeOffset="8351.9">8268 11708 0,'27'-13'15,"-14"13"-15,0 0 16,0-14-1,14 14-15,-14 0 0,0 0 16,1-13-16,-1 13 16</inkml:trace>
</inkml:ink>
</file>

<file path=ppt/ink/ink20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03:21.810"/>
    </inkml:context>
    <inkml:brush xml:id="br0">
      <inkml:brushProperty name="width" value="0.05292" units="cm"/>
      <inkml:brushProperty name="height" value="0.05292" units="cm"/>
      <inkml:brushProperty name="color" value="#0070C0"/>
    </inkml:brush>
  </inkml:definitions>
  <inkml:trace contextRef="#ctx0" brushRef="#br0">2805 6350 0,'13'0'79,"0"13"-64,14-13 1,-14 0-16,26 0 15,-25 0-15,-1 0 16,0 0-16,40 0 16,-40 0-16,40 0 15,-40 0-15,1-13 0,12 13 16,-13 0-16,1 0 0,12-13 16,-13 13-16,0 0 0,1-13 0,-1 13 15,27-14 1,-27 1-16,0 0 0,0 13 15,1-13-15,-1 13 16,-13-14-16,13 14 0,0-13 0,-13 0 31,13 13-31,1-13 0,-14-1 16,13 1-16,-13 0 16,0-13-1,-13 12 1,13-12-1,-14 26-15,14-13 0,-13-1 16,0-12 0,0 13-16,0-1 15,-14-12 1,14 13-16,0 0 16,-1 13-16,1-14 15,-13 1 1,-1 0-1,14 0-15,0 13 0,0-14 16,-1 14-16,1 0 16,-13-13-16,12 13 15,1 0-15,0 0 16,0-13-16,-1 13 16,-25 0-1,12 13 1,1-13-1,13 0-15,-1 0 16,-12 0 0,13 13-16,0-13 0,-1 0 15,1 0 1,-13 14-16,12-14 16,1 0-16,13 13 15,-13-13-15,0 0 16,-14 13-1,14-13-15,13 13 0,-13-13 16,0 14-16,-1-14 16,1 13-1,0-13-15,0 26 16,-1-26 0,14 13-16,-13 14 15,0-27-15,13 13 16,-13-13-16,13 13 0,-14 1 15,14-1-15,0 0 16,0 0-16,0 1 16,-13-14-16,13 13 15,13 13 1,-13-13-16,14 1 16,-14-1-1,13 0 1,0 0-16,0-13 0,-13 14 15,14-14 1,-1 13-16,13 0 16,-12-13-16,-1 0 15,0 0-15,0 13 16,0-13-16,1 0 16,-1 0-16,0 0 15,0 0-15,1 0 16,-1 0-16,0 0 15,0 0 1,1 0 0,-1-13-16,0 13 31,0 0-31,0 0 16,1 0-1,-1 0 32,0 0 31,-26 13 0,0 14-62,-1-14-16,1 0 0,13 0 16</inkml:trace>
  <inkml:trace contextRef="#ctx0" brushRef="#br0" timeOffset="1087.55">2143 10729 0,'0'26'16,"13"1"-1,-13-14-15,0 13 0,14 1 0,-1 79 16,-13-67-1,13-12-15,-13-1 0,0 1 0,13 12 16,0-12-16,-13-14 16,0 0-16,14 1 0,-14-1 0,0 0 15,-14-26 32,1 0-47,-40-14 16,14 14-16,12 13 0,-39 0 15,-13 13 1,13 14 0,26-1-16,27-26 15,13 13-15,-14 14 16,14-14-16,0 0 0,14 0 16,25 14-1,-12-27-15,-14 0 16,66-13-1,-52 13-15,13-14 0,52-25 16,-79 26-16,14-1 0,-14 1 16,27-13-1</inkml:trace>
  <inkml:trace contextRef="#ctx0" brushRef="#br0" timeOffset="1546.73">2566 10597 0,'-92'-40'0,"79"40"0,-1 0 15,1 40 1,13 12-16,0-12 15,13 13-15,-13 0 0,14 0 0,-1 13 0,13-13 16,14 119 0,-14-106-16,-12-26 0,-1 13 15,0-14-15,0 1 0,1-13 0,-14-1 16,13 40 0,-13-53-16,0 1 0,-13-1 0,-1 0 15,1-13-15,0 13 0,0-13 0,-14 14 16,-39-14-1,53-14-15,-14 14 0,14 0 16,-13-13-16,12 13 0,1-13 0,0 0 16,0-1-16,13 1 0,0-40 15,13 40 1,0 0-16,0-14 0,14 1 0,39-40 16,-26 52-16,-27 1 15,13 0-15,-12 0 16,12 13-16,-13-13 0,1 13 0,-14-14 15,13 14-15</inkml:trace>
  <inkml:trace contextRef="#ctx0" brushRef="#br0" timeOffset="2070.31">1905 11642 0,'119'-53'0,"-66"40"0,119-54 16,-106 54-16,0-13 15,0-1-15,146-52 16,-159 39-16,13 14 0,-13-1 16,0 1-16,-13-1 0,39-39 15,-39 40-15,-14-14 0,1 0 16,-1 1-16,1-14 0,-1 0 0,0 0 15,-12-13-15,-1 13 0,-13-13 16,0 13-16,0 0 0,-27-13 0,14 26 16,-26-13-16,-1 13 0,0 1 15,-13 12-15,-13 1 0,0 13 0,-13-1 16,-1 14-16,1 0 0,-14 0 0,-13 14 16,-13-1-16,0 13 0,0 1 15,13 12-15,1 1 0,-15 0 0,28 13 16,-14 0-16,13 13 0,14 0 15,0 0-15,-1 13 0,14 1 16,13-1-16,14 1 0,12-14 0,1 0 0,12 0 16,14 0-16,0 0 0,14 0 15,12-13-15,14 0 0,-1 0 0,28-13 16,12 13-16,14-13 0,-27-14 16,13-13-16,14 0 0,13 1 15,-14-14-15,1 0 0,-1 0 0,1-14 0,-14 1 16,-13 0-16,1-13 0,-14 12 15,-1-12-15,-12 13 0,0-1 16,0 1-16,-27 0 0,13 0 0</inkml:trace>
  <inkml:trace contextRef="#ctx0" brushRef="#br0" timeOffset="4786.56">17674 12091 0,'-40'0'16,"67"-13"-1,-1 13-15,1 0 16,13-13-16,184 0 15,-157 0-15,-14 13 0,-1-14 16,1 14-16,13-13 0,-13 13 0,40-13 16,-40 13-16,-27 0 0,14-13 15,-27 13-15,14 0 0,-14 0 0,0 0 16,0 0-16,1 0 16,-14-14-1,-40 28 1</inkml:trace>
  <inkml:trace contextRef="#ctx0" brushRef="#br0" timeOffset="5038.63">17648 12131 0,'53'0'16,"0"-13"-16,119 0 15,-106-1-15,13 1 16,-13 13-16,14-13 0,-14 0 0,13 13 0,-26-13 16,-13 13-16,13-14 0,52 14 15,-52-13 1,-26 13-16,-14 0 0,0 0 16,0 0-16,27 13 31,-27-13-31,1 0 0</inkml:trace>
  <inkml:trace contextRef="#ctx0" brushRef="#br0" timeOffset="6240.36">20413 12052 0,'39'13'16,"-25"0"-16,12-13 0,14 0 15,-14 0 1,14-13-16,0 13 0,-1-13 0,1 13 15,13-13-15,-14-1 0,1 1 0,13 0 16,-13 0-16,79-54 16,-93 54-16,14-13 0,-27-1 15,14 14-15,-1-13 0,-13-1 16,1 14-16,-1-13 0,0 12 0,0-25 16,-13 25-16,0-12 0,13 13 15,-13-14-15,-13 14 0,13 0 16,0-14-16,0 14 0,-13-13 15,0-14-15,0 27 0,-1-14 16,1 14-16,0 0 0,0-14 0,-1 14 16,1 0-16,0 0 0,-13-1 15,12 1-15,1 0 0,0 0 0,0 13 16,-1-14-16,-12 14 0,13-13 16,-1 13-16,1-13 0,-13 13 0,13 0 15,-1-13-15,1 13 0,-13 0 0,12 0 16,1 0-16,-13 0 0,12 0 15,1 0-15,0 0 0,-13 13 16,12-13-16,-12 13 0,-27 0 16,40-13-16,-14 14 0,14-1 15,-13 0-15,-14 0 0,27 1 16,-1-1-16,1 0 0,0 0 16,0-13-16,0 14 0,-1-1 15,1 0-15,0-13 0,0 13 0,-1 0 16,1 1-16,13-1 0,-13 0 0,-14 14 15,14-14 1,13 0-16,-13 0 0,13 1 0,-13-1 16,13 0-16,-13 0 0,13 0 15,0 1-15,-14 25 16,14-25-16,0 25 16,0-25-16,-13-1 15,26 0-15,-13 0 0,0 0 16,0 1-16,0-1 0,0 0 0,14 0 15,-14 1-15,0-1 0,13 0 0,-13 0 16,0 0-16,26 14 16,14 13-1,-14-27-15,-12 0 16,39 0 0,-40 1-16,40-14 0,-40 13 15,0-13-15,14 0 0,-14 0 16,0 0-16,0 0 15,1 0-15,-1 0 0,0 13 16,0-13-16,0 0 31</inkml:trace>
  <inkml:trace contextRef="#ctx0" brushRef="#br0" timeOffset="15509.78">18137 12634 0,'53'-13'16,"-40"-1"-16,-26 28 31,-13-1-16,12 0-15,-12-13 0,-14 27 16,27-14-16,0-13 16,0 13-16,-1-13 0,1 13 15,13 0 1,27 1 0,-14-14-16,0 13 0,0-13 0,-13 13 15,14-13-15,-1 13 16,0 14-1,-26-14-15,0 0 0,13 1 16,-40 12 0,13-13-16,-12 0 15,25 1-15,1-14 0,0 13 16</inkml:trace>
  <inkml:trace contextRef="#ctx0" brushRef="#br0" timeOffset="15809.75">18865 12740 0,'26'13'31,"-13"-13"-31,1 0 0,-1 0 16,13 0-16,-26-13 0,27 13 15,39-14 1,-40 1-16</inkml:trace>
  <inkml:trace contextRef="#ctx0" brushRef="#br0" timeOffset="15983.94">19394 12568 0,'13'26'0,"-26"1"16,13 12-1,0-12 1,0-14-16,0 27 16,13-27-1,-13 0-15,0 14 16</inkml:trace>
  <inkml:trace contextRef="#ctx0" brushRef="#br0" timeOffset="16895">16920 13586 0,'0'53'16,"0"-40"-16,0 1 16,0 12-16,0-13 0,13 1 0,-13-1 15,0 0-15,0 0 0,0 1 16,14-1-16,-14 0 0,0 0 15,0 0-15,-14 1 16,1-28 0,-40 1 15,40 13-31,0 0 0,-14 0 16,14 13-16,0-13 15,0 14-15,-1-1 16,1 0-16,13 0 15,0 1-15,13-14 16,1 26-16,12-26 16,-13 0-16,1 0 0,-1 0 15,0 0 1,53-26-16,-39 26 0,-1-27 0,14 14 16,-14 0-1</inkml:trace>
  <inkml:trace contextRef="#ctx0" brushRef="#br0" timeOffset="17118.48">17277 13626 0,'0'-26'0,"-13"12"16,0 14-1,0 14 1,-1-1-16,14 13 16,-13-13-16,13 14 0,0-14 0,0 40 15,-13-26-15,13-1 16,0 0-16,0 1 0,0 26 15,0-27-15,0 40 16,0-52-16,-13 12 0,13-13 16,0 1-16,-14-1 15,1 13-15</inkml:trace>
  <inkml:trace contextRef="#ctx0" brushRef="#br0" timeOffset="17341.46">17145 13904 0,'26'-27'31,"-12"27"-31,25-13 0,-12 0 0,26 0 16,-27-1-16,80-12 16,-66 26-1</inkml:trace>
  <inkml:trace contextRef="#ctx0" brushRef="#br0" timeOffset="17582.52">18031 13639 0,'0'0'16,"40"-13"-1,-27 13 1,1 0-16,-1 0 16,0 13-16</inkml:trace>
  <inkml:trace contextRef="#ctx0" brushRef="#br0" timeOffset="17777.57">18071 13798 0,'-13'0'0,"39"-13"31,-12 13-31,12 0 0,-13-13 16,53-1 0</inkml:trace>
  <inkml:trace contextRef="#ctx0" brushRef="#br0" timeOffset="18101.7">18891 13507 0,'-66'40'0,"53"-40"0,0 13 16,-27 13-16,27-12 16,-14-1-1,27 0-15,-13 0 0,0 0 0,13 1 16,0-1-16,0 0 16,13 0-1,0 1-15,0-14 0,1 13 16,12-13-16,-13 0 0,27 13 15,39-13 1,-65 0-16,12 0 0,-13 0 0,14 0 16,-14-13-16,0 13 0,1 0 0,-1-13 15</inkml:trace>
  <inkml:trace contextRef="#ctx0" brushRef="#br0" timeOffset="18302.61">18931 13507 0,'-13'13'0,"13"0"16,-14 40-1,14-39-15,0 12 0,0 0 16,0 67-16,0-66 16,0-1-16,0 0 0,0 14 0,0-13 15,0-1-15,0 14 16,0-27-16,0 40 15</inkml:trace>
  <inkml:trace contextRef="#ctx0" brushRef="#br0" timeOffset="20650.95">2818 8176 0,'-13'0'0,"-1"0"31,81 0 0,-54 0-31,13 13 16,1-13-16,-14 0 0,13 0 0,40 0 15,-26 0 1,-27 0-16,14 0 0,26 0 16,-40 0-1,13 0-15,-12 0 0,39-13 16,-40 13-16,0 0 0,53-14 15,-53 1-15,1 13 16,-1 0-16,0-13 0,0 13 16,14-13-16,-14-1 15,0 1 1,0 13-16,-13-26 16,0 13-1,0-14 1,-13 14-1,0 0-15,13-1 16,0 1-16,-13 0 16,0 13-16,13-13 0,-14 13 15,14-13-15,-13 13 0,0-14 16,0 1-16,-1 0 16,1 0-1,-13-1-15,13 1 16,-1 13-16,14-13 0,-13 13 0,0-13 15,-14-1 1,14 14 0,13-13-16,-13 13 0,0 0 0,-1-13 15,1 13 1,0-13-16,0 13 16,0 0-16,-1 0 0,1 0 15,0-13 1,-14 13-1,1 0-15,13 0 16,-1 0-16,-12 0 16,13 0-1,-14 0 1,14 13-16,0-13 16,0 0-16,-1 0 15,1 0-15,13 13 0,-26-13 16,13 0-16,-1 13 15,1-13-15,0 13 16,0-13 0,-1 14-16,1-14 0,0 13 15,0-13 1,13 13-16,-14-13 16,1 27-1,0-27-15,13 13 0,-13 0 16,13 14-16,-13-14 15,13 0-15,0 0 0,0 27 16,0-27-16,0 0 16,0 1-16,13-1 15,-13 0-15,0 0 0,39 14 16,-25-14 0,-1-13-16,27 13 15,-27-13-15,0 13 0</inkml:trace>
  <inkml:trace contextRef="#ctx0" brushRef="#br0" timeOffset="23523.92">1905 5398 0,'0'-14'16,"26"14"15,-12 0-31,-1 0 16,13 0-16,1 0 16,65 0-1,-65 0-15,13 14 16,-14-14-16,80 0 31,-80 0-31,1 0 0,12 0 0,-12 0 16,79 0-1,-40 0-15,-40 0 0,1 0 16,-1 0-16,1 0 0,39 0 16,-40 0-16,1 0 15,-14 0-15,14 0 0,12 0 16,-26 0-16,14 0 15,26 0-15,-40 0 16,27-14-16,-14 14 0,-13 0 0,14 0 16,-14 0-16,40-13 15,-40 0-15,14 13 0,-1 0 16,1-13-16,-1 13 0,-13-14 16,14 14-16,-1 0 0,14-13 15,-27 13-15,53-26 16,-39 26-16,-14-14 15,0 14-15,0-13 16,1 13-16,-1-13 0,0 0 16,0 0-1,-13-14 1,14 14-16,-14-27 16,0 27-16,0 0 15,0-1-15,-14 14 0,14-13 16,0 0-16,-13 0 0,0-14 15,0 14 1,-40-27 0,39 40-16,1-13 15,0 0-15,0 13 0,0-13 0,-1 13 16,1-14-16,0 14 0,0-13 0,-1 13 16,-25-26-16,12 26 15,14-13-15,-27-1 16,27 14-16,0-13 0,-14 13 15,-25-13 1,38 13-16,1 0 0,-27-13 16,-13 13-1,40 0-15,-13-14 0,-14 14 16,14 0-16,12 0 16,-12 0-16,0 0 15,12 0-15,1 0 0,0 0 0,0 0 0,-1 0 16,1 0-16,0 0 0,-27 0 15,14 0 1,-1 0-16,14 0 16,0 0-16,0 0 0,-1 0 15,-25 0-15,25 0 16,-12 0-16,13 0 0,0 0 0,-1 0 16,-12 0-16,13 0 15,-1 0-15,1 0 16,-13 0-16,12 0 0,-12 0 15,13 0 1,0 0-16,-14 0 16,14 0-16,0 14 15,-1-14-15,-25 0 16,25 0 0,-25 0-1,-14 13 1,40-13-1,-1 0-15,-12 0 16,13 0-16,-14 13 16,14-13-16,-13 13 15,12-13 1,1 14-16,0-14 16,0 13-16,-1 0 15,1-13-15,0 0 0,0 13 16,0-13-1,-1 13 1,-12 1 0,13-1-1,-1-13 1,1 26 0,0-12-1,0 12 1,-1-13-1,1 14 1,0-14 0,13 13-1,-13 1 17,13-14-32,0 0 0,-13 14 15,13-14 1,0 14-1,0-14 1,13 13 0,-13-13-16,0 14 15,13-14 1,-13 0-16,13 1 16,-13-1-1,13-13-15,-13 13 16,0 0-16,14-13 0,-14 14 15,13-14-15,0 13 16,0-13 0,1 13-1,-1-13-15,0 13 16,-13 0-16,13-13 16,-13 27-1,0-14-15,14 0 0</inkml:trace>
  <inkml:trace contextRef="#ctx0" brushRef="#br0" timeOffset="27324.06">12568 5265 0,'26'13'32,"-26"1"-32,27-14 15,-14 0-15,-13 13 16,13-13-16,0 0 0,27 13 16,-27-13-16,0 0 0,14 0 15,66 27 1,-67-27-16,-13 0 0,0 0 15,14 0-15,-14 0 0,14 13 0,-14-13 16,0 0-16,0 0 0,1 0 16,12 0-16,-13 0 0,0 0 15,1 0-15,12 0 0,-13 0 0,1 0 16,-1 0-16,0 0 0,13 0 0,-12 0 16,-1 0-16,0-13 0,0 13 15,1 0-15,-1 0 0,13 0 0,-12-14 16,-1 14-16,0 0 0,0 0 15,0 0-15,1-13 0,-1 13 0,0 0 16,0-13-16,1 13 0,-1 0 16,0-13-16,14 13 15,-14 0-15,-13-14 16,13 14-16,0-13 16,0 13-16,14-13 15,-14 0 1,0 13-16,1 0 15,-14-13-15,13 13 16,-13-14 0,13 14-16,-13-13 15,13 13 1,-13-13-16,13 0 16,-13-1-1,0 1 1,0 0-1,0 0 1,0-1 0,0 1-1,0 0-15,-13 0 32,13 0-17,-13 13 16,13-14-31,-13 1 32,13 0-17,-13 13 1,-1-13 0,1-1 15,0 14-16,0-13-15,-1 0 16,1 13 0,0-13-1,0 13 1,0-14 0,-1 14-16,1-13 15,0 13 1,0 0-16,-1-13 15,1 13 1,0-13 0,-14 0-1,14 13-15,0-14 16,0 1-16,0 13 16,-1-13-16,1 13 15,0 0-15,13-13 0,-27 13 16,14-14-1,0 14-15,0 0 0,13-13 16,-14 13-16,1 0 0,0 0 16,13-13-16,-13 13 0,0 0 0,-1 0 15,1-13-15,0 13 0,0 0 16,-1 0-16,1 0 16,0 0-16,0 0 0,0-14 15,-1 14-15,1 0 0,0 0 16,0 0-16,-1 0 0,1 0 15,0 0-15,0 0 16,-1 0-16,1 0 0,0 0 16,0 0-1,0 0-15,-1 0 0,-12 0 16,13 0 0,-1 0-1,1 0-15,-13 14 16,-1-14-16,1 0 15,13 0 1,-1 0 0,1 0-16,0 0 15,0 0-15,-1 0 16,1 0-16,0 13 31,0-13-31,-1 0 0,1 0 16,0 13-16,0-13 15,0 0-15,13 13 16,-14-13-16,1 0 16,13 14-16,-26-1 15,12-13 1,1 26 0,0-12-16,0-14 15,13 13 1,-14 0-1,14 0-15,0 0 16,-13 1 0,13-1-16,13 13 15,-13-12 1,0-1 0,0 0-16,14 0 15,-14 1-15,13-14 16,-13 13-16,0 0 0,13-13 15,-13 13-15,13-13 16,-13 13-16,14 1 0,-1-1 16,0 0-16,0-13 15,1 13 1,-1-13-16,0 14 0,0-14 0,0 0 0,1 13 16,-1-13-16,0 0 0,0 0 15,1 0-15,-1 0 16,0 0-16,0 0 0,1 0 15,-1 0-15,0 0 16,-13-13-16</inkml:trace>
  <inkml:trace contextRef="#ctx0" brushRef="#br0" timeOffset="34487.83">8149 11218 0,'-26'-13'16,"12"26"-16,1-13 0,0 0 0,0 14 15,-14-1-15,-39 26 16,53-12-16,-13-1 16,-1 1-16,14-1 0,-14-12 0,27 12 0,-13-13 15,0 0-15,13 14 0,-13-14 0,13 0 16,0 14 0,0-14-16,0 0 0,0 1 0,13-14 15,-13 13-15,13 0 0,0 0 0,1-13 16,12 0-16,-13 13 0,1-13 15,-1 0-15,0 0 0,0 0 0,0 0 16,1 14-16,-1-28 0,0 14 16,0 0-16,1 0 0,-1 0 0,0 0 15,0-13-15,0 13 16,1-13-16,-1 13 0</inkml:trace>
  <inkml:trace contextRef="#ctx0" brushRef="#br0" timeOffset="34958.62">8453 11192 0,'27'26'16,"-27"-12"-16,13-1 0,-13 13 0,13-13 16,14 54-1,-27-54-15,26 27 0,-13-27 0,-13 0 16,14 0-16,-1 0 0,-13 1 15,13-1-15,0 0 0,1-13 16,-14 13-16,26-26 16,-13 0-1,-13 0-15,0-1 16,14 1-16,-14-13 0,0 13 0,0-14 16,0 1-16,0 12 0,0-12 15,0 13-15,13-1 0,-13 1 0,0 0 16,0 0-16,0 0 0,0-1 15,0 1-15,13 13 16</inkml:trace>
  <inkml:trace contextRef="#ctx0" brushRef="#br0" timeOffset="35140.44">9141 11192 0,'53'-27'0,"-39"27"0,-14-13 16</inkml:trace>
  <inkml:trace contextRef="#ctx0" brushRef="#br0" timeOffset="35320.71">9115 11364 0,'-13'13'16,"39"-26"15,-13 13-31,1 0 0,-14-13 0,13 13 0,0 0 15,0 0-15,1 0 16,-1-14-16,0 14 0</inkml:trace>
  <inkml:trace contextRef="#ctx0" brushRef="#br0" timeOffset="35871.57">10081 10980 0,'39'-26'0,"-25"26"0,12-13 0,-13 13 16,53-14-1,-39 14-15,-14 0 0,14 14 0,-14-14 16,0 0-16,-13 13 0,13-13 16,-13 13-16,0 0 0,-13 14 0,13-14 15,-26 27-15,12-14 0,-12 0 16,-1 1-16,14-1 0,-13 1 0,12-14 16,-12 14-16,13-14 0,0 0 0,-1 0 15,1-13 1,13 13-16,-13-13 0,13 14 0,13-1 15,0-13 1,1 0-16,25 0 16,-12-13-16,-14 13 15,40-14-15,-27 1 0,14-13 16,-14 13-16,1-1 16</inkml:trace>
  <inkml:trace contextRef="#ctx0" brushRef="#br0" timeOffset="36025.08">10597 11073 0,'0'-13'0,"13"26"78</inkml:trace>
  <inkml:trace contextRef="#ctx0" brushRef="#br0" timeOffset="36594.64">10954 10874 0,'0'-13'0,"0"53"15,0-27 1,0 0-16,0 14 0,0-14 16,0 13-16,0-12 0,0 12 0,0-13 15,0 1-15,0 12 0,0 14 16,0-27-1,0 0-15,0 14 16,13-27 0,0 0-16</inkml:trace>
  <inkml:trace contextRef="#ctx0" brushRef="#br0" timeOffset="37223.42">11258 10901 0,'-13'26'31,"13"-12"-31,-13-1 0,-1 0 16,14 0 0,0 0-16,14 1 15,12 12 1,0-13-16,1 14 16,-14-27-16,-13 13 15,0 0-15,0 0 0,-13 1 16,13-1-16,-13 0 15,-1-13-15,1 13 0,0 1 0,0-1 0,0 0 16,-1-13-16,1 13 0,0 1 16,0-14-1</inkml:trace>
  <inkml:trace contextRef="#ctx0" brushRef="#br0" timeOffset="37551.56">11470 10901 0,'39'13'0,"-39"14"15,0-14-15,0 0 16,-13 0-16,0 0 0,13 1 0,-13-1 15,13 0-15,0 0 0,0 1 0,0-1 16,0 0-16,0 0 16,13-13-16,0 13 0,0-13 0,1 0 15,-1 0-15,0 0 0,14 0 0,-14 0 16,13 0-16,-13 0 0,14 0 16,-14 0-16,0-13 0,1 13 0,-1 0 15,0 0-15,0 0 0,1-13 16,-1 13-16,0 0 15</inkml:trace>
  <inkml:trace contextRef="#ctx0" brushRef="#br0" timeOffset="38240.9">11245 10941 0,'0'-14'0,"0"1"0,0 0 16,0 0-1,-13 13-15,13-14 16,-14 1-16,1 13 16,0 0-1,0 0-15,-1 0 0,1 0 16,0 13-16</inkml:trace>
  <inkml:trace contextRef="#ctx0" brushRef="#br0" timeOffset="50200.17">19553 1349 0,'0'27'0,"-14"-14"16,14 0-16,-13 14 15,0-1-15,0 1 0,0-1 16,13 1-16,-14-14 0,14 0 15,-13 0-15,0 14 16,13-14-16,0 13 0,-13-26 16,13 14-16,0-1 0,0 0 15,13 0-15,0 1 16,0-14-16,1 0 16,12 0-16,-13 0 15,27 0-15,-27 0 16,14-14-16,-14 14 0,0 0 15,0 0-15,14 0 16,-27-13 0</inkml:trace>
  <inkml:trace contextRef="#ctx0" brushRef="#br0" timeOffset="50406.03">19539 1601 0,'27'-13'0,"-14"13"0,0 0 16,1 0-16,-1-14 0,0 14 0,14-13 15,-14 13-15,0 0 0,-13-13 16</inkml:trace>
  <inkml:trace contextRef="#ctx0" brushRef="#br0" timeOffset="50587.52">19553 1442 0,'26'-13'15,"-13"13"-15,1 0 0,25 0 16,-25 0 0,-1 0-16,13 0 0,-13 0 0</inkml:trace>
  <inkml:trace contextRef="#ctx0" brushRef="#br0" timeOffset="50751.68">19936 1376 0,'0'0'16,"0"26"-16,-13-12 15,-13 38 1,12-25-16,-25 52 31,26-65-31,13 12 0,-27 0 0,14-12 16,0 12-16,13-13 16</inkml:trace>
  <inkml:trace contextRef="#ctx0" brushRef="#br0" timeOffset="50919.04">19764 1574 0,'14'-13'15,"25"40"1,-12-14 0,-27 0-1,13-13-15,0 0 0,0 0 0,1 13 16,-1-13-16,0 0 0</inkml:trace>
  <inkml:trace contextRef="#ctx0" brushRef="#br0" timeOffset="51323.44">20135 1336 0,'-13'27'47,"13"-14"-47,0 0 0,0 14 0,-14-14 16,1 40-16,13-40 15,-13 13-15,13 1 0,0-14 0,0 14 16,-13-14-16,13 13 0,0-13 16,0 1-16,-14-1 15,28-53 16,-14 14-31,0 13 16,13-1-16,-13 1 0,13-40 16,0 40-16,-13 0 15,14 13-15,-14-14 16,-14 41 15,14-14-31,-13 0 0,13 1 16,-13-1-16,0 0 15</inkml:trace>
  <inkml:trace contextRef="#ctx0" brushRef="#br0" timeOffset="52083.42">21074 1363 0,'13'26'0,"-13"-13"0,0 1 15,0-1-15,14 0 0,-14 0 16,0 0-16,0 1 16,13-28 30,-13 1-46,0 0 16,13 0-16,-13 0 0,13 13 16,-13-14-16,13 14 0,1-13 15,12 13-15,1 13 16,-27 1 0,13-1-16,0 0 0,0 0 15,0 0-15,-13 1 16,14-1-16,-1 0 15,-13 0-15,13-13 16,0 14-16</inkml:trace>
  <inkml:trace contextRef="#ctx0" brushRef="#br0" timeOffset="52280.58">21550 1376 0,'40'-27'16,"-27"27"-16,0-13 16,1 13-16,-1 0 0,0 0 0,0 0 15,1 0-15</inkml:trace>
  <inkml:trace contextRef="#ctx0" brushRef="#br0" timeOffset="52450.93">21537 1468 0,'-13'14'0,"39"-28"15,1 14 1,-1 0-1,-13-13-15,14 13 0,-14-13 16,0 13-16,1-13 0</inkml:trace>
  <inkml:trace contextRef="#ctx0" brushRef="#br0" timeOffset="52900.02">21974 1177 0,'26'-13'16,"-13"13"-16,1 0 16,12 0-1,-13 0-15,0 13 0,1-13 16,-14 14-16,13-1 0,0 0 15,-13 0-15,0 1 0,0-1 16,0 0-16,13 27 16,-13-27-16,0 0 0,0 0 15,0 1-15,14-1 0,-14 0 16,0 0-16,0 1 16,13-14-16,-13 13 0,13-13 15</inkml:trace>
  <inkml:trace contextRef="#ctx0" brushRef="#br0" timeOffset="53085.48">22040 1376 0,'13'-13'0,"0"13"0,0 0 0,1-14 15,12 14-15,-13-13 16,1 13-16,-1 0 0,0-13 0,14 13 16,-14-13-16,0 13 0</inkml:trace>
  <inkml:trace contextRef="#ctx0" brushRef="#br0" timeOffset="53394.3">22542 1151 0,'-39'0'15,"78"0"-15,-105 0 16,53 0-16,0 13 16,0 0-1,13 1-15,13 12 16,-13 1-1,0-1-15,0-13 16,0 0-16,0 1 16,-13-14-16,13 13 0,-14 0 0,1-13 15,13 13-15,-13-13 0,0 14 16,0-1-16,-1-13 0,-12 13 16,13-13-16,-1 13 0,1 1 15,0-14-15</inkml:trace>
  <inkml:trace contextRef="#ctx0" brushRef="#br0" timeOffset="53986.93">21484 1693 0,'106'-13'0,"-80"13"16,27-13-16,53 13 0,-53-13 0,27 13 16,-1-14-16,-13 14 15,13-13-15,1 13 0,-1-13 0,1 0 0,-14 0 16,66-14-16,-66 14 16,-13 0-16,0-1 0,-13 1 0,-1 0 15,1 0-15,0-14 0,-1 14 16,28-27-16,-41 14 0,0 13 15,1-14-15,13-26 0,-27 27 16,0-1-16,0 14 0,-13-13 16,14-1-16,-14 14 0,13-14 0,0-25 15,-13 38-15,0-12 16,0 13-16,0-14 0,0 14 16,-26-27-16,12 14 0,-12-1 0,13 1 15,-54-14-15,-12 14 16,39 13-16,-26-1 0,0 1 15,0 0-15,-93 13 0,80-13 16,-1 13-16,14 0 16,-92 13-16,91-13 0,-12 13 15,-53 14-15,66-14 0,13 13 16,-66 27-16,66-26 0,0-1 16,0 14-16,13-1 0,-39 41 15,26-1-15,26-39 16,1 0-16,-1 26 0,14-27 15,13-12-15,0-1 0,0 1 16,0-14-16,0 13 0,13 14 0,40 40 16,-39-67-16,12 0 15,-13 0-15,14-13 0,-14 13 16</inkml:trace>
  <inkml:trace contextRef="#ctx0" brushRef="#br0" timeOffset="54894.41">21418 2302 0,'-13'79'16,"0"-66"-16,13 1 0,0-1 15,0 13 1,13-52 31,0 13-47,-13-1 0,13 14 0,-13-13 16,13 0-16,1-13 15,-1 26-15,0 0 16,0 0-16,1 0 15,-1 13-15,0 0 16,0 0 0,-13 14-16,14-27 0,-14 13 15,0 0-15,13 0 0,-13 1 16,13-1-16,0 0 16</inkml:trace>
  <inkml:trace contextRef="#ctx0" brushRef="#br0" timeOffset="55075.69">21802 2315 0,'92'-26'0</inkml:trace>
  <inkml:trace contextRef="#ctx0" brushRef="#br0" timeOffset="55271.34">21788 2447 0,'-13'14'16,"40"-14"-16,-14 0 15,0 0-15,0-14 16,1 14-16,12 0 0,-13 0 16,1-13-16,-1 13 0,13-13 15,-13 13-15</inkml:trace>
  <inkml:trace contextRef="#ctx0" brushRef="#br0" timeOffset="56028.42">22238 2222 0,'53'-26'16,"-40"26"-16,14 0 15,-14 0-15,0 13 16,1-13-16,-14 13 16,0 1-16,0-1 0,-14 0 15,1 0-15,0 14 16,-14-1-16,14-12 0,0-14 16,0 13-16,-1 0 0,1 0 15,0-13-15,13 13 16,-13-13-16,39 0 31,14 0 0,-27 0-31,0 0 0,1-13 0,-1 13 16,0 0-16,0 0 0,1-13 16,-1 13-16,0 0 0,0 0 15,0-13-15</inkml:trace>
  <inkml:trace contextRef="#ctx0" brushRef="#br0" timeOffset="56417.61">22728 2170 0,'-27'0'16,"14"0"-16,0 13 16,0-13-16,-1 0 0,1 13 0,0-13 0,13 13 15,-27-13-15,27 13 16,0 1-1,14-14-15,-1 13 16,0-13-16,0 13 0,1-13 0,-1 13 16,0-13-16,0 14 15,0-14 1,-13 13-16,-13 0 16,13 0-1,-13-13-15,-13 14 0,12-1 16,-25 13-16,12-26 0</inkml:trace>
  <inkml:trace contextRef="#ctx0" brushRef="#br0" timeOffset="57442.73">22000 2593 0,'93'0'0,"-67"0"0,1 0 16,12 0-16,1 0 0,66-13 16,-40 13-16,0-14 15,-13 1-15,13 13 0,0-13 0,-13 0 0,0 0 16,40-14-16,-54 14 16,1 0-16,40-14 0,-41 14 15,14-14-15,-26 14 16,39-26-1,-53 25-15,0 1 0,0-13 16,1 12-16,-14 1 0,13 0 0,-13-14 16,0 1-16,0 0 15,-13 12-15,13-12 0,-40-27 16,0 0-16,14 27 16,-14-1-16,14 1 0,-14-14 15,-39 0-15,-14-13 16,40 27-16,-13 13 0,0-14 15,-67 1-15,54 13 0,13 13 16,-93-14-16,67 14 0,12 0 0,-12 0 16,12 14-16,-12-14 15,-67 26-15,66-13 0,14 14 16,-67 12-16,1 14 16,79-13-16,13-14 0,-13 14 15,-40 26-15,13 0 16,14 14-16,52-54 0,-12 40 15,12-26-15,27-13 16,0-1-16,0-13 0,14 40 16,12-26-16,27 26 15,-13-40-15,79 26 16,-53-25-16,66-1 0,-53 0 16,1-13-16,-1 0 0,-13 0 0,80 0 15,-80-13-15,-13 13 16,-13 0-16,13-13 0,-1 13 15,-12 0-15,-13-14 16,-14 14-16,0 0 0,0 0 16,1 0-16,-1 0 0,0 0 15,-13-13-15,13 13 16,0 0 0,1 0-16,-1 0 46,0 0 1,-13-13 63,13 26-32,1-26-47</inkml:trace>
  <inkml:trace contextRef="#ctx0" brushRef="#br0" timeOffset="58400.47">22410 2844 0,'-39'14'16,"25"-1"-16,-25 13 15,-41 40-15,41-39 16,-41 52-16,40-39 16,-52 52-16,-1-12 15,54-27-15,-41 26 0,-26 14 16,80-67 0,-1 1-16,-25 26 15,38-40-15,-25 13 0,12 1 16,14-14-16,0-13 15,13 13-15,-14-13 16,1 13-16,13 1 31,13-41 1,1 14-17</inkml:trace>
  <inkml:trace contextRef="#ctx0" brushRef="#br0" timeOffset="58798.76">21471 3466 0,'-13'13'31,"-1"14"-31,-12 12 16,0 1 0,12 0-16,1-27 15,13 27-15,-13-14 0,13-13 16,0 1-16,0 12 15,13-13-15,0 1 16,1-1-16,25 0 0,1-13 16,-14 0-16,14 0 15,-13 0-15,-1 0 16,0 13-16,41-13 0,-41 0 16,1 0-16,-1 0 15,-13 13-15,0-13 16,1 0-16</inkml:trace>
  <inkml:trace contextRef="#ctx0" brushRef="#br0" timeOffset="64521.5">22648 4075 0,'27'0'0,"-14"0"15,0 13-15,0 0 16,1 14-16,-14-1 0,0-13 16,13 14-16,-13 12 0,13 1 15,-13 0-15,13-1 0,-13 67 16,14-53-16,-14 13 0,0 0 15,13 14-15,-13-14 0,0 13 16,-13 1-16,13-1 0,0 93 16,0 27-16,-14-1 15,14-105-15,0 26 0,0 0 16,0-14-16,0 15 0,14-15 0,-1 94 16,0-93-16,0 0 0,-13-1 15,14-12-15,-1 0 0,0-1 16,0 14-16,0-27 0,1 93 15,-1-92-15,-13 12 0,13-12 0,-13-14 16,0 13-16,0 1 0,13-14 0,-13 0 16,0 0-16,-13 0 0,13 0 15,-13-13-15,13 0 0,-40 66 16,27-92-16,-13-1 16,12-13-16,-12 1 0,-146-28 15</inkml:trace>
  <inkml:trace contextRef="#ctx0" brushRef="#br0" timeOffset="66080.36">1442 3254 0,'-172'14'0,"146"-14"0,-14 13 16,0 0-16,14-13 0,-40 40 16,13-14-16,26 1 15,14-1-15,-14 14 0,14-14 16,13 1-16,-13-1 0,13 1 15,-13 12-15,13 1 0,-13 0 0,13 39 16,0-39-16,0 13 16,-14 0-16,14 0 0,0-1 0,0 1 15,0 0-15,0 13 0,0 1 0,14 65 16,-14-79-16,0 13 16,13 0-16,-13 0 0,13 0 15,0 53-15,-13-52 0,13 65 16,1-66-16,-14 0 0,13 0 15,-13 53-15,13-52 16,-13-1-16,0 0 0,0 0 0,13 66 16,-13-13-16,0-53 15,0 67-15,0-67 16,-13 0-16,13 0 0,0 40 16,0-40-16,-13 0 0,13-13 0,0 13 15,0 1-15,-13-15 0,13 15 16,-14-1-16,14 0 0,-13 53 15,0-53-15,13-13 0,-13 13 0,0 0 16,13-13-16,-14-13 0,14 13 16,-13-14-16,13 14 0,-13-13 15,13 0-15,-13-1 0,13 1 0,0-13 16,-14 26-16,1-27 0,13 0 16,0 14-16,-13-13 15,13 12-15,-13 14 0,0 13 16,13-39-16,0 12 0,0-12 0,0 26 15,0-27 1,13 54-16,-13-54 0,13 14 0,-13 0 16,26 12-16,1 15 15,-1-41-15,-12 14 0,12-14 16,14 14-16,13 13 16,-14-40-16,-12 13 0,52 14 15,-39-27-15,52 14 16,1-14-16,0 14 15,-54-27-15,14 13 0,40 0 16,-53-13-16,-1 13 16</inkml:trace>
  <inkml:trace contextRef="#ctx0" brushRef="#br0" timeOffset="71138.62">3215 8864 0,'-40'52'15,"40"-38"-15,-13-1 0,13 0 0,0 0 16,0 27 0,0-27-16,13 14 15,0-14 1,-26-39 31,-13 12-32,12 14 1,1 14-16,-27-1 16,27 13-16,0-26 15</inkml:trace>
  <inkml:trace contextRef="#ctx0" brushRef="#br0" timeOffset="71399.83">3122 9247 0,'40'13'0,"-40"1"16,13-1-16,-13 0 0,0 0 0,0 1 16,0 12-16,0 0 0,-13 1 15,13-14-15,0 0 0</inkml:trace>
  <inkml:trace contextRef="#ctx0" brushRef="#br0" timeOffset="71544.42">3056 9485 0,'40'0'15,"-27"0"-15,0-13 16,0 13-16,1 0 0</inkml:trace>
  <inkml:trace contextRef="#ctx0" brushRef="#br0" timeOffset="72007.67">3162 9816 0,'26'26'0,"-26"14"16,0 0 15,0-14-15,13-39 15,-13 0-31,0 0 15,0-1-15,0 1 0,0 0 16,0 0-16,0-1 0,-13 1 0,0 0 16,13 0-1,-26 0-15,12 13 16,1 0-16</inkml:trace>
  <inkml:trace contextRef="#ctx0" brushRef="#br0" timeOffset="72515.39">3215 10332 0,'-80'40'15,"67"-40"-15,0 13 0,26 0 16,-13 0-1,13-13-15,1 14 0,-1-14 16,-13 13-16,26 0 16,-13 0-16,1-13 0,-1 27 15,-13-14-15,0 0 16,13 0-16,-13 1 0,0-1 0,13 0 16,-13 0-16,0 1 0,0 12 0,0-13 15</inkml:trace>
  <inkml:trace contextRef="#ctx0" brushRef="#br0" timeOffset="73588.52">3016 12039 0,'27'0'0,"-14"0"15,0 0-15,0 13 0,1-13 16,-1 13 0,-13 0-16,0 0 15,0 1-15,0-1 16,-13-13-16,13 13 0,0 0 15,-14-13-15,14 14 16,14-14 15,-1 13-15,-13 0 0,-13 14-1,13-14-15,-14-13 0,14 13 16,-13-13-16,0 26 15,0-26-15,13 14 0,13-41 32</inkml:trace>
  <inkml:trace contextRef="#ctx0" brushRef="#br0" timeOffset="73851.62">3201 12105 0,'14'13'15,"-14"0"-15,0 0 16,0 1 0,0-1-16,13-13 15,-13 13-15,13-13 0,0 0 16,1-13 0,-1 13-16,0-13 0,-13-1 15,0 1-15,0 0 16,0 0-16,-13 13 15,0-14-15,-1 14 16,1-13-16,0 13 16,0 0-1</inkml:trace>
  <inkml:trace contextRef="#ctx0" brushRef="#br0" timeOffset="75170.39">4419 8864 0,'0'26'16,"0"14"-1,0-1 1,0-12-16,0 13 15</inkml:trace>
  <inkml:trace contextRef="#ctx0" brushRef="#br0" timeOffset="75331.03">4485 9393 0,'0'39'16,"0"-25"-16,-14-1 0,14 13 15,0-12 1,0-1-16,0 13 0,14-13 0</inkml:trace>
  <inkml:trace contextRef="#ctx0" brushRef="#br0" timeOffset="75468.72">4564 9710 0,'13'27'15,"-26"-14"1,13 0-1,0 0-15,0 1 16,-13 25-16,0-26 16,13 27-16,0-27 0</inkml:trace>
  <inkml:trace contextRef="#ctx0" brushRef="#br0" timeOffset="75603.59">4670 10186 0,'0'27'0,"-13"-14"15,13 0 1,-14 1-16,1-1 16,13 13-16,-13-12 0,26-1 15,-13 0-15</inkml:trace>
  <inkml:trace contextRef="#ctx0" brushRef="#br0" timeOffset="75719.8">4710 10478 0,'13'26'31,"-26"-13"-16,13 0 1,0 1-16,-14 12 16,14-13-16,0 1 0,0 12 15</inkml:trace>
  <inkml:trace contextRef="#ctx0" brushRef="#br0" timeOffset="75795.3">4829 10861 0,'13'40'31</inkml:trace>
  <inkml:trace contextRef="#ctx0" brushRef="#br0" timeOffset="76051.7">5927 9221 0,'0'-13'15,"-1098"1666"1,2196-3280-1</inkml:trace>
  <inkml:trace contextRef="#ctx0" brushRef="#br0" timeOffset="76314.24">6006 9803 0,'-26'106'16,"12"-67"-16,14-25 15,-13 38 1,0-38-16,13-1 0,13 40 16,14-27-1,-27-12-15,26-345 0,-26 688 16,13-344-16,0 0 16,1 1-16,-14-1 0,13-13 15,-13 13-15,13-13 16,0 0-1,1 0 1</inkml:trace>
  <inkml:trace contextRef="#ctx0" brushRef="#br0" timeOffset="76599.59">9829 9472 0</inkml:trace>
  <inkml:trace contextRef="#ctx0" brushRef="#br0" timeOffset="77909.59">3096 12621 0,'13'0'16,"0"13"-16,-13 0 0,13-13 15,-13 13-15,0 1 0,0-1 16,0 0-16,14-13 0,-14 13 16,0 0-16,0 1 0,0-1 15,13 0 1,-13 0-16,13-13 15,-13 14-15,13-1 16,-13 0-16,0 0 16,13 1-16,-26 12 15,13-13-15,-13 0 16,13 1-16,-13-1 0,0 0 16,-1 0-16,1-13 15</inkml:trace>
  <inkml:trace contextRef="#ctx0" brushRef="#br0" timeOffset="78659.03">3149 12898 0,'26'-26'16,"-26"13"0,13 0-16,-13-1 0,13 1 15,1-13 1,-14 12-16,0 1 0,0-13 16,0 12-1,0 1-15,0 0 16,-14 13-16,14-13 15,-13 13-15,0 0 0,0 0 16,0 0 0,13 13-16,-14-13 15,14 13-15,-13 0 16,13 1-16,0-1 0,0 0 16,0 0-16,13 1 15</inkml:trace>
  <inkml:trace contextRef="#ctx0" brushRef="#br0" timeOffset="78848.41">3281 12779 0,'13'14'16,"-13"-1"-16</inkml:trace>
  <inkml:trace contextRef="#ctx0" brushRef="#br0" timeOffset="81676.19">3029 12515 0,'27'13'0,"-14"-13"15,14 0-15,52 0 16,-26 0-16,0 0 0,0 0 16,13 0-16,93 0 0,-80-13 15,14 13-15,211 0 16,-198-13-16,26 13 16,0 0-16,-26 0 0,40 0 15,-14 0-15,13 0 0,1 0 0,-14 0 16,1 0-16,-1 0 0,0 0 0,-13 0 15,-13 0-15,26 0 0,-26 0 16,0 13-16,0-13 0,0 0 0,105 0 16,-12 13-16,-93-13 15,-14 0-15,1 0 0,-14 0 16,1 13-16,92-13 16,-133 13-16,1-13 0,-14 0 15,1 0-15,-1 0 0,1 0 16,-1 0-16,-13 0 0,1 0 0,-1 0 15,0 14-15,0-14 16,1 0-16,-1 0 16,0 0-16,-13 13 31,0 0-31,0 0 0,-13 14 16,13-14-16,-13 53 0,13-39 15,-14 12-15,14 1 16,-13 0-16,13-1 0,0 41 0,0-40 15,0-1-15,0 1 0,13 0 16,-13 12-16,0-25 16,14-1-16,-14 1 0,0-1 0,0-12 15,0 12-15,0 0 0,0-12 16,13-1-16,-13 0 0,-13 0 16,13 1-16,0-1 0,-14 0 15,1-13-15,13 13 16,-13-13-16,0 0 0,-1 14 0,-12-14 15,-27 13-15,27-13 0,-14 13 16,-13-13-16,-53 13 0,53-13 16,0 13-16,-13-13 0,-13 14 15,13-14-15,-14 0 0,-65 13 16,65 0-16,1-13 0,-14 0 16,-92 13-16,93-13 15,-411 27 1,397-27-16,0 0 15,0 0-15,1 0 0,-1 0 0,0 0 16,-198 0-16,105 0 16,120 0-16,-14 0 15,14 0-15,-1 0 0,1 0 16,26 0-16,-13 0 0,13 0 0,0 0 16,-13 0-16,26 0 0,1 0 15,12 0-15,14 0 16,-13 0-16,12 0 0,1 0 15,0 0-15,0 0 0,-1 0 16,1 0-16,0 0 0,0 0 16,-1 0-16,1-13 0,0 13 15,-13 0 1,12 0-16,1 0 0,0 0 0,0 0 16,-1 0-16,1 0 0,-13 0 0,12 0 15,-12 0-15,13 0 16,-14 0-16,14 0 0,-13-14 0,-1 14 15,-12 0-15,-14 0 0,26 0 16,14-13-16,-40 13 16,27-13-16,-1 0 15,14 13-15,0 0 0,-1-14 0,-12 14 16,13-13-16,-1 13 16,1 0-16,-26-13 15,39 0-15,-14 13 0,1-13 16,13-1-1,-13 14-15,13-26 0,0 13 16,0-1-16,0 1 16,0-13-16,0-14 15,0 27-15,0-14 0,0 14 16,0-13-16,0-1 0,-13 1 0,13-14 16,13 0-16,-13-26 0,0 27 15,0 12-15,0 1 0,0-27 16,13 26-16,-13 1 15,0-1-15,13 14 0,-13-13 0,0 12 16,14-12-16,-14-1 16,13 27-16,-13-13 0,0 0 15,0 0-15,0 0 16,0-1 0,13 1-1,-13 0 16,0 0 16,13 13 63,-13-14-95,13 14 1,-13-13 0,14 0-1,-14 0 1,0-1 31,13 1-16,0 26 16,14-13-32,-14 0-15,0 0 16,27 0-16,-1 14 31,-12-14-15,-1 0 0,-12 0 15,-1 0-31,-13 13 15</inkml:trace>
  <inkml:trace contextRef="#ctx0" brushRef="#br0" timeOffset="82316.89">3717 12687 0,'-185'145'0,"145"-118"15,1 12-15,-54 28 0,54-28 16,-14 1-16,13-14 0,-26 41 15,39-41-15,1 0 0,13-12 16,13-1-16</inkml:trace>
  <inkml:trace contextRef="#ctx0" brushRef="#br0" timeOffset="82536.78">4194 12713 0,'0'13'0,"-27"14"0,14-14 0,-13 14 15,-1-1-15,-13 14 0,1-14 16,-41 54-16,41-41 16,-1 1-16,0 0 0,-26 39 15,26-53-15,27 14 0,0-13 16,0-14-16,-1 0 0</inkml:trace>
  <inkml:trace contextRef="#ctx0" brushRef="#br0" timeOffset="82743.39">4670 12779 0,'-27'53'0,"1"-26"0,0-1 16,-14 14-16,-26 39 16,26-39-16,0 0 0,1-1 0,-1 1 15,-39 39-15,52-39 16,1-13-16,-1-1 0</inkml:trace>
  <inkml:trace contextRef="#ctx0" brushRef="#br0" timeOffset="82907.6">5014 12938 0,'-13'40'0,"26"-80"0,-26 93 0,-1-26 16,-25 25-16,12-12 0,-12 0 15,12-1-15,1 1 0,-14 0 16,13 0-16</inkml:trace>
  <inkml:trace contextRef="#ctx0" brushRef="#br0" timeOffset="83767.74">3096 12409 0,'66'13'0,"-53"-13"16,13-13-16,14 13 0,-13-13 15,12-1-15,1 1 0,26-13 16,-26 13-16,13-27 15,-27 27-15,-13-1 0,14-12 16,-1 13-16,-12-14 0,-14 14 0,13-27 16,-13 14-16,0-1 0,-13-12 15,-1 12-15,1-12 0,-27 12 16,14-13-16,-14 14 0,-52-14 16,52 27-16,-13 13 0,0 0 0,13 0 15,-12 13-15,-68 14 16,68-1-16,-1-13 0,0 14 0,0 13 15,-27 13-15,41-14 16,12-12-16,-12 39 16,25-26-16,-12 12 0,26-25 15,13 26-15,0-40 16,1 27-16,12-14 0,1-13 0,-1 14 16,0-14-16,54 0 0,-40 1 15</inkml:trace>
  <inkml:trace contextRef="#ctx0" brushRef="#br0" timeOffset="84170.77">3836 12316 0,'225'0'16,"-132"0"-16,-53 0 16,13 0-16,-1 0 0,-12-13 15,0 13-15,-14 0 0,1 0 0,26-13 16,-14 13-16,-12-13 15</inkml:trace>
  <inkml:trace contextRef="#ctx0" brushRef="#br0" timeOffset="84393.61">4604 12091 0,'106'40'16,"-67"0"-16,1 0 0,-27-27 16,0 13-16,1-13 0,-1 1 15,-13 25-15,0-25 16,-13 12-16,13-13 0,-27 14 0,1-1 16,-14 14-16,27-27 0,-14 0 15</inkml:trace>
</inkml:ink>
</file>

<file path=ppt/ink/ink20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1-26T09:22:46.377"/>
    </inkml:context>
    <inkml:brush xml:id="br0">
      <inkml:brushProperty name="width" value="0.05292" units="cm"/>
      <inkml:brushProperty name="height" value="0.05292" units="cm"/>
      <inkml:brushProperty name="color" value="#0070C0"/>
    </inkml:brush>
  </inkml:definitions>
  <inkml:trace contextRef="#ctx0" brushRef="#br0">1759 10941 0,'0'13'125,"0"0"-109,0 13-16,-13 27 15,13 13 1,-13 67 15,0-27-15,13-27 0,13 0-1,0-39 1,0 0-1,14-27 1,-14 0 0,14-13-1,-14-13 1</inkml:trace>
  <inkml:trace contextRef="#ctx0" brushRef="#br0" timeOffset="649.02">1535 11284 0,'26'-13'63,"1"13"-63,12 0 15,1-13 1,0 13-1,-14 0 17,0-13-17,1 13 17</inkml:trace>
  <inkml:trace contextRef="#ctx0" brushRef="#br0" timeOffset="1736.25">2222 11298 0,'0'-14'0,"14"14"32,12 0-17,14 0 1,0-13-1,-1 26 1,-26-13 0</inkml:trace>
  <inkml:trace contextRef="#ctx0" brushRef="#br0" timeOffset="1982.06">2275 11430 0,'0'13'16,"27"-26"15,-1 13 0,14 0-15,-27-13-1,14 13 1,-1-13 0</inkml:trace>
  <inkml:trace contextRef="#ctx0" brushRef="#br0" timeOffset="2732.07">3360 11020 0,'-26'13'31,"-1"14"-15,14-14 0,-27 40-1,1 0 1,39-40-16,-27 13 16,14 1-1,-13-1 1,12-13-1,1-13 1</inkml:trace>
  <inkml:trace contextRef="#ctx0" brushRef="#br0" timeOffset="3116.13">3109 11060 0,'13'26'31,"0"-13"-15,14 14 0,12 12-1,-12-12 1,-1-1-1,1 1 1,-1-14 15,-12-13-15</inkml:trace>
  <inkml:trace contextRef="#ctx0" brushRef="#br0" timeOffset="3782.4">3003 10927 0,'26'-13'0,"14"13"15,-13-13 1,12 13 0,41-13-1,12 13 1,-65-14-16,12 14 15,14 0 1,-26-13 0,-14 13-1,13 0 1</inkml:trace>
  <inkml:trace contextRef="#ctx0" brushRef="#br0" timeOffset="4385.22">3532 11192 0,'27'-13'0,"-1"13"16,1 0 0,-1 0-16,14-14 15,-1 14 1,-12 0-1,-14 0 1,0 0 15,1 0-31,-1 0 32</inkml:trace>
  <inkml:trace contextRef="#ctx0" brushRef="#br0" timeOffset="5685.08">4035 11324 0,'26'-26'31,"-26"12"-15,27-25-1,-14-27 1,0-1 0,1 28-1,-1 12 1,-13 1 0,0 52 30,-13-26-46,13 53 16,0 0 15,0-13-15,13 0 0,0-40-1,13 0 1,14-14-1,-13-12 1,12-27 0,-12 0-1,-14 13 1,0 14 0,-13 13-1,0 39 16,0 1-15,0-14 0,13 53-1,1-26 1,-1-1 0,27-12-1,-14-27 1,-13 13-1</inkml:trace>
  <inkml:trace contextRef="#ctx0" brushRef="#br0" timeOffset="6699.91">2686 11721 0,'39'0'0,"-26"0"15,54 0 1,38 0-1,54-13 1,-13 0 0,-93 13-16,185-40 15,-40 13 1,80 1 0,-66 13-1,-54 0 1,41-1-1,-159 1 1,52 13 0,1-13-1,-40 13 1,-40 0 0,0 0-1,0 0 1</inkml:trace>
  <inkml:trace contextRef="#ctx0" brushRef="#br0" timeOffset="8566.31">3307 11906 0,'-26'0'47,"-1"13"-32,1 1 1,-27-1 0,27 13-1,-1-12 1,14-1 15,39 0 0,-12 0-15,12-13 0,-13 14-16,14-1 15,-14 0 1,-13 0-1,0 14 1,-27-14 0,-12 13-1,26-12-15,-27-1 16,-13-13 0,13 13-1,1-13 1</inkml:trace>
  <inkml:trace contextRef="#ctx0" brushRef="#br0" timeOffset="9682.51">3612 11774 0,'-14'26'16,"14"-12"-1,-39 52 1,-28 40 0,15-1-1,-41 41 1,40-53-1,0 12 1,27-65 15,12 13-15,-12-27 0,26-12-1</inkml:trace>
  <inkml:trace contextRef="#ctx0" brushRef="#br0" timeOffset="11115.26">3492 12462 0,'14'-27'46,"-1"14"-30,0-13 0,-13 12-1,13-12 1,1 13 0,-14 0-1,13-1 16,0 41-15,0-1 0,1-13-1,-1 1 1,0-14 0,-13 13-1,26-40 1,-12-12 15,-14-1-31,0 0 31,-14 1-15,14 12 0,0 14-1,14-13 1,-1 12-1,27 14 1,39-13 0,-66 13-16,93-13 15,26 0 1,-52-1 0,-1 1-1,-39 0 1,-14 13-1,-13 0 17</inkml:trace>
  <inkml:trace contextRef="#ctx0" brushRef="#br0" timeOffset="11849.26">3903 12290 0,'0'26'46,"0"-12"-30,0 12-16,0-13 31,0 14 1,13-41-1,0 14-31,-13-13 15,27-13 1,-14 26 0,0-13-1,0 26 1,0-13 0,1 13-16,-1 13 15,-13-12 1,0 25-1,0-25 1,13-14 0</inkml:trace>
  <inkml:trace contextRef="#ctx0" brushRef="#br0" timeOffset="13699.77">8784 10954 0,'13'-13'0,"-26"39"16,-27 40 0,1 0-1,-27 40 1,26-27 15,27-26-31,13-13 31,26-27-15,14 1 0,-14-14-1,14-14 1,-27 14-1,0-13-15</inkml:trace>
  <inkml:trace contextRef="#ctx0" brushRef="#br0" timeOffset="13998.87">8467 11218 0,'13'-13'0,"27"0"31,26 0-16,-13-1 1,-14 14 0,27 0-1,-52 0 1</inkml:trace>
  <inkml:trace contextRef="#ctx0" brushRef="#br0" timeOffset="15032.47">9036 11245 0,'0'-13'31,"26"13"-15,0-14 0,14 14-1,-27 14 1,1-14 0</inkml:trace>
  <inkml:trace contextRef="#ctx0" brushRef="#br0" timeOffset="15249.19">9036 11351 0,'-14'13'0,"41"-13"47,12 0-32,1 0 1,0-13 0,13 13-1</inkml:trace>
  <inkml:trace contextRef="#ctx0" brushRef="#br0" timeOffset="16048.44">10636 10954 0,'-13'-13'0,"-27"39"31,-26 27-15,27-13-1,-28 26 1,41-53-16,-1 27 16,-12-1-1,12-12 17,14-27-32</inkml:trace>
  <inkml:trace contextRef="#ctx0" brushRef="#br0" timeOffset="16349.43">10292 11007 0,'-13'-14'15,"26"41"17,14-1-17,12 14 1,1 0 0,13 13-1,-26-27 1,-14 1-1,0-14 1</inkml:trace>
  <inkml:trace contextRef="#ctx0" brushRef="#br0" timeOffset="16970">10319 10861 0,'53'-13'32,"-40"13"-32,13 0 15,27 0 1,40 0 0,-40 0-1,-27 0 1,1 0 15,-27 13-15</inkml:trace>
  <inkml:trace contextRef="#ctx0" brushRef="#br0" timeOffset="17532.24">10808 11192 0,'13'-13'16,"1"13"-1,25-14 1,1 14-1,13 0 1,-27 0 0,-12-13-16,-1 13 15,13 0 1</inkml:trace>
  <inkml:trace contextRef="#ctx0" brushRef="#br0" timeOffset="18584.09">11258 11271 0,'13'-13'47,"0"-13"-32,1-14 1,12-13 0,-13 0-1,1 27 1,-1-1-1,-26 54 32,-1-1-31,14 0 0,0-12-16,0-1 15,14 0 1,12 0-1,1-26 17,-14 13-32,26-40 15,-12 1 1,13-1 0,-27 0-1,0 27 1,-26 40 15,13-14-15,-27 66 15,41-52-31,-1 12 16,27-12-1,-14-14 1,14-13-1</inkml:trace>
  <inkml:trace contextRef="#ctx0" brushRef="#br0" timeOffset="19383.14">9988 11589 0,'26'0'16,"27"-13"15,119-1-15,-119 14-16,133-13 15,25 13 1,80-13 0,-119 0-1,53 13 1,-26 0 0,-94 0-1,-38 0 1,-28 0-1,-26 0 32</inkml:trace>
  <inkml:trace contextRef="#ctx0" brushRef="#br0" timeOffset="20900.12">10676 11840 0,'-13'0'0,"-14"-13"16,1 26 15,-27-13-15,0 13 0,27 1-1,12-1 1,14 0-1,14 13 1,12-12 0,27 12-1,-40 1 1,0-14 0,-26 27-1,-13-27 1,-27 13-1,-13 1 17,26-27-17,-13 0 1,40 0-16,0 0 16,-1 0-16</inkml:trace>
  <inkml:trace contextRef="#ctx0" brushRef="#br0" timeOffset="21332.67">11007 11734 0,'-27'14'31,"14"-1"-31,13 0 0,-13 0 16,-106 172-1,53-105 1,-54 105 0,28-40-1,39-65 1,13-27 0,27-40-1</inkml:trace>
  <inkml:trace contextRef="#ctx0" brushRef="#br0" timeOffset="23000.15">10742 12396 0,'13'-14'31,"1"1"-15,-1 0-1,0 0 1,-13 0 0,13 13-1,0 13 16,1 13-15,-14-13 15,13 14-15,-13-14 0,13-13-1,14-26 16,-14-14-15,0-13 0,-13 0-1,0 14 1,0 12 0,13 1-1,1 12 1,25 1-1,14 13 1,26-13 15,1 13-15,65-13 0,-78-1-1,-1 1 1,-27 13-1,-25 0 1,-1 13 15</inkml:trace>
  <inkml:trace contextRef="#ctx0" brushRef="#br0" timeOffset="24715.56">11218 12277 0,'0'26'62,"0"-13"-62,-13 27 32,13-14-17,0-12 32,27-41-31,-1 1-1,-13 13 1,14 13 15,-14 13-15,0 0 0,-13 13-1,13-12 1,1-14-1,-1 0 1</inkml:trace>
  <inkml:trace contextRef="#ctx0" brushRef="#br0" timeOffset="25549.69">12502 11364 0,'13'0'32,"0"0"-32,13-13 15,14 13 1,0 0 0,-27 0-1</inkml:trace>
  <inkml:trace contextRef="#ctx0" brushRef="#br0" timeOffset="25765.66">12435 11509 0,'14'14'15,"-1"-14"1,27 13 0,12-13-1,-12-13 1,0 13 0</inkml:trace>
  <inkml:trace contextRef="#ctx0" brushRef="#br0" timeOffset="39249.71">13970 10848 0,'-13'0'31,"-14"0"-15,14 0 0,-27 26-1,14-12 1,-1 12-1,14-13 1,0 1 15,39 12-15,-26-13-16,40 14 16,0 12-1,13 14 1,-40-26-1,-13 12 1,-13 1 0,-27-13-1,0-27 1,14-14 0,-1-12-1,27-1 1,14-12-1,25-14 1,1 26 15,0-26-15,-1 14 0,-12 12-1,-27 14 1,-13-27-1,-14 27 1,1 0 0,-1 26-1,1-13 1</inkml:trace>
  <inkml:trace contextRef="#ctx0" brushRef="#br0" timeOffset="39949.17">14288 10927 0,'-14'-13'0,"1"0"15,0 13 17,-40 13-17,26 0 1,-12 27-1,26-27 1,-1 14 0,28-14-1,-1-13 1,26-13 0,1-14-1,0 1 1,-27 13-1,0 13 17,-13 13-17,0 26 1,0 28 0,-13-1-1,-13 26 1,26-78-1,0-1 1</inkml:trace>
  <inkml:trace contextRef="#ctx0" brushRef="#br0" timeOffset="40732.21">14565 11112 0,'40'-13'16,"13"0"15,13 0-15,-13 13-1,-27-13-15,-12 13 16,25 0-1,-12-14 17</inkml:trace>
  <inkml:trace contextRef="#ctx0" brushRef="#br0" timeOffset="41283.21">15266 10848 0,'0'26'16,"0"14"-1,0-27-15,-26 67 16,13-27 0,0 13-1,-1-13 1,14-40 15</inkml:trace>
  <inkml:trace contextRef="#ctx0" brushRef="#br0" timeOffset="41816.11">15505 10901 0,'-27'0'15,"27"13"-15,-13 0 16,-14 27-1,14 26 17,13-39-17,13 12 1,14-12 0,13-27-1,26 0 1,-40-14-1,1-12 1,-27-27 0,-14 27-1,1-14 1,-13 0 0,-14 40-1,14 0 1,12 0-1</inkml:trace>
  <inkml:trace contextRef="#ctx0" brushRef="#br0" timeOffset="42416.56">15809 10901 0,'-13'13'16,"-1"0"-16,14 1 15,-13 25 1,13 1-1,0-27-15,27 27 16,-1-14 0,27 1-1,-13-27 1,13 0 0,-27-27-1,-26 1 1,0-27 15,-13 13-31,-14 1 31,-12 12-15,-14 14 0,-13 26-1,13 0 1</inkml:trace>
  <inkml:trace contextRef="#ctx0" brushRef="#br0" timeOffset="43383.28">13692 11549 0,'27'-13'15,"-1"13"1,-13 0 0,67 0-1,52-13 1,0-1 0,-79 14-16,119-13 15,40 0 1,185-14-1,-80 14 1,-79 0 0,80 13-1,-27-13 1,-119 13 0,40 0-1,-160 0 1,-12 0 15,-13 0-31,-14 0 47</inkml:trace>
  <inkml:trace contextRef="#ctx0" brushRef="#br0" timeOffset="44848.75">14195 11761 0,'-13'39'16,"13"-12"-1,-14 39 1,-12 0 0,0-13-1,26-40 1,-27 27-16,27-14 31</inkml:trace>
  <inkml:trace contextRef="#ctx0" brushRef="#br0" timeOffset="45615.78">14433 11827 0,'13'0'15,"0"0"-15,1 0 16,-1-13 0,0 13-1,-66 26 32,40-26-31,-40 27-1,27-14 1,-1 0 0,14 0-1,13 14 1,26-14-1,-12 27 1,12-27 0,-13 27-1,-26-14 1,-13 0 15,26-12-31,-27-1 0,1 0 16,13-13-1,-27 13 17</inkml:trace>
  <inkml:trace contextRef="#ctx0" brushRef="#br0" timeOffset="45772.18">14512 12065 0</inkml:trace>
  <inkml:trace contextRef="#ctx0" brushRef="#br0" timeOffset="47884.13">14936 11827 0,'13'0'31,"-40"-13"16,14 13-32,0 0-15,-27 13 16,14 0 0,-1 0 15,1 1-15,26 12-1,13-13 1,14 14-1,-1-14 1,14 13 0,13 14-1,-40-13 1,-13 12 0,0-12-1,-27-1 1,-12 1-1,-14-27 17,26-14-17,14 1 1,13 0 0,0 0-1,0-14 1,40-12-1,-14 12 1,1 14 0,-1-14-1,1 1 1,-27 13 0,13-1-16,-13-25 15,0 26 1,-13-14-1,-14 14 1,14 13 15,-13 0-15,12 13-16</inkml:trace>
  <inkml:trace contextRef="#ctx0" brushRef="#br0" timeOffset="48332.27">15094 11853 0,'0'27'16,"0"-1"-1,-13 27 1,0 0 0,13 0-1,-13-13 1,13-14-1</inkml:trace>
  <inkml:trace contextRef="#ctx0" brushRef="#br0" timeOffset="49832.51">15610 11655 0,'14'0'0,"-41"13"47,27 0-47,-13 1 16,-53 91-1,-14-12 1,-92 132-1,53-80 1,-39 41 0,25-28-1,67-78 1,13-27 0,27-14-1,13-25 1</inkml:trace>
  <inkml:trace contextRef="#ctx0" brushRef="#br0" timeOffset="51049.07">15399 12475 0,'13'-13'47,"-13"0"-31,26-14 15,-12 1-15,-1 12-1,0 14 32,0 40-31,1-13 0,-14 12-1,13-12 1,-13-14-1,0 0-15,13-13 16,0-39 15,1-14-15,-14 13 0,0-13-1,0 40-15,0 0 16,0-27-1,26 13 1,0 14 15,41-13-15,65-1 0,0 1-1,-13-1 1,-53 27-1,-52-13-15,25 13 16,1 0 0,-27-13-1,-13 26 32</inkml:trace>
  <inkml:trace contextRef="#ctx0" brushRef="#br0" timeOffset="53001.06">15994 12290 0,'0'-13'0,"13"13"16,1 0 0,-1 0-16,13-14 15,1 14 1,-14 0 0,0 0-1,-53 0 32,1 14-16,-1-14-15,0 13 0,14 0-1,13 0 1,-1-13-16,-12 14 15,26-1 1,-13 0 0,0-13-1,39 0 63,-13 0-62,0 0-16,14 13 31,-14 0-15,0 27 0,-13 0-1,-26-14 1,-1 1-1,-12-1 1,-14-13 0,0-26-1,26 13 1</inkml:trace>
  <inkml:trace contextRef="#ctx0" brushRef="#br0" timeOffset="53982.17">17502 11271 0,'27'-13'0,"-1"13"31,27 0-15,-27 0 0,1 0-1</inkml:trace>
  <inkml:trace contextRef="#ctx0" brushRef="#br0" timeOffset="54216.17">17410 11456 0,'26'0'16,"-13"0"-1,40 0 1,13 0-1,-26 0 1</inkml:trace>
  <inkml:trace contextRef="#ctx0" brushRef="#br0" timeOffset="55283.4">19381 10954 0,'-13'66'15,"13"-40"1,-27 54-1,1 12 1,-1-12 0,1-41-1,12 1 1,14-27 0</inkml:trace>
  <inkml:trace contextRef="#ctx0" brushRef="#br0" timeOffset="55500.39">19487 11298 0</inkml:trace>
  <inkml:trace contextRef="#ctx0" brushRef="#br0" timeOffset="57152.08">19791 10980 0,'26'0'15,"-12"0"-15,25-13 16,1 13-1,26 0 1,-53 0 15,14 0-15</inkml:trace>
  <inkml:trace contextRef="#ctx0" brushRef="#br0" timeOffset="57666.36">19831 10980 0,'-14'13'16,"-12"27"15,-1 0-15,14-1 0,-13-12-1,26-1 1,0-12 15,39-28-15,-25 14-1,-1 0-15,13 0 16,14 27 0,-14-1-1,-26-12 1,0 12-1,-39 14 1,26-40-16,-27 26 31,-13-13-15,26-13 0,1-13-1</inkml:trace>
  <inkml:trace contextRef="#ctx0" brushRef="#br0" timeOffset="58283.33">20320 10914 0,'-26'13'0,"-1"1"15,14-1-15,-27 53 32,14-13-17,-1 13 1,27-26 0,0-27-16,27 13 15,-1-12 1,1-14-1,-14-14 1,-26 1 0,-14 0-1,-13 0 1,1 26 0,26-13-16,-14 0 15</inkml:trace>
  <inkml:trace contextRef="#ctx0" brushRef="#br0" timeOffset="69282.03">18852 11205 0,'13'0'78,"13"-13"-62,1 13 0,26 0-1,26-13 1,-13 13-1,-26 0 1,-14 0 0,-12 0-1,-1 0 1</inkml:trace>
  <inkml:trace contextRef="#ctx0" brushRef="#br0" timeOffset="71600.64">20743 11112 0,'-13'14'16,"0"-1"-16,-14 0 0,-25 27 15,-81 66 1,-39 13 0,80-40-1,65-66 1,-52 67-16,13-41 15,52-12 1</inkml:trace>
  <inkml:trace contextRef="#ctx0" brushRef="#br0" timeOffset="71900.75">20889 11205 0,'13'0'0,"-39"13"32,-1 1-32,-132 105 15,1-14 1,-28 41-1,67-53 17,14-1-17,52-52 1,26-14 0,27-12-1</inkml:trace>
</inkml:ink>
</file>

<file path=ppt/ink/ink20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05:09.996"/>
    </inkml:context>
    <inkml:brush xml:id="br0">
      <inkml:brushProperty name="width" value="0.05292" units="cm"/>
      <inkml:brushProperty name="height" value="0.05292" units="cm"/>
      <inkml:brushProperty name="color" value="#0070C0"/>
    </inkml:brush>
  </inkml:definitions>
  <inkml:trace contextRef="#ctx0" brushRef="#br0">18693 8308 0,'-13'0'0,"39"-13"16,27 13-1,-40 0-15,27 0 0,-14 0 16,14 0-16,-14 0 0,14 0 16,0 0-16,0 0 0,-1 0 0,27 0 15,-39 0-15,-1 0 16,-12 0-16,25 0 15,-39 13-15</inkml:trace>
  <inkml:trace contextRef="#ctx0" brushRef="#br0" timeOffset="199.75">18746 8440 0,'-53'0'16,"106"0"-16,-119 13 0,92-13 31,0 0-16,1 0-15,-1 0 0,14 0 0,-13-13 16,25 13-16,1 0 0,27-13 16,-27 13-16,-27 0 0,14 0 15,13-13 1,-27 13-16,-13 0 0,1 0 16,-14-13-16</inkml:trace>
  <inkml:trace contextRef="#ctx0" brushRef="#br0" timeOffset="5020.02">6006 10266 0,'-13'-27'16,"13"14"-16,13 0 0,0 0 16,14 13-16,-1-27 0,1 14 15,-1 0-15,14 0 0,-14-1 16,54-12-16,-54 26 0,1-13 15,-1 13-15,-13 0 0,14 13 16,-1 0-16,-13-13 0,1 27 0,-1-14 16,-13 0-16,0 13 0,0 1 15,-27 52-15,14-26 0,0 0 16,-14 0-16,-25 93 16,38-107-16,1 1 0,13 0 15,0-14-15,0 1 0,0-14 16,0 13-16,13 1 0,1-14 0,12 13 15,-13-26-15,14 0 16,-14 0-16,13 0 0,14-13 16,-13 0-16,-14 13 0,0-27 15,27 1-15,-27 13 0,-13-14 16,13 14-16,-13 0 0,13 0 0,-13-1 16,0 41 15,0-1-31,0 27 0,14-13 15,-1 92-15,0-66 0,0 0 16,1 14-16,-1-1 0,0-13 16,0 40-16,0-40 0,14 14 0,-14-1 15,14 67-15,-14-80 0,-13 0 16,13 13-16,-13-13 0,0 1 16,-13-14-16,-14 79 0,1-79 15,-1 0-15,-12 0 0,12-1 16,-12-12-16,-1 0 0,0 0 0,14-27 15,-14 13-15,-26 1 0,39-14 16,1-13-16,0 13 16,-14-13-16,0 0 0,0 0 0</inkml:trace>
  <inkml:trace contextRef="#ctx0" brushRef="#br0" timeOffset="10969.02">18600 833 0,'13'0'15,"-39"14"1,13-1-1,0 0-15,-1 0 0,1 14 0,-13-1 16,12 1-16,-12-1 0,-14 27 16,27-26-16,-13-1 15,12 0-15,-12 1 0,26-14 0,-13 0 0,-1 1 16,1-1-16,0 0 0,13 0 0,-13-13 16,13 14-16,-14-14 15</inkml:trace>
  <inkml:trace contextRef="#ctx0" brushRef="#br0" timeOffset="11185.74">18269 979 0,'0'-13'0,"0"26"16,27-13-1,-1 26 1,1-12-16,-14-1 0,0 0 15,1 0-15,-1 1 0,13-1 0,-13 0 16,1 0-16,-1-13 0,0 13 0,0 1 16,-13-1-16,14-13 0,-1 0 15,-13 13-15,13-13 0,0 0 16</inkml:trace>
  <inkml:trace contextRef="#ctx0" brushRef="#br0" timeOffset="11456.69">18336 728 0,'39'-14'0,"-25"14"0,12 0 15,0-13-15,1 13 0,-14 0 0,14 0 16,-1 0-16,14 0 0,-14 0 16,-13 0-16,1 0 0,12 13 15</inkml:trace>
  <inkml:trace contextRef="#ctx0" brushRef="#br0" timeOffset="11653.75">18838 913 0,'27'0'16,"12"0"0,-25 0-16,-1 0 15</inkml:trace>
  <inkml:trace contextRef="#ctx0" brushRef="#br0" timeOffset="11861.07">18825 1098 0,'-13'0'0,"39"0"47,14-13-31,-27 0-16,40 13 15</inkml:trace>
  <inkml:trace contextRef="#ctx0" brushRef="#br0" timeOffset="12420.7">19685 701 0,'-26'0'0,"-14"0"0,27 0 15,-1 13 1,14 1-16,0-1 0,14 13 15,-1 14 1,0-27-16,0 14 0,1-1 16,-1 14-16,0-14 15,-13-13-15,0 1 16,0-1-16,0 0 0,-13 0 16,0 1-16,-1-14 15,1 0-15,0 0 16,0 0-16,13-14 15,0 1-15,13 0 16,0-14 0,0 14-16,14 13 0,-14-13 15,0 0-15,14 0 0,-14-1 0,27-12 16,-27 13-16,13-14 16,-12 14-16,-1 0 0,-13 0 15,13-1-15,-13 1 0,-13-13 16,13 12-16,-13 1 15,-27 0-15,27 0 16,-14 13-16,14 0 0,0 0 0,-1 0 16,1 0-16,-13 0 0,13 13 15,-14 0-15,14 0 16</inkml:trace>
  <inkml:trace contextRef="#ctx0" brushRef="#br0" timeOffset="12771.73">20069 622 0,'-53'0'16,"39"13"-16,1-13 15,0 13-15,0 14 0,13-14 16,13 0 0,0-13-16,0 0 15,1 0-15,12 0 16,-26 13-16,13-13 0,1 0 16,12 40-1,-26-27-15,13 14 0,-13-14 16,0 13-16,0-12 0,0-1 0,0 13 15,0-12-15,0-1 0,0 0 16,0 0-16,0 14 0,0-14 0,0 0 16,0 0-16</inkml:trace>
  <inkml:trace contextRef="#ctx0" brushRef="#br0" timeOffset="14117.02">18336 2064 0,'-14'0'0,"41"13"31,-1-39-15,-12 26-16,-1-14 15,0-12-15,13-1 0,-26 14 16,14-13-16,-1-1 0,-13 1 16,13 13-16,-13-14 0,13 14 15,-13-14-15,0 1 0,14 13 16,-14-1-16,0 41 31,0-14-15,0 14-1,13-1-15,-13-13 0,0 1 16,13-14-16,-13 13 0,13-13 16,1 13-16,-1 0 15,13-26-15,-13 13 16,1-13-16,-1 0 0,0 13 15,-13-14-15,13 14 16,-13-13-16,14 13 16,-1 13-16,0 1 15,-13-1 1,13 13 0,-13-13-16,13-13 0,-13 14 15,14-14-15,-14 13 0,13-13 16,0 0-16,0 0 0,14 0 15</inkml:trace>
  <inkml:trace contextRef="#ctx0" brushRef="#br0" timeOffset="14296.71">19010 1799 0,'27'-26'0,"-14"26"16,13-14-16,14 14 15</inkml:trace>
  <inkml:trace contextRef="#ctx0" brushRef="#br0" timeOffset="14487.92">19037 1918 0,'13'0'47,"0"0"-47,0 0 15,1 0-15,-1 0 16,0 0-16</inkml:trace>
  <inkml:trace contextRef="#ctx0" brushRef="#br0" timeOffset="14774.23">19407 1627 0,'0'27'32,"0"-14"-17,-13 13-15,13-12 0,0 12 16,0 0-16,0-12 0,0 25 15,0 1 1,0-27 0,13-13-16,-13 14 0</inkml:trace>
  <inkml:trace contextRef="#ctx0" brushRef="#br0" timeOffset="15135.4">19632 1654 0,'-26'0'16,"26"13"-16,0 13 16,0 14-1,13-40-15,0 26 16,0-26-16,1 0 0,-1 14 15,13-14 1,-13 0-16,1 0 0,-1 0 16,-13-14-16,13 14 15,-13-13-15,0 0 0,0 0 16,-13 0-16,13-1 16,0 1-16,-13 0 15,-1 13 1,1-13-16,0 13 15</inkml:trace>
  <inkml:trace contextRef="#ctx0" brushRef="#br0" timeOffset="15420.64">19817 1601 0,'14'39'0,"-1"-25"16,-13-1-16,13-13 16,13 13-16,-12-13 15,-1 13-15,0-13 0,0 0 0,1 0 16,-1-13-16,0 13 16,0-13-16,0 0 15,-13-1-15,14 1 0,-14-13 16,0 13-16,-14-1 15,1 14-15,13-13 16,-13 13-16,-13 0 0,-1-13 16,1 26-16,-14 0 15,-26 14 1</inkml:trace>
  <inkml:trace contextRef="#ctx0" brushRef="#br0" timeOffset="17257.81">22000 754 0,'-26'-13'16,"12"26"-1,-38 0-15,25 1 16,14-14-16,0 13 0,-1-13 0,1 13 15,-13 0 1,12 0-16,1 1 0,13-1 16,0 0-1,0 0-15,13 1 16,1-14-16,-14 13 0,13-13 0,0 13 16,0-13-16,1 0 0,-1 13 15,0-13-15,0 13 0,1 1 16,-1-14-16,-13 13 0,13-13 15,-13 13-15,-13 0 16,-14 1 0,14-1-16,0 0 0,-27-13 15,0 13 1,27 1-16,-13-14 0,-14 0 16,27 0-16,-14 0 15,14 13-15,0-13 16,0 0-16,-1 0 15</inkml:trace>
  <inkml:trace contextRef="#ctx0" brushRef="#br0" timeOffset="18726.62">22371 926 0,'13'-13'31,"0"13"-31,0 0 0,0 0 16,1 0-16,-1-13 0,27 13 15,-27 0-15,0 0 0,0 0 0</inkml:trace>
  <inkml:trace contextRef="#ctx0" brushRef="#br0" timeOffset="18871.73">22423 1045 0,'0'13'0,"14"1"15,-1-14 1,0 0-1,0-14-15,1 14 0,-1 0 0,0 0 16</inkml:trace>
  <inkml:trace contextRef="#ctx0" brushRef="#br0" timeOffset="24801.18">23072 820 0,'-14'132'16,"14"-118"-16,0-1 0,-13 0 16,13 0-16,0 1 0,0-1 0,-13 0 15,13 0 1</inkml:trace>
  <inkml:trace contextRef="#ctx0" brushRef="#br0" timeOffset="25257.07">23429 767 0,'-40'14'16,"27"-14"-16,-14 13 15,14 0-15,-13 0 16,26 0-16,-13 1 16,13-1-1,0 0-15,0 0 0,13-13 16,0 27-16,0-14 15,0 0-15,1 0 16,-14 1 0,0-1-1,-14 13 1,1-12-16,0-1 16,0-13-16,-14 13 15,14-13-15,0 0 0,0 0 16,-1 0-16,1 0 0,0 0 15</inkml:trace>
  <inkml:trace contextRef="#ctx0" brushRef="#br0" timeOffset="25461">23561 913 0,'0'0'0</inkml:trace>
  <inkml:trace contextRef="#ctx0" brushRef="#br0" timeOffset="25956.85">23826 794 0,'-14'0'16,"28"26"-1,-14-13 1,0 1-16,13-1 0,-13 0 0,0 0 16,13 1-16,-13-1 0,0 0 15,0 0-15,0 0 0,-13 1 16,13-1-16,-27 0 15,14 0 1,0-13-16,0-13 16,0 13-1,13-13-15,13 0 16,0-14 0,0 14-16,0 13 0,27-40 15,-40 27-15,13 0 0,1 0 16,-14-1-16,13 1 0,-13 0 15,0 0-15,13 13 0,-13-13 16,0-1-16,0 1 0,0 0 0,-13 13 16,13-13-16,-13-1 15,-1 1-15,1 13 16,-27 0 0,27 0-16,0 13 15</inkml:trace>
  <inkml:trace contextRef="#ctx0" brushRef="#br0" timeOffset="26162.43">24037 661 0,'40'40'15,"-40"-27"-15,13 14 16,-13-14-16,0 14 0,-13-14 0,13 13 15,-13 14-15,13-27 16,0 14-16,0-14 0,-13 13 0,13-13 16,0 1-16,-14-1 0,14 0 0,0 0 15,-13 1-15</inkml:trace>
  <inkml:trace contextRef="#ctx0" brushRef="#br0" timeOffset="26893.58">21815 1773 0,'-27'26'0,"27"-13"0,0 1 16,-13-1-16,13 0 0,0 0 15,-13 14-15,0 12 16,13-25-16,0-1 0,0 0 16,0 0-1,26-39 1,-26 13-16,40-53 15,-14 13 1,-12 26-16,12 14 0,-13 0 16,-13-1-16,40 1 15,-27 13-15,14 13 16,-27 1-16,13-1 16,-13 0-16,13 0 0,-13 1 0,0 12 15,13-13-15,-13 1 0,0-1 16,0 0-16,0 0 15,0 0-15,14 1 0,-14-1 16,13-13 0</inkml:trace>
  <inkml:trace contextRef="#ctx0" brushRef="#br0" timeOffset="27047.72">22357 1759 0,'66'-13'31,"-66"26"-31</inkml:trace>
  <inkml:trace contextRef="#ctx0" brushRef="#br0" timeOffset="27243.7">22318 1931 0,'-14'0'0,"54"0"15,-27 0 1,14 0-16,-14 0 0,40-13 15</inkml:trace>
  <inkml:trace contextRef="#ctx0" brushRef="#br0" timeOffset="27871.9">23310 1680 0,'53'-13'16,"-40"0"-1,-53 26 17,27 0-32,-13-13 0,-1 13 15,1-13-15,-14 14 16,27-1-16,-14-13 0,14 0 0,0 13 16,0-13-16,-1 13 15,14 0-15,14 1 16,-1-14-16,-13 13 15,13 0-15,0-13 0,27 27 16,-40-14-16,13-13 16,-13 13-16,0 0 0,0 1 15,-13-1-15,0 0 16,0-13-16,-1 13 16,-12-13-16,13 13 0,-1-13 0,-12 14 15,-1-1-15,14-13 0,0 13 16,0-13-16,0 0 0,-1 13 15,1-13-15,13 14 0,-13-14 0,13 13 16</inkml:trace>
  <inkml:trace contextRef="#ctx0" brushRef="#br0" timeOffset="30790.98">20823 11827 0,'39'-13'16,"-25"13"-1,-1-14-15,27 1 0,-14 0 16,0 0-16,14-14 0,26 1 0,-39 13 15,12-14-15,28-13 16,-28 27-16,-12 0 0,-1-13 16,1 12-16,26-25 0,-40 25 15,0 1-15,0-13 0,0 12 16,1-12-16,-1 0 0,-13 12 0,0-12 16,13-27-16,-26 26 0,13 1 15,-13-14-15,13 1 0,-14 12 16,-12-13-16,13 14 0,-67-53 15,54 52-15,-1 1 0,1-1 16,-40-26-16,26 27 16,1-1-16,-1 1 0,0 0 0,0-1 15,1 1-15,-1 12 0,-13-12 16,0-1-16,0 1 0,0 13 16,-13-14-16,0 14 0,0 0 0,13 0 15,-13-1-15,0 1 0,-14 13 16,14-13-16,-13 0 0,13 13 0,-14 0 15,1 0-15,13 0 0,-14 0 0,14 0 16,-79 13-16,65 0 16,14 0-16,-13 1 0,13-1 0,-80 13 15,93-12-15,-79 25 16,66-26-16,13 14 0,-13-1 16,-40 14-16,53 0 0,-40 13 15,41-27-15,12 14 16,0 0-16,-13-14 0,14 14 15,12-1-15,-13 14 0,-12 27 16,25-27-16,-13 26 0,14-39 16,13-1-16,-1 14 0,14-13 15,-13 39-15,13-39 0,0 13 16,13-13-16,27 39 0,-13-26 16,-1-27-16,27 14 0,-13 0 15,26-14-15,0 14 0,0-14 0,13-12 16,27 12-16,132 14 0,-105-27 15,-1-13-15,0 0 0,14 13 16,-1-13-16,-12-13 0,12 13 16,80 0-16,-119 0 0,-14 0 15,1-13-15,66 13 16,-53-14-16,-67 14 0,1 0 16,-13 0-16,-1-13 0,14 13 15,-14 0-15,-13 0 0,1 0 16,-1 0-16,0 0 0,0-13 15,0 13-15,-26-13 47</inkml:trace>
</inkml:ink>
</file>

<file path=ppt/ink/ink20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06:25.329"/>
    </inkml:context>
    <inkml:brush xml:id="br0">
      <inkml:brushProperty name="width" value="0.05292" units="cm"/>
      <inkml:brushProperty name="height" value="0.05292" units="cm"/>
      <inkml:brushProperty name="color" value="#0070C0"/>
    </inkml:brush>
  </inkml:definitions>
  <inkml:trace contextRef="#ctx0" brushRef="#br0">17740 7898 0,'0'-13'0,"0"-1"0,14 28 47,-1 39-31,-13-27-16,0 0 0,0 1 0,0 26 15,-13 66 1,13-79-16,-14-1 0,14 1 0,0-14 16,0 1-16,-13 39 15,13-53-15,0 0 16,0 27-16,0-27 0,13 1 15,-13 12 1,14-26-16,-1 13 0,13-13 16,1 0-1,-14 0-15,13 0 0,41-13 16,-28 0-16,107-14 16,-80 27-16,0-13 15,0 0-15,0 13 0,0-13 0,159-14 16,-159 27-16,14 0 15,12-13-15,-12 13 0,-1 0 16,1 0-16,-1-13 0,14 13 0,-14 0 16,14 0-16,-1 0 0,-12 0 0,12-13 15,-12 13-15,12 0 0,-13 0 16,14-14-16,0 14 0,-14 0 0,0 0 16,14 0-16,-14 0 0,1 0 0,-1-13 15,1 13-15,-1 0 0,-13 0 16,13 0-16,1 0 0,-1 0 15,-13 0-15,14 0 0,-27 0 0,26-13 16,-26 13-16,13 0 0,0 0 16,-13 0-16,0 0 0,0-13 0,0 13 15,0 0-15,0 0 0,0 0 0,-14 0 16,1 0-16,0 0 0,-1 0 16,1 0-16,0 0 0,-1 0 0,-12 0 15,13 0-15,-14 0 0,1 0 0,-1 0 16,0 13-16,1-13 15,-14 0-15,14 0 0,-14 0 0,13 0 16,-13 0-16,27 0 0,-27 13 16,1-13-16,-1 0 0,13 0 15,-12 0-15,12 0 0,-13 0 16,0 0-16,1 13 0,-1-13 0,13 0 16,-12 0-16,25 0 15,-25-13-15,-1 13 0,13 0 0,-13 0 16,14 0-16,-14 0 0,0 0 0,14-13 15,-14 13-15,14 0 16,-14 0-16,0-13 0,13 13 0,-12 0 16,-1-14-16,13 14 0,1-13 15,-1 13-15,-12-13 0,-1 13 16,13-13-16,-13-1 0,1 14 16,-1-13-16,13 13 0,-26-13 0,14 0 15,-1 0-15,0 13 0,0-14 16,0 1-16,14-27 0,-1 27 15,-12-13-15,-1-1 0,0 1 0,14-1 16,-14-12-16,13-1 0,-13 0 16,14 1-16,39-54 0,-39 53 15,-1 1-15,0-1 0,1 13 16,-1 1-16,1 0 0,12-1 16,-25 14-16,12-14 0,-13 14 0,-13 0 15,14 0-15,-14-1 0</inkml:trace>
  <inkml:trace contextRef="#ctx0" brushRef="#br0" timeOffset="787.91">21669 8903 0,'-26'-13'0,"-27"26"15,27-13 1,12 13-16,1-13 0,0 14 16,0-1-16,-1-13 0,-12 26 15,13-12-15,26-1 32,13-26-32,1-1 15,-14 1-15,14 0 0,25-27 16,-25 27-1,-14 0-15,0 13 16,1 0-16,-1 26 16,-13 1-1,13-1-15,-13-13 0,0 14 16,-13-14-16,13 14 0,0-14 16,0 0-16,0 0 0,0 14 15,0-1-15,0-13 16,13-13-16,-13 14 15,13-1-15</inkml:trace>
  <inkml:trace contextRef="#ctx0" brushRef="#br0" timeOffset="1125.16">22040 8983 0,'-93'0'0,"80"13"0,0-13 15,0 0-15,13 13 0,0 0 16,13-13 0,0 14-16,0-1 15,0-13-15,1 13 16,-1 0-16,0 0 15,-13 1-15,-26 12 16,12-26 0,1 13-16,-13 1 15,13-1-15,-14 0 16,67-26 15</inkml:trace>
  <inkml:trace contextRef="#ctx0" brushRef="#br0" timeOffset="1308.11">22225 8983 0,'40'-14'0,"-40"28"16,0-1 0,0 0-16,0 0 15,0 1-15,-14-14 0,14 13 0,-13 0 16,13 13-16,-13-12 0,0 12 15,0-13-15,13 1 0,-14-14 16,14 13-16,0 0 0,-13-13 16</inkml:trace>
  <inkml:trace contextRef="#ctx0" brushRef="#br0" timeOffset="1428.03">22172 9075 0,'0'-26'0</inkml:trace>
  <inkml:trace contextRef="#ctx0" brushRef="#br0" timeOffset="1549.7">22304 9115 0,'14'13'15,"-1"-13"-15,-13 13 47</inkml:trace>
  <inkml:trace contextRef="#ctx0" brushRef="#br0" timeOffset="2117.92">21656 9551 0,'80'-26'16,"-54"26"-16,53-13 15,-39 0-15,53-1 0,-54 1 16,14 0-16,-13 0 0,105-14 15,-92 1 1,0 12-16,-13 1 0,0 0 0,-1 0 16,1 0-16,-14-14 0,14 14 0,-13-14 15,-1 14-15,1-13 0,-14-1 16,13 1-16,-13-27 0,1 0 16,-14 27-16,0-1 0,0-13 15,-14 1-15,1-1 0,-13 0 16,-14 1-16,-39-28 0,-27 1 15,53 40-15,0 13 0,0-14 16,-13 14-16,0 13 16,-53 0-16,66 0 0,0 13 15,-66 27-15,66-14 0,13 1 16,-26 52-16,26-39 0,27-14 16,0 14-16,13 39 0,0-52 15,13 39-15,0-26 16,14-14-16,26 40 0,-13-26 15,52 0-15,-52-27 16,39 13-16,14-12 16,-54-14-16,-12 0 0,39 0 15,-39 0-15,-1 0 0,-13 0 16,40-14-16,-26 14 16,-14-13-16,0 13 0</inkml:trace>
  <inkml:trace contextRef="#ctx0" brushRef="#br0" timeOffset="14823.12">4220 5662 0,'0'40'16,"13"-27"-16,-13 13 0,0-12 0,0 12 15,14 1-15,-14 39 16,13-27-16,-13-12 0,13-1 0,-13 1 15,0-1-15,13 40 16,-13-52-16,0 39 31</inkml:trace>
  <inkml:trace contextRef="#ctx0" brushRef="#br0" timeOffset="15060.31">4419 5662 0,'0'-26'0,"0"12"16,26 54-1,-13-27 1,-13 14-16,40 52 16,-14-26-1,-12-26-15,-14-1 0,13 0 0,0-12 0,-13 12 16,13-13-16,-13 14 0,0-14 15,14 0-15,-14 0 0,0 1 0,13-1 32</inkml:trace>
  <inkml:trace contextRef="#ctx0" brushRef="#br0" timeOffset="15265.75">4286 6032 0,'-13'0'0,"26"-26"15,14 13 1,-14 0-16,0-1 0,14 14 0,-1-13 16,14-13-1,-14 12-15,1 14 0,-1-13 0,27-13 16</inkml:trace>
  <inkml:trace contextRef="#ctx0" brushRef="#br0" timeOffset="15559.05">4789 5755 0,'-27'13'0,"27"0"16,-13 14-1,26-1 1,-13-13-16,0 1 0,40 12 15,-27-26-15,1 13 16,-1-13-16,13 0 0,-12-13 0,12 13 16,14-26-1,-40 12-15,0 1 16,-14 0-16,14 0 0,-13-1 16,0 1-16,-53-27 15,53 27 1,-1 13-16,1 0 15,0 0 1</inkml:trace>
  <inkml:trace contextRef="#ctx0" brushRef="#br0" timeOffset="15738.83">5120 5649 0,'39'-27'0,"-25"27"0,12-13 0,-13 13 15,14-13 1,-14 13-16,0 0 16,0 0-16</inkml:trace>
  <inkml:trace contextRef="#ctx0" brushRef="#br0" timeOffset="15903.97">5173 5794 0,'13'0'32,"40"-26"-17,-40 26-15,0-13 16,14 13-16,-27-14 0</inkml:trace>
  <inkml:trace contextRef="#ctx0" brushRef="#br0" timeOffset="16431.18">6191 5398 0,'13'13'16,"27"66"15,-40-66-31,13 14 0,1-14 0,-14 0 15,13 14-15,-13-14 0,13 0 16,14 14 0,-27-14-16</inkml:trace>
  <inkml:trace contextRef="#ctx0" brushRef="#br0" timeOffset="16755.28">6469 5384 0,'0'-13'16,"-13"13"0,13 27-16,0-14 0,13 0 15,0 0-15,14 14 16,-14-27-16,40 13 16,-27-13-16,-12 0 15,-1 0-15,0 0 0,0 0 0,1-13 0,-1-1 16,0 1-16,-13 0 15,-13-13 1,13 12-16,-13 1 0,-1 0 0,1 0 0,0-1 16,0 14-1,-40-26-15,26 13 16,40 13 15</inkml:trace>
  <inkml:trace contextRef="#ctx0" brushRef="#br0" timeOffset="17006.84">6760 5226 0,'27'52'0,"-14"-52"16,-13 14-16,53 12 15,-40-26-15,0 0 0,0-13 16,1 13-16,-1 0 0,-13-13 15,13-1-15,-13-12 16,0 0-16,0 12 0,0 1 16,0-13-16,-26-14 15,12 27-15,14-1 0,-13 1 16,-27 13-16,14 0 16,-40 40-1,39-14-15,-12 1 0</inkml:trace>
  <inkml:trace contextRef="#ctx0" brushRef="#br0" timeOffset="17640.99">5067 6218 0,'251'-27'0,"-171"1"0,316-67 0,-237 53 16,291-92-1,-291 79-15,-14 14 0,14-14 16,-14 13-16,-12 0 0,-14-13 0,13 14 16,-26-14-16,0 13 0,0-13 15,-27 14-15,14-14 0,-27 0 0,-13 13 16,0-13-16,-14 13 0,1-13 15,0 1-15,-14-15 0,1 14 0,-14 1 16,0-1-16,0 0 0,-26 13 16,-13-66-16,-1 53 0,-26 14 15,0-1-15,0 0 0,-26 1 0,-14-1 0,1 13 16,-27-12-16,13 12 0,-13 14 16,-14-13-16,14 12 0,-13 1 0,0 0 15,-14 13-15,1-13 0,-1 26 0,-12-13 16,12 13-16,0 0 15,-12 14-15,12-14 0,-13 27 0,14-1 16,-1 1-16,14 0 0,-13 13 0,-1 13 16,14-13-16,13 13 0,-14 13 15,14-13-15,14 27 0,-1-14 0,13 14 16,1 0-16,12-1 0,14 1 16,0 13-16,13-1 0,-40 107 0,54-106 15,12 0-15,1-14 0,26-12 16,-14-1-16,28 80 0,-1-93 15,13 0-15,1-13 0,-1 0 16,27-13-16,0-1 0,0 1 16,13-27-16,14 14 0,-1-14 0,0-13 15,1 0-15,12 0 0,1-13 0,26-14 16,-13 1-16,0-1 0,-1-12 16,1-1-16,0 14 0,0-27 0,0 13 15,-14 14-15,1-14 0,-27 0 16,27 0-16,-27 14 0</inkml:trace>
  <inkml:trace contextRef="#ctx0" brushRef="#br0" timeOffset="21964.27">4895 7501 0,'0'26'16,"13"27"-1,-13-26 1,0-1-16,13 14 0,-13 0 0,0-14 15,13 1-15,-13-1 0,0 67 16,14-67-16,-14 1 16,0-14-16,0 13 0,0-13 0,0 1 15,0-1 1</inkml:trace>
  <inkml:trace contextRef="#ctx0" brushRef="#br0" timeOffset="22167.12">5054 7527 0,'0'-26'16,"13"52"-16,0 27 16,-13-39-16,13 12 0,-13 14 0,13-14 15,1 54 1,-1-54-16,0 40 15,0-53-15,-13 1 0,0-1 0,0 0 16</inkml:trace>
  <inkml:trace contextRef="#ctx0" brushRef="#br0" timeOffset="22373.12">4842 7898 0,'0'-13'0,"0"-1"16,13 14-1,0 0-15,1 0 0,-1 0 16,0 0-16,0-13 0,14 13 0,-14 0 0,13 0 16,-12 0-16,39 0 15</inkml:trace>
  <inkml:trace contextRef="#ctx0" brushRef="#br0" timeOffset="22702.92">5490 7739 0,'-66'13'0,"53"-13"0,0 14 15,-27-1 1,27 0-16,-1 0 0,1 0 15,26 1 17,14-28-32,-14 1 15,0 13-15,14-26 16,-14 26-16,0 0 16,0 0-16,1 0 15,-14 13-15,13 0 16,-13 14-1,13-1-15,0-13 16,1 1-16,-1-1 0,13 0 16,-13-13-16,1 13 15</inkml:trace>
  <inkml:trace contextRef="#ctx0" brushRef="#br0" timeOffset="23159.26">6773 7369 0,'-92'53'0,"-14"26"16,79-53-16,-12 14 15,-41 13-15,14 0 16,40-27-16,13-12 0,-1-1 15,1 0-15,0-13 0,13 13 16,0 1-16,0-1 16,13 0-16,0-13 0,1 13 0,52 0 31,-40-13-31,1 0 0,-1 0 0,1 0 0,39-13 16,-27 13-16,-12 0 15,-1-13-15,1 13 0,-1 0 16,1-13-16,-14 13 0,13-13 0,-12 13 0,-1 0 15,26-27-15</inkml:trace>
  <inkml:trace contextRef="#ctx0" brushRef="#br0" timeOffset="23372.67">7091 7369 0,'0'-27'0,"-13"54"15,13-14 1,-14 0-16,14 0 0,0 14 16,-13-14-16,13 13 0,-13 1 0,13-14 15,0 14-15,-13-1 0,13 1 0,-14-1 16,14 0-16,0-12 16,0-1-16,14-13 0,-14 13 15,13-13-15</inkml:trace>
  <inkml:trace contextRef="#ctx0" brushRef="#br0" timeOffset="23703.5">7329 7408 0,'-53'0'0,"40"14"15,0-1-15,-1 13 16,1-13-16,13 14 0,0-14 0,-13 0 15,26 14-15,-13-14 0,0 0 0,13-13 16,1 14-16,-1-1 0,13-13 16,-13 13-16,14-13 0,-1-13 15,-12 13-15,-1 0 0,13-13 16,-12 13-16,-14-14 0,13 14 16,-13-13-16,13 0 0,-13 0 0,0-1 15,-13 1-15,13 0 0,-13 0 16,13-1-16,-27 1 0,14 0 0,0 0 15,-1 0-15,1 13 16,0 0 0,26-14-1</inkml:trace>
  <inkml:trace contextRef="#ctx0" brushRef="#br0" timeOffset="23952.12">7474 7461 0,'0'40'0,"0"-27"0,0 0 15,14-13-15,-14 14 0,39 12 16,-25-26 0,-1 13-16,0-13 0,0 0 15,1-13-15,12 13 0,-13 0 0,0-13 16,14 0-16,-14-1 16,-13 1-16,13-13 0,-13 12 0,14 1 15,-14 0-15,0-13 0,-14 12 0,14 1 16,0-13-16,-13 12 0,0 1 15,0 13-15,13-13 0,-14 13 16,1 0-16,-26 13 0,-1 0 16,0 14-16,-13-14 0,0 14 15,0-1-15</inkml:trace>
  <inkml:trace contextRef="#ctx0" brushRef="#br0" timeOffset="24472.08">6125 8136 0,'13'26'0,"14"-12"16,-1-14-16,27 0 0,0 0 15,26 0-15,1 0 0,12-14 16,1 1-16,39 0 0,1-14 0,-1 14 16,-13-13-16,13-1 0,-13-12 15,252-54-15,-252 53 16,-13 14-16,-14-14 0,80-26 15,-106 40-15,1-14 0,-15 13 16,41-52-16,-53 39 16,26-52-16,-53 52 0,14-92 15,-27 79-15,-27-66 16,1 53-16,-1 13 16,-26 0-16,0-13 0,-13 0 15,-13 13-15,-106-40 0,66 53 0,13 1 16,-13 12-16,-27 1 0,1 13 15,-14-1-15,0 14 0,-185 14 16,159-1-16,0 13 0,13 14 0,-53 13 16,13 0-16,1 13 15,25 13-15,41-26 0,-40 40 0,-106 92 16,171-106-16,15 14 0,-1 0 16,13-1-16,1 1 0,12 13 15,-39 79-15,80-106 0,12 1 16,27-14-16,0 0 0,13-13 0,1 13 15,78 27-15,67-14 16,-53-53-16,13-12 16,13-1-16,159-26 0,-159-1 15,27-12-15,13-1 0,-13-12 0,13-1 16,145-53-16</inkml:trace>
  <inkml:trace contextRef="#ctx0" brushRef="#br0" timeOffset="24968.96">10134 6244 0,'-106'80'16,"66"-41"-16,0 1 0,1 26 16,-67 80-16,53-67 0,-40 80 15,-13 13-15,1 0 16,65-106-16,0 0 15,-13 53-15,0-26 16,40-67-16,-13 40 0,26-53 16,-13 14-16,-1-27 15,1 0-15,0 0 0,-14-13 16</inkml:trace>
  <inkml:trace contextRef="#ctx0" brushRef="#br0" timeOffset="25247.79">8308 6403 0,'450'93'16,"-331"-54"-16,-13 1 15,13 13-15,0 0 0,119 53 16,-119-54-16,0 1 0,0 0 15,0 0-15,93 40 0,-106-53 16,-1-1-16,-25 1 0,-1-14 16,40 27-16,-13-13 15,-79-27-15,-1 0 0,0 1 0,-12-14 16,-1 13-16,0-13 0</inkml:trace>
  <inkml:trace contextRef="#ctx0" brushRef="#br0" timeOffset="32275.09">6919 5054 0,'-13'-14'15,"-14"28"-15,27-1 16,-13-13-16,0 26 0,13-13 16,-14 14-16,14-14 0,-13 0 15,13 27 1,-13-13-16,13-14 0,13 13 31,-13-13-31,27 1 16,-14-14-16</inkml:trace>
  <inkml:trace contextRef="#ctx0" brushRef="#br0" timeOffset="35559.68">8202 8414 0,'13'26'15,"-13"-13"-15,14 1 0,-14-1 16,13 40-16,0 0 16,0-14-16,-13-12 15,13-1-15,-13 1 0,14-1 16,-14 14-16,13-27 0,-13 14 15,0-14-15,0 0 0,13 0 16,-13 1-16,0-1 16</inkml:trace>
  <inkml:trace contextRef="#ctx0" brushRef="#br0" timeOffset="35871.96">8242 8348 0,'-80'53'16,"67"-40"-1,-13 13-15,-14 27 16,14-13 0,-1 13-16,14-40 15,0 13-15,13 1 16,0-14 0</inkml:trace>
  <inkml:trace contextRef="#ctx0" brushRef="#br0" timeOffset="36084.04">8096 8401 0,'40'0'16,"-14"0"-1,-12 0-15,-1 0 0,27 13 16,-14-13-1,0 13-15,-12-13 0,-1 0 16,13 13-16,-12-13 16,-1 0-16,13 0 15,-26 13-15</inkml:trace>
  <inkml:trace contextRef="#ctx0" brushRef="#br0" timeOffset="44787.94">18878 7170 0,'0'-13'0,"0"39"47,0-12-47,0-1 15,-13 132 1,13-105-16,0 0 0,-13 13 0,13-14 16,0 14-16,0-13 0,-14 0 0,14-1 15,0 1-15,-13 0 16,13-1-16,0-25 0,0 12 0,0 1 0,0-14 15,0 13-15,0-12 0,0-1 16,0 0-16,13 0 16,-13 0-16,0 1 15,14-14-15,-14 13 0,26-13 16,-13 0-16,14 0 0,-14 0 16,13 0-16,1-13 0,13 13 0,-1 0 15,14-14-15,-13 14 0,13 0 0,0-13 16,0 13-16,13-13 0,0 13 15,13 0-15,1-13 0,-1 13 16,0 0-16,1-13 0,12 13 0,94 0 16,-81 0-16,-12 0 15,0 0-15,12 0 0,-12 0 0,105 0 16,-92 0-16,-13 13 0,0-13 16,-1 0-16,1 0 0,-14 0 15,14 13-15,-14-13 0,14 0 0,-14 13 16,0-13-16,-12 13 0,-1-13 0,0 0 15,40 14-15,-53-14 16,0 13-16,-1-13 0,1 13 0,-13-13 16,13 0-16,-13 0 0,-14 13 0,1-13 15,-1 0-15,0 0 0,1 14 16,-14-14-16,14 0 0,-14 0 0,0 13 16,0-13-16,14 0 0,-14 0 15,0 0-15,14 0 0,-14 0 16,0 13-16,14-13 0,-14 0 0,0 0 15,0 0-15,1 0 0,-1 0 0,0 0 16,0 0-16,0 0 0,1 0 0,-1 0 16,0 0-16,0 0 15,1 0-15,-1 0 16,0 0-16,-13-13 16,13 13-16,1-13 15,-1-1-15,0 1 16,-13 0-16,13-14 0,14-25 15,-1 12-15,-13 0 16,14-13-16,-1 0 0,1 0 16,26-66-16,-27 66 0,-13 0 15,53-66 1,-52 93-16,-14-1 0,13 14 0,-13 0 16,13 0-16,-13 0 0,0-1 0,-13 1 31,0 26-16,-1-13-15,14 14 0,-13-14 0</inkml:trace>
  <inkml:trace contextRef="#ctx0" brushRef="#br0" timeOffset="45774.92">19076 7038 0,'0'-13'15</inkml:trace>
  <inkml:trace contextRef="#ctx0" brushRef="#br0" timeOffset="45925.93">19076 7117 0</inkml:trace>
  <inkml:trace contextRef="#ctx0" brushRef="#br0" timeOffset="65313.89">10332 1971 0,'0'27'16,"13"-1"0,-13-13-16,0 1 15,0-1-15,0 13 0,0-13 0,0 1 16,0 12-16,0-13 0,0 1 0,0-1 15,0 13-15,0-13 0,13 1 16,-13-1-16,0 0 0,0 0 16</inkml:trace>
  <inkml:trace contextRef="#ctx0" brushRef="#br0" timeOffset="65714.87">10557 1998 0,'-13'-14'0,"-14"41"16,27-14-16,0 0 0,0 1 0,0-1 15,0 0-15,13 0 16,-13 0-16,0 1 0,14-1 0,-1 0 15,-13 0-15,13-13 0,0 14 0,1-14 16,-1 0-16,0 13 0,0-13 16,-13-13-16,13 13 0,1 0 0,-1 0 15,0-14-15,0 1 0,1 0 16,-14 0-16,13-1 16,-13 1-16,13 0 0,-13 0 0,0 0 15,0-1-15,0 1 0,-13 0 16,13 0-16,0-1 15,-13 14-15,-1-13 0,1 13 16,0 0 0,0 0-1</inkml:trace>
  <inkml:trace contextRef="#ctx0" brushRef="#br0" timeOffset="66004.06">10782 1892 0,'13'26'0,"0"-13"16,0 27-1,1-40-15,-1 13 16,0 1-16,0-14 16,14 0-16,-14 0 15,0 0-15,1-14 16,-1 1-16,0 0 15,-13 0-15,0-1 0,0 1 16,-13-13-16,0 13 0,13-1 0,-14 14 16,1-13-16,0 0 0,0 13 15,-1-13-15,1 13 0,-13 13 0,12-13 16,-12 13-16,0 0 0,-1 14 0,-13-14 16,14 13-16,-1 1 15,-25 13-15</inkml:trace>
  <inkml:trace contextRef="#ctx0" brushRef="#br0" timeOffset="66432.47">10054 2315 0,'27'-13'16,"-27"0"-1,13 13-15,0-14 16,0 14-16,1 0 16</inkml:trace>
  <inkml:trace contextRef="#ctx0" brushRef="#br0" timeOffset="66589.24">10054 2421 0,'53'-13'31,"-40"-1"-31,1 14 0,-1-13 0</inkml:trace>
  <inkml:trace contextRef="#ctx0" brushRef="#br0" timeOffset="70335.05">10226 2897 0,'0'-13'32,"13"0"-32,1 13 15,12 0-15,-13 0 0,1-13 16,12 13-16,-13 0 0,14 0 15,-1 0-15,-13 0 0,54 0 16,-54 0-16,0 0 16,0 0-16,0 0 0,1 0 15,-14 13-15,13-13 0,-13 13 16,0 0-16,0 14 0,-13-14 16,13 13-16,-27 14 0,27-14 15,-13 1-15,0-14 0,0 14 16,13-14-16,-14 0 0,1 0 0,13 14 15,-13-14-15,13 0 0,-13-13 16,13 13-16,0 1 0,0-1 16</inkml:trace>
  <inkml:trace contextRef="#ctx0" brushRef="#br0" timeOffset="70596.13">10782 2712 0,'26'40'16,"-26"-27"-16,13 0 0,-13 0 15,0 1-15,14 12 16,-14-13-16,0 1 0,0 12 0,0-13 0,13 0 16,-13 1-16,0-1 15,0 0-15,0 0 0,13 1 0,-13-1 16</inkml:trace>
  <inkml:trace contextRef="#ctx0" brushRef="#br0" timeOffset="70967.14">11007 2738 0,'0'0'16,"0"27"15,13-1-15,0-12-16,-13-1 15,13-13-15,1 13 0,-1-13 0,13 0 16,-26 13-16,27-13 16,-14-13-16,0 13 15,0 0-15,-13-13 0,14 13 16,-14-13-16,0-14 16,0 14-16,0 0 0,-14-1 15,1 1-15,13 0 16,-13 13-16,13-13 0,-13 0 15,-1-1-15,1 14 16,0-13 0,26 0-1,0 13-15</inkml:trace>
  <inkml:trace contextRef="#ctx0" brushRef="#br0" timeOffset="71213.09">11258 2593 0,'40'26'0,"-40"-12"0,26-1 16,-13-13-1,14 0-15,-14 0 0,0 0 16,1 0-16,-1 0 0,0-13 16,0 13-16,-13-14 0,13 14 15,-13-13-15,14-13 16,-14 12-16,0 1 0,0-13 15,-14 13-15,14-1 0,-13 1 0,-13 0 16,-1 13 0,1 0-16,13 0 0,-14 0 0,1 0 15,-1 13-15,1-13 0</inkml:trace>
  <inkml:trace contextRef="#ctx0" brushRef="#br0" timeOffset="71784.17">8797 2500 0,'14'27'32,"-14"-14"-17,13 0-15,-13 14 0,13-1 0,0-13 16,-13 14-16,14 13 0,-1-14 0,0 14 16,0-27-16,-13 13 0,0-12 15,13 12-15,-13-13 16,14 1-16,-14-1 0,0 0 0,13-13 0,-13 13 15</inkml:trace>
  <inkml:trace contextRef="#ctx0" brushRef="#br0" timeOffset="72008.5">8983 2461 0,'-14'-27'0,"28"67"31,-14-27-15,13 0-16,-13 1 0,26 52 15,-12-13 1,12-14-16,-13 1 16,0-14-16,-13-12 0,14 25 15</inkml:trace>
  <inkml:trace contextRef="#ctx0" brushRef="#br0" timeOffset="72475.38">8890 2791 0,'13'-26'16,"0"13"-16,14-1 0,-14 1 16,14 13-16,12-26 15,-25 13-15,38-14 16,-25 14-16,-14 0 0,14-1 0,-1-12 16,-13 13-16,1 13 15,12-27 1,-13 14-16,0 13 15,1 0 1,-1 13 0,0-13-16,0 0 15,1 13 1,-1-26-16,0 13 0,0 0 16,0-13-16,1 13 15,-14-13-15,0 0 16,-14-1-16,14 1 0,-13 13 15,13-13-15,-13 13 0,0 0 16,13-13-16,-13 13 0,-1 0 0,-12 13 16,13 0-16,-1 0 15,1-13-15,13 14 0,-13-1 16,0 13-16,0-13 0</inkml:trace>
  <inkml:trace contextRef="#ctx0" brushRef="#br0" timeOffset="72900.97">9168 3241 0,'0'40'0,"13"-27"16,0 14-16,1-1 0,-14-13 0,13 14 16,0-14-16,0 13 0,-13-12 15,27 12-15,-27 0 16,13-12-16,0-14 0,0 26 15</inkml:trace>
  <inkml:trace contextRef="#ctx0" brushRef="#br0" timeOffset="73109.7">9393 3149 0,'0'-14'16,"13"41"15,0-14-31,14 40 16,-14-40-16,0 14 15,0-14-15,1 27 0,-1-27 16,0 0-16,-13 0 0,13 0 16,-13 1-16</inkml:trace>
  <inkml:trace contextRef="#ctx0" brushRef="#br0" timeOffset="73317">9247 3440 0,'13'-40'16,"1"40"-16,25-13 15,1-14-15,-14 14 0,1 0 16,-1 13-16,27-27 16,-13 14-16</inkml:trace>
  <inkml:trace contextRef="#ctx0" brushRef="#br0" timeOffset="73632.89">9697 3175 0,'-26'-13'0,"52"26"15,-66-13-15,14 0 16,13 13-16,-1 0 0,1-13 16,0 14-16,13-1 15,-13-13 1,26 13-16,0-13 16,0 0-1,14 0 1,-14 0-1,-13 13-15,13-13 0,1 0 16,-14 14-16,13-14 16,0 0-16,0 13 15,0-13-15,14 13 32,-1-13-17,-12 0-15</inkml:trace>
  <inkml:trace contextRef="#ctx0" brushRef="#br0" timeOffset="76556.17">15624 463 0,'66'410'15,"-53"-331"-15,0-12 0,0-1 16,14 0-16,-14 0 0,0-13 16,1 13-16,-1-13 0,0-13 0,-13-1 0,13 1 15,-13-13-15,14-1 16,-14 1-16,0-14 0,13 0 0,-13 13 15,0-12-15,0-1 16</inkml:trace>
  <inkml:trace contextRef="#ctx0" brushRef="#br0" timeOffset="76938">15266 1363 0,'120'-14'15,"-81"14"-15,41-13 0,78-13 16,-65 12-16,132-12 15,-106 0-15,13 12 0,-13-12 16,133-27-16,-120 40 0,0-14 16,-13 1-16,0-1 0,0 1 15,80-1-15,-107 1 0,1 13 0,66-14 16,-93 14-16,13 0 16,-26 13-16,53-27 15,-66 27-15,-1-13 0,-12 13 0,-14 0 16,27-13-16,-27 13 15,0 0-15,-13-13 16,-26 13 0,-1-14-16</inkml:trace>
  <inkml:trace contextRef="#ctx0" brushRef="#br0" timeOffset="78919.72">15888 1164 0,'13'-13'16,"1"13"-1,-1-13 1,0 13-16,0-14 0,1 14 16,-14-13-16,13 13 15,-13-13-15,13 13 0,-13-13 0,13 0 16,1 13-16,-14-14 15,13 1-15,0 0 0,-13 0 16,13-1-16,-13 1 16,13 0-16,1-14 0,-14 14 15,13 0-15,-13 0 0,13-14 16,0 14-16,-13 0 16,14 0-16,-14-1 0,13 1 15,-13 0-15,0 0 16,13 13-16,-13-13 0,13-1 0,-13 1 15,13 0-15,-13 0 16,14-1-16,-14 1 0,13 0 16,0 0-16,0-1 15,-13 1-15,14 0 16,-14 0-16,13 0 0,-13-1 16,13 14-16,-13-13 0,13 0 15,1 0-15,-1-1 16,-13 1-16,13 13 15,-13-13-15,13 0 0,0-1 16,1 1-16,-1 0 16,0 0-16,-13 0 0,13 13 15,-13-14-15,14 14 0,-14-13 0,13 13 16,0-13-16,0 0 16,1-1-16,-14 1 0,13 13 15,0-13-15,0 0 16,0 13-16,1 0 0,-14-13 15,13 13-15,0-14 0,0 14 0,1-13 16,-1 0-16,0 13 16,0 0-16,14-13 0,-14-1 15,13 1-15,-12 13 16,-1 0-16,0-13 0,0 13 16,14 0-16,-27-13 0,13 13 15,0 0-15,1-14 0,-1 14 16,0 0-16,0-13 15,0 13-15,1 0 0,-1 0 16,0 0-16,0 0 0,1 0 16,-1 0-1,0 13-15,0-13 0,0 0 0,14 14 16,-14-14-16,0 13 16,1-13-1,-1 13-15,0-13 0,-13 13 16,13-13-16,1 14 15,-1-14-15,0 13 0,0-13 16,-13 13-16,13 0 16,1-13-16,-14 14 15,13-1-15,0-13 0,0 13 16,1 0-16,-1-13 16,0 13-16,0 1 15,1-1-15,-1-13 16,-13 13-16,13-13 15,0 13-15,0-13 16,-13 14-16,14-14 0,-1 13 0,0-13 16,0 13-16,1-13 15,-1 13-15,0-13 16,0 0-16,-13 13 0,13-13 16,1 0-16,-1 14 15,0-14-15,-13 13 0,13-13 16,1 0-16,-1 13 0,0-13 15,0 0-15,1 13 16,-1-13-16,13 14 16,-13-14-16,1 13 15,-1-13-15,0 0 0,0 13 16,1-13-16,-1 0 0,0 0 16,0 0-16,1 13 0,-1-13 15,0 0-15,0 14 0,0-14 16,1 0-16,-1 0 0,0 0 0,14 13 15,-14-13 1,0 0-16,0 0 0,1 0 16,-1 0-16,0 0 15,0 0-15,0 0 16,1 0 0,-41-13 30,14 13-30</inkml:trace>
  <inkml:trace contextRef="#ctx0" brushRef="#br0" timeOffset="79452.94">17449 556 0,'0'-14'16,"13"54"-1,-13-27-15,0 1 0,14 12 16,-1 27 0,-13-27-16,13 1 0,-13-14 0,13 14 15,-13-14-15,14 13 0,-14-13 16,0 1-16,13-1 0,-13 0 0,0 0 15,0 14-15,13-27 16,-13 13-16,0 0 0,0 0 16,13-13-1</inkml:trace>
  <inkml:trace contextRef="#ctx0" brushRef="#br0" timeOffset="79691.81">17754 635 0,'-14'26'31,"14"1"-31,-13-14 16,-13 27-1,26-27-15,-14 0 0,14 14 16,-13-14-16,0 0 0,13 0 16,0 1-16</inkml:trace>
  <inkml:trace contextRef="#ctx0" brushRef="#br0" timeOffset="79919.97">17873 675 0,'0'26'31,"0"-13"-31,-14 14 16,14-14-1,-13 14-15,0-14 16,13 0-16,-13 0 0,13 0 15,0 1-15</inkml:trace>
  <inkml:trace contextRef="#ctx0" brushRef="#br0" timeOffset="80107.71">17978 701 0,'0'13'15,"-13"27"1,13-27 0,0 1-16,-13-1 0,13 0 15,-13 0-15,13 0 16,-13 1-16,13-1 16</inkml:trace>
  <inkml:trace contextRef="#ctx0" brushRef="#br0" timeOffset="80280.25">18031 741 0,'0'26'16,"0"-12"0,0-1-16,-13 0 0,13 0 15,-13 14 1,13-14-16,-13 0 0,13 0 15,-14-13-15</inkml:trace>
  <inkml:trace contextRef="#ctx0" brushRef="#br0" timeOffset="80640.77">17621 648 0,'-26'66'16,"13"-52"-16,-1 25 15,14-25-15,-13-1 0</inkml:trace>
  <inkml:trace contextRef="#ctx0" brushRef="#br0" timeOffset="80866.83">17634 582 0,'-13'40'16,"0"13"-16,13-40 16,0 0-16,-13 27 15,13-27-15,-13 27 16,13-27-16,-14 0 0,14 0 0,0 1 16</inkml:trace>
  <inkml:trace contextRef="#ctx0" brushRef="#br0" timeOffset="81052.55">17740 661 0,'0'0'16,"0"27"0,-13-14-16,13 0 15,-13 14-15,0-1 16,13 1-16,-14 12 0,1-25 0,13-1 15,-13 0-15,13 0 16,0 14-16</inkml:trace>
  <inkml:trace contextRef="#ctx0" brushRef="#br0" timeOffset="81232.63">17912 741 0,'-26'53'16,"26"-40"-16,-27 40 31,14-40-31,0 14 0,13-14 16</inkml:trace>
  <inkml:trace contextRef="#ctx0" brushRef="#br0" timeOffset="81407">18018 767 0,'0'27'16,"-13"-14"-16,13 0 0,0 0 15,-13 1-15,13-1 0,0 0 16,0 0-16,-14-13 0,14 14 15</inkml:trace>
  <inkml:trace contextRef="#ctx0" brushRef="#br0" timeOffset="83748.78">12197 3413 0,'27'-13'16,"-14"13"-16,0 0 0,0 0 15,14 0-15,13 13 16,-27 0-16,-13 1 0,13-1 16,0 13-16,0 14 15,-13-27-15,0 14 0,-13-14 0,13 13 16,0-12-16,-13 12 16,0-13-16,13 0 0,0 1 15</inkml:trace>
  <inkml:trace contextRef="#ctx0" brushRef="#br0" timeOffset="83938.99">12382 3479 0,'-13'27'0,"13"-14"0,0 0 16,13 27-1,1-27-15,-1 0 16,0-13-16,0 14 0,1-14 15,-1 0-15,13 0 0,-12 0 16,-1 0-16,0-14 0,13 14 0,-12 0 16,-1-13-16</inkml:trace>
  <inkml:trace contextRef="#ctx0" brushRef="#br0" timeOffset="84660.33">12541 4128 0,'-26'13'0,"13"0"15,-1-13-15,1 0 16,0-13 0,0-14-16,13 14 15,0 0-15,13 0 0,-13-1 16,13-12-16,0 13 0,1-1 0,-1-12 16,13 0-16,1 12 0,-1-12 15,14 13 1,-14-1-16,14 1 15,-27 0-15</inkml:trace>
  <inkml:trace contextRef="#ctx0" brushRef="#br0" timeOffset="85972.11">12568 4882 0,'0'13'16,"13"-40"0,-13 14-1,13 0-15,-13-14 0,13 1 16,-13-1-16,0-12 0,14-1 16,-14 27-16,0 0 15,0-1-15,0 1 16,13 40 15,-13-14-31,0 0 0,0 0 16,40 27-1,-27-40 1,0-13-16,13 0 0,-12-1 16,12-12-16,-13-14 15,1 40-15,-14-13 0,13 0 16,0 0-16,0 13 15,1 13-15,-1-13 16,0 13 0,13 0-16,-12-13 0,-14 13 15,26-13-15,-13 0 16</inkml:trace>
  <inkml:trace contextRef="#ctx0" brushRef="#br0" timeOffset="86262.84">13137 4432 0,'13'-27'0,"13"1"16,-13 26-1,1-13-15</inkml:trace>
  <inkml:trace contextRef="#ctx0" brushRef="#br0" timeOffset="86404.05">13189 4498 0,'0'0'31,"27"-13"-31,-14-1 16,0 14-16,1-13 15,-1 13-15</inkml:trace>
  <inkml:trace contextRef="#ctx0" brushRef="#br0" timeOffset="88499.03">12594 2990 0,'13'-13'15,"1"13"-15,-1-14 0,0 14 0,0-13 16,1 13-16,12-13 16,0 13-16,-12-13 0,12 13 0,-13 0 15,14 0-15,13 0 0,-27 13 0,40 13 16,-27 1-16,1-1 15,12 40-15,14 14 16,0 26-16,-26-40 16,-1-13-16,0 0 0,54 79 15,-40-66-15,12 13 0,28 54 16,-40-80-16,52 52 0,-39-25 16,0-40-16,-13 12 15,13 1-15,-1-13 0,1 13 0,27 40 16,-41-54-16,1 1 0,-13 0 15,-1-14-15,1 1 16,-14-1-16,0 14 0,0-27 0,0 13 0,-13-12 16,14 12-16,-14-13 15,0 0-15,13 1 0,-13-1 0,0 0 16,0 0-16,-13 1 16,13-1-1</inkml:trace>
  <inkml:trace contextRef="#ctx0" brushRef="#br0" timeOffset="88996.56">13070 5331 0,'-13'27'0,"13"-14"16,0 0-16,13 27 16,1-27-16,-1 0 15,-13 1-15,13-14 16,0-14 0,1-12 15,-1 13-31,-13 0 0,13 13 15,0-14-15,14 14 16,-14 0 0,27 0-1,-14 0-15,-13 0 16,1 0-16,12-13 16</inkml:trace>
  <inkml:trace contextRef="#ctx0" brushRef="#br0" timeOffset="89148.44">13414 5146 0,'14'-26'0,"-14"12"0,13 1 16,0 0-1,0 0 1</inkml:trace>
  <inkml:trace contextRef="#ctx0" brushRef="#br0" timeOffset="89303.79">13454 5212 0,'0'14'16,"27"-41"-1,-14 27-15,-13-13 0,13 13 16,0-13-16,-13-1 0,13 1 0,1 13 15,-1-13-15,-13 0 0,13-1 0,0 1 16,-13 0-16,14 0 0</inkml:trace>
  <inkml:trace contextRef="#ctx0" brushRef="#br0" timeOffset="91534.96">22900 6615 0,'13'92'0,"-13"-79"0,0 1 0,0-1 15,0 13-15,0 1 0</inkml:trace>
  <inkml:trace contextRef="#ctx0" brushRef="#br0" timeOffset="91759.99">23217 6998 0</inkml:trace>
  <inkml:trace contextRef="#ctx0" brushRef="#br0" timeOffset="91896.03">23376 7038 0,'0'13'0</inkml:trace>
</inkml:ink>
</file>

<file path=ppt/ink/ink20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08:15.240"/>
    </inkml:context>
    <inkml:brush xml:id="br0">
      <inkml:brushProperty name="width" value="0.05292" units="cm"/>
      <inkml:brushProperty name="height" value="0.05292" units="cm"/>
      <inkml:brushProperty name="color" value="#0070C0"/>
    </inkml:brush>
  </inkml:definitions>
  <inkml:trace contextRef="#ctx0" brushRef="#br0">9948 4987 0,'-26'0'16,"13"0"-16,52 0 31,27 14-15,-26-14-16,0 0 0,13 0 0,13 0 15,79 0-15,-65-14 16,-1 14-16,1 0 0,-1 0 0,0 0 16,1 0-16,-27 0 0,13-13 0,40 13 15,-54 0 1,-12 0-16,0 0 0,-14 0 0,1 0 0,-14 0 16,27 0-16,-27 0 15,0 0-15,0 0 16,1 13-16,-1-13 0</inkml:trace>
  <inkml:trace contextRef="#ctx0" brushRef="#br0" timeOffset="484.25">10993 5120 0,'67'0'0,"-28"0"0,54 0 16,-27 0-16,-13-14 0,26 14 0,-13 0 15,14-13-15,-14 13 16,13 0-16,93-13 0,-119 13 16,0 0-16,27-13 0,-54 13 15,0 0-15,1 0 0,-14 0 0,27 0 16,-27 0-16,14 0 31,-14 0-31</inkml:trace>
  <inkml:trace contextRef="#ctx0" brushRef="#br0" timeOffset="29466.3">8004 7911 0,'-27'0'15,"14"-13"1,39 13 0,14-13-1,-27 13-15,1 0 16,-1-14-16,40 14 15,-40-13-15,0 13 0,0 0 0,1 0 0,-1 0 16,13 0-16,-12 0 16,-14 13-1,13 1-15,-13-1 0,13 40 32,-13-40-32,0 40 0,0-27 0,0 1 15,0-1-15,13 1 0,-13-1 0,0 1 16,0 26-16,0-14 15,0-12-15,0-14 0,-13 13 16,13 1-16,-26 26 16,-1-40-16,1 13 15,-1-12-15,14-1 0,-14 0 0,-12 0 16,12 1-16,-65-1 16,65 0-16,-65 0 15</inkml:trace>
  <inkml:trace contextRef="#ctx0" brushRef="#br0" timeOffset="30240.79">6945 8758 0,'40'-14'16,"-14"14"-1,1 0-15,-14 0 0,14 0 0,-1 0 16,14-13-16,39 13 16,-52 0-16,12 0 0,-26 0 0,14 0 15,-14 13-15,0-13 0,1 0 16,-14 14-16,13-14 0,0 13 0,0 27 15,-13-27 1,14 0-16,-1 53 16,-13-53-16,13 14 0,-13-1 15,26 41-15,-26-54 16,14 13-16,-14 1 0,39 52 31,-25-39-31,-1-1 0,-13-25 16,13-1-16,-13 0 0,13 40 15,-13-40 1,0 0-16,0 1 0,0-1 16,0 0-16,-13-13 0,13 13 15,0 1-15,-13-1 0,0-13 0,13 13 16,-27 0-16,14-13 0,0 14 16,-1-1-16,1-13 0,0 13 0,-13 13 15,-1-12-15,14-1 16,-27 13-16,27-26 15,-14 14-15</inkml:trace>
  <inkml:trace contextRef="#ctx0" brushRef="#br0" timeOffset="32248.65">15200 9882 0,'119'-13'0,"-66"13"0,0 0 15,0 0-15,27 0 0,-14 0 16,13-13-16,159 13 16,-172 0-16,14 0 0,-14 0 15,-13-14-15,0 14 0,92 0 16,-118 0-16,-1 0 16,1 0-16,-14 0 0,13 0 0,-13 0 15,1 0-15,-1 0 16,0 0-16</inkml:trace>
  <inkml:trace contextRef="#ctx0" brushRef="#br0" timeOffset="32896.04">15809 11020 0,'145'13'0,"-92"-13"0,0 13 0,53-13 15,-53 0-15,13 0 16,-13 0-16,0 0 0,13 14 16,146-14-1,-186 0-15,14-14 0,-27 14 16,40 0-16,-40-13 15,1 13-15,-1 0 0,0-13 0,0 0 16,0 13-16,14-40 16,-27 27-16</inkml:trace>
  <inkml:trace contextRef="#ctx0" brushRef="#br0" timeOffset="33530.92">16484 9644 0,'-14'-13'0,"1"13"0,26 26 31,27-26-15,-14 14-16,1-14 0,-1 13 0,14 0 16,-13 0-16,78 14 15,-78-14-15,-1-13 0,-12 13 16,-1 0-16,13 27 16,-13-27-16,-13 14 0,-13-1 15,-53 80 1,26-66-16,-13-1 0,14 1 0,-1 0 15,0-1-15,-79 81 16,93-54-16,-1-13 16</inkml:trace>
  <inkml:trace contextRef="#ctx0" brushRef="#br0" timeOffset="34152.58">16788 10795 0,'26'13'16,"-12"-13"-16,52 13 15,-40 1-15,14-14 0,-1 13 16,14 0-16,93 14 16,-120-14-16,27 13 15,-39-12 1,-1-14-16,0 13 0,-13 0 0,13 0 0,-26 0 16,-27 40-1,14-26-15,-14 12 0,-13 1 16,-39 13-16,52-13 0,-13-1 0,13-12 15,-92 66 1,92-67-16,14 14 0,-1-14 16,-12 1-16,26-1 0</inkml:trace>
  <inkml:trace contextRef="#ctx0" brushRef="#br0" timeOffset="65235.02">5861 11298 0,'-27'0'0,"14"0"16,53 0-1,-14 0-15,0 0 0,27 0 16,0-14-16,106 1 15,-80 13-15,1-13 0,-1 0 0,173-14 16,-160 14-16,-13 13 16,160-13-1,-186 0-15,-14 13 0,14 0 0,26 0 16,-65 0 0,-1 13-16,-26 13 15,-133 14 1</inkml:trace>
  <inkml:trace contextRef="#ctx0" brushRef="#br0" timeOffset="65459.71">5755 11536 0,'39'-40'15,"14"27"-15,0 0 0,13-1 16,14 1-16,184-40 15,-158 27-15,-13 13 16,-1-1-16,1 1 0,0 13 0,-14-13 0,119 13 16,-158 0-16,0 0 15,-1 0-15,-12 0 16,-1 13-16,-12-13 0,12 0 0,-13 13 0,0-13 16,14 14-1</inkml:trace>
  <inkml:trace contextRef="#ctx0" brushRef="#br0" timeOffset="65865.53">7078 11509 0,'13'40'0,"13"13"16,-26-13-16,14 13 15,-1-27-15,-13 1 0,0-1 16,26 40 0,-26-39-16,13-14 0,1 26 15,-14 1-15,13-27 0,-13 1 16,0-1-1</inkml:trace>
  <inkml:trace contextRef="#ctx0" brushRef="#br0" timeOffset="66151.27">7025 11933 0,'-14'26'0,"14"-13"15,0 1-15,14-1 0,-14 0 16,13 0-16,0 1 0,0-1 0,1 13 31,65 1-31,-53-14 0,1-13 0,-1 0 16,54-13-16,-41-1 16,-12 1-16,-14 0 15,14 13-15,12-40 16,-26 40-16,14-26 15,-14 26-15,0 0 16,1 0 0</inkml:trace>
  <inkml:trace contextRef="#ctx0" brushRef="#br0" timeOffset="67533.8">17926 10861 0,'-27'66'16,"27"-52"0,0-1-16,0 0 0,0 0 0,-13 0 15,13 1-15,13 12 0,-13-13 16,0 1-16,0-1 16,0 0-1,13-39 1,-13 12-1,0 1-15,0 0 0,14 0 0,-1-67 32,-13 67-32,0 0 0,13 0 15,0 13 1,0 26 15,14 1-15,-14-27-16,-13 13 0,13-13 15,14 0 1,-27-13-16,26-1 16,-12 1-16,-1-13 31,0 26-31,0 13 16,0 0-1,-13 0-15,14 1 16,-14-1-16,26 26 15,-26-25 1,13-14-16,1 13 0,-1-13 16,0 0-16,0 0 0,0 0 0</inkml:trace>
  <inkml:trace contextRef="#ctx0" brushRef="#br0" timeOffset="68306.52">18468 11086 0,'26'-106'0,"-12"80"15,-28 13 1,1 39 15,0-13-31,13 27 16,0 0 0,13-27-16,0-13 15,-13 13-15,14 0 0,12 0 16,-13-13-16,1 0 0,-1 0 15,13 0-15,-13 0 0,1 0 0,39-13 32,-14 0-32,-26 0 0,1 0 0,-1-1 15,13 1-15,-26 0 16,14 0-16,-14-1 16,-14 1-1,14 26 1,-26-13-16,26 14 15,-13-14 1,-1 26-16,1-13 16,26 14-1,1-40 17,12 13-17,-13 0-15,1 0 0,-1 0 31,0 0-15,0 0-16,1 0 16,-1 0-1,-13 13-15,13-13 16,0 0 0,14 13-1,-14 0 1,13-13-1,-12 0-15,12 0 16,-13 0 0,1 0-16,-1 0 15</inkml:trace>
  <inkml:trace contextRef="#ctx0" brushRef="#br0" timeOffset="69535.7">6919 10411 0,'503'-66'16,"-411"53"-1,146-13-15,-119 26 0,0-14 16,146-12-16,-146 13 16,0-1-16,-13 1 0,-13 13 0,39-13 15,-40 0-15,173-14 16,-199 27-16,14-13 0,-28 13 15,-12 0-15,0 0 0,13 0 16,-40 13-16,0 0 16</inkml:trace>
  <inkml:trace contextRef="#ctx0" brushRef="#br0" timeOffset="69804.14">8030 10544 0,'40'-27'15,"26"14"-15,-26 0 0,26 0 16,13-1-16,1 1 0,12 0 0,-13 0 16,14-1-16,26 1 0,13 0 15,-12 0-15,-28-1 0,1 1 16,-1 0-16,279-27 15,-279 40-15,-26-13 0,1 13 16,-1 0-16,-27-13 0,28 13 16,-41 0-16,-13 0 0,1 0 15,12 13-15</inkml:trace>
  <inkml:trace contextRef="#ctx0" brushRef="#br0" timeOffset="71121.48">17965 9565 0,'-13'-53'0,"0"40"15,0 13 1,-14 0-16,14 13 0,-40 13 15,40-13-15,-1 1 16,1-1-16,-13 27 16,13-27-16,13 0 15,0 0-15,0 1 16,13-1-16,13-13 16,-13-13-16,1 13 0,12-14 15,-13 1-15,14 0 0,-14 0 16,27-14-1,-27 14-15,0 13 0,-13-13 0,13 13 0,1 0 32,-14 13-32,0 27 15,0-27-15,0 40 16,-14-27 0,14-13-16,0 1 0,0-1 0,0 0 0,0 0 15,0 1-15,0-1 16,14-13-16,-14 13 0</inkml:trace>
  <inkml:trace contextRef="#ctx0" brushRef="#br0" timeOffset="71442.03">18230 9551 0,'-27'14'0,"14"-14"0,13 13 0,-13 0 0,0 27 15,-1-27-15,14 0 16,0 1-16,0-1 0,0 0 0,14 13 16,-1-26-16,0 14 15,0-14-15,67 0 32,-67-14-32,0 14 0,0-13 0,14-26 15,-14 25 1,-13 1-16,0 0 0,-13-14 15,13 14-15,-13 13 16,-1-13-16,-12 0 16,26-1-16,-13 14 0,-1 0 15</inkml:trace>
  <inkml:trace contextRef="#ctx0" brushRef="#br0" timeOffset="71605.02">18521 9446 0,'13'-14'0,"-13"28"15,0 12-15,0-13 0,0 1 16,0-1-16,-13 0 0,13 13 0,-13-12 16,13 12-16,-27 27 15,27-40-15,-13 1 0,13-1 16,0 0-16</inkml:trace>
  <inkml:trace contextRef="#ctx0" brushRef="#br0" timeOffset="71747.89">18468 9591 0</inkml:trace>
  <inkml:trace contextRef="#ctx0" brushRef="#br0" timeOffset="73000.97">19328 9353 0,'13'-13'0,"0"13"16,14 0-16,-1 0 15,1 26 1,-14-26-16,-13 13 16,13 14-16,-13-14 0,13 0 0,-13 14 0,0-14 15,0 0-15,14 53 16,-14-52-16,0 12 0,13-13 16,-13 1-16,0-1 0,0 27 15,0-27-15,0 0 16,0 0-16,-13 0 15</inkml:trace>
  <inkml:trace contextRef="#ctx0" brushRef="#br0" timeOffset="73180.97">19341 9591 0,'0'-13'15,"13"0"-15,1 13 0,12-14 16,0 1 0,1 13-16,-14 0 0,14-13 15,39 0 1,-27 0-16</inkml:trace>
  <inkml:trace contextRef="#ctx0" brushRef="#br0" timeOffset="73443.09">19870 9327 0,'-66'13'16,"66"0"-16,0 0 0,27 40 16,-27-40-1,26 54 1,-26-54-16,0 0 15,0 0-15,0 0 0,-13 14 16,-14 13-16,1-14 16,13-13-16,-14 1 0,14-14 0,0 13 15,-1 0 1,1-13-16,0 0 0</inkml:trace>
  <inkml:trace contextRef="#ctx0" brushRef="#br0" timeOffset="73635.46">20122 9353 0,'13'13'16,"-26"0"-16,-1 54 15,1-54-15,0 40 16,0-40-16,13 13 0,-14-12 0,1 12 15,13-13-15,-13 14 16,13-14-16,0 0 0</inkml:trace>
  <inkml:trace contextRef="#ctx0" brushRef="#br0" timeOffset="73812.28">19976 9485 0,'0'-13'31,"0"0"-31</inkml:trace>
  <inkml:trace contextRef="#ctx0" brushRef="#br0" timeOffset="74999.78">18243 10081 0,'622'-27'0,"-530"27"16,14-13-16,13 0 15,265-27-15,-265 27 16,0-14-16,0 14 0,-13-13 0,13-1 16,-26 14-16,-14 0 15,0-14-15,67-12 0,-80 12 0,0 14 16,-13-14-16,-13 1 0,66-53 15,-80 52-15,1 1 16,12-80 0,-39 79-16,0 1 0,-13-14 0,0-13 0,-14 0 15,-39-39 1,26 39-16,-12 0 0,-15 0 0,-409-198 31,357 198-31,-13 26 0,13-12 0,-14 12 16,-12 1-16,-133-14 15,133 40-15,-1 0 0,1 13 0,-305 40 16,-251 212 15,462-120-31,134-65 16,-1 12-16,-40 93 16,80-105-16,26 12 0,14-25 0,0-1 0,39 79 15,0-79-15,27 1 16,13-1-16,92 53 15,-65-80-15,105 28 0</inkml:trace>
  <inkml:trace contextRef="#ctx0" brushRef="#br0" timeOffset="75684.13">21537 9313 0,'66'14'16,"53"12"-1,-53 0 1,-52-12-16,12-14 0,27 39 31,-40-25-31,-26 65 16,-13-39-16,-1-14 0,14-13 15,-53 40 1,39-39-16,14-1 0,0-13 0,0 13 16,-1 0-16,1-13 15</inkml:trace>
  <inkml:trace contextRef="#ctx0" brushRef="#br0" timeOffset="76225.89">22542 9379 0,'14'-13'0,"-1"13"31,-40 0-16,1 0 1,13 0-16,-40 13 16,40-13-16,-1 0 0,1 14 15,0-14-15,13 13 0,-13-13 16,13 13-16,13 0 16,13 14-16,-12-14 15,-1 0-15,-13 1 0,13-14 16,14 39-1,-27-26-15,0 1 16,0-1-16,-14 0 0,1 0 16,-27 14-1,27-27-15,0 13 0,0-13 0,0 0 16,-1 13-16,1-13 16</inkml:trace>
  <inkml:trace contextRef="#ctx0" brushRef="#br0" timeOffset="76573.08">22701 9459 0,'13'-13'0,"-26"39"0,0-13 16,13 1-16,0-1 0,0 13 15,0-13-15,0 1 0,13-1 16,0-13-16,-13 13 0,14-13 16,39 13-16,-14-13 15,-12-13 1,-14 13-16,0-13 0,0 13 0,1-13 16,-14-1-16,13-12 15,-26 13-15,13 0 0,-14-14 16,1 14-16,0 0 15,0-1-15,-53 1 16,52 13-16,1 0 16,0 0-16,-14 13 15,14-13-15,13 14 0,13-1 16,-13 0 0</inkml:trace>
  <inkml:trace contextRef="#ctx0" brushRef="#br0" timeOffset="76782.41">23297 9419 0,'0'13'16,"-27"14"0,27-14-16,-40 40 15,27-40-15,0 0 16,0 1-16,-27 25 15,0 1 1</inkml:trace>
  <inkml:trace contextRef="#ctx0" brushRef="#br0" timeOffset="76939.77">22992 9459 0,'-13'-27'31</inkml:trace>
  <inkml:trace contextRef="#ctx0" brushRef="#br0" timeOffset="77019.88">23349 9551 0,'14'0'16,"-41"0"-1,40 0 1</inkml:trace>
  <inkml:trace contextRef="#ctx0" brushRef="#br0" timeOffset="79072.52">22199 10411 0,'-27'14'32,"1"25"-17,12-25-15,1-14 0,0 39 16,0 1 0,-1-27-16,28 0 0,-14 1 15,26 12 1,-13-26-1,1 0-15,-1 13 0,0-13 16,0 0-16,27-13 16,-27 13-16,27 0 15,-27-13-15,0 13 0,1-13 32</inkml:trace>
  <inkml:trace contextRef="#ctx0" brushRef="#br0" timeOffset="79243.86">22304 10411 0,'-13'0'0,"0"14"15,13 12 1,-13-26-16,13 27 16,-14 12-16,14-26 15,0 1-15,-13 39 16,26-27-1,1-13-15</inkml:trace>
  <inkml:trace contextRef="#ctx0" brushRef="#br0" timeOffset="79556.41">22569 10451 0,'-66'0'0,"26"27"16,27-27-16,0 13 0,-1 0 16,1 0-16,0 14 15,26-27 1,0 26 0,1-26-16,25 27 15,-25-14 1,-1 0-1,-13 0-15,0 0 0,0 27 32,0-27-32,0 1 0,0-1 0,-13 0 15,13 0 1</inkml:trace>
  <inkml:trace contextRef="#ctx0" brushRef="#br0" timeOffset="79988.81">22251 11020 0,'-39'13'0,"26"-13"16,-1 0-16,-25 27 15,25-14 1,14 0-16,0 0 0,14 0 16,12 1 15,-13-14-31,1 0 0,-1-14 0,0 14 16,13-13-16,-12 13 15,-1-13-15,0 13 0,-13-13 0,13 0 16,1 13-16,-14-14 0,13 1 0,0 0 15,-26 26 32,0 14-47,-1-27 16,14 13-16,-13 0 0,13 0 0,0 0 16,-13 14-1,13-14-15,0 0 0,0 1 16</inkml:trace>
  <inkml:trace contextRef="#ctx0" brushRef="#br0" timeOffset="80285.96">22542 11020 0,'0'26'15,"0"1"1,0-14-16,-13 13 16,13-12-16,0-1 15,0-53 17,-13 14-17,13 13-15,0-1 0,0 1 16,-13 13-16,13-13 0,-13 0 15,-14 26 17,14 0-32,0-13 0,13 13 15</inkml:trace>
  <inkml:trace contextRef="#ctx0" brushRef="#br0" timeOffset="80829.62">22053 11642 0,'-26'0'31,"26"13"-31,-14-13 0,14 13 0,-26 0 16,26 1-1,0 12 1,0-13-16,26 1 15,-12-14 1,12 13 0,-13-26-16,0 13 0,1 0 0,-1-14 15,0 14 1,-13-13-16,13 0 0,1 13 0,-14-13 0,13 13 16,-13-14-1,13 1-15,-13 0 0,13 13 16,-26 26 15,13-12-31,0-1 16,0 0-16,0 14 15,-13-14-15,13 13 0,0-13 0,13-13 16,-13 14-16,13 12 16</inkml:trace>
  <inkml:trace contextRef="#ctx0" brushRef="#br0" timeOffset="81030.1">22371 11615 0,'13'0'0,"0"13"15,-13 1 1,13 25-1,-13-25-15,-13-1 0,13 0 16</inkml:trace>
  <inkml:trace contextRef="#ctx0" brushRef="#br0" timeOffset="81184.08">22331 11734 0,'13'-13'0,"14"0"16,-1 0 0,0 13-16,-12 0 0,-1-14 0,0 14 15,0 0-15</inkml:trace>
  <inkml:trace contextRef="#ctx0" brushRef="#br0" timeOffset="81765.86">21960 12105 0,'80'0'0,"52"-27"15,-92 14-15,119-27 16,-107 14-16,-12 13 16,13-1-16,0-12 0,-13-1 0,-1-12 15,14 12-15,-13-12 16,0 12-16,-1-12 0,1-1 0,92-132 16,-66 79-1,-13 1 1,0-14-16,-13-13 15,-27 66-15,0 0 0,1-13 0,-14 13 16,0 0-16,-27-132 16,14 119-16,-13-1 0,-1 1 15,-13 13-15,1-26 0,-14 0 0,-27-40 16,27 79 0,1-13-16,-134-26 15,120 65-15,-198 54 16,-186 225-1,370-186 1,1 14-16,0-1 0,-1 1 16,14 13-16,0 13 0,-119 436 15,185-436 1,0-39-16,39 118 16,1-105-16,0-14 0,13-13 0,0-13 15,53 40-15,-54-53 0,15-14 16,-1 0-16,-13-12 0,158-28 31</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9.858"/>
    </inkml:context>
    <inkml:brush xml:id="br0">
      <inkml:brushProperty name="width" value="0.025" units="cm"/>
      <inkml:brushProperty name="height" value="0.025" units="cm"/>
      <inkml:brushProperty name="ignorePressure" value="1"/>
    </inkml:brush>
  </inkml:definitions>
  <inkml:trace contextRef="#ctx0" brushRef="#br0">36 0,'0'4,"-4"4,0 4,0 3,1 3,-3-2,0-1,1 1,2-2</inkml:trace>
</inkml:ink>
</file>

<file path=ppt/ink/ink21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09:47.384"/>
    </inkml:context>
    <inkml:brush xml:id="br0">
      <inkml:brushProperty name="width" value="0.05292" units="cm"/>
      <inkml:brushProperty name="height" value="0.05292" units="cm"/>
      <inkml:brushProperty name="color" value="#0070C0"/>
    </inkml:brush>
  </inkml:definitions>
  <inkml:trace contextRef="#ctx0" brushRef="#br0">10014 3016 0,'67'0'0,"-14"0"0,-1 0 0,28-13 0,211 13 16,-146 0 0,279-13-1,-279 13-15,14 0 0,-13 0 0,237 0 16,-277 0 0,0 0-16,0 13 0,-14-13 0,1 0 15,92 0-15,-145 0 16,39 13-1,-66-13-15,1 0 0,12 0 16,-13 0-16,1 0 0,-1 0 16,13 0-1,-13 0 1,1 0 0,-1 0-1,0 0 1,0 0-1</inkml:trace>
  <inkml:trace contextRef="#ctx0" brushRef="#br0" timeOffset="2656.15">3532 4326 0,'344'-27'0,"-251"14"16,39 13-16,-13-13 0,423-13 15,-396 26-15,119-14 16,-160 14-16,1-13 16,185 13-16,-198-13 15,0 13-15,-14 0 0,80 0 16,-120 0-16,1 0 15,26 0 1,-53 0-16,27 13 0,-27-13 0,1 0 16,-1 13-16,53 14 15,-40-27-15</inkml:trace>
  <inkml:trace contextRef="#ctx0" brushRef="#br0" timeOffset="3343.07">12039 4445 0,'661'-26'16,"-555"26"-16,39 0 0,67 13 16,-106-13-16,370 13 31,-397-13-31,-12 0 0,-14 13 0,-1-13 16,-12 0-16,-13 0 0,39 13 15,-53-13-15,0 0 16,0 0-16</inkml:trace>
  <inkml:trace contextRef="#ctx0" brushRef="#br0" timeOffset="11315.94">10438 6562 0,'53'-27'16,"-40"27"-16,27 0 0,-1-13 0,14 13 15,331-40 1,-305 40-16,14-13 0,-1 13 15,94-13 1,105 0-16,-106-1 16,-26 14-16,-106 0 0,13 0 15,-13 0-15,-27 0 0,14 0 16,13 14-16,-40-14 16</inkml:trace>
  <inkml:trace contextRef="#ctx0" brushRef="#br0" timeOffset="11713.19">10517 6734 0,'132'-14'0,"93"1"16,-132 0-16,0 13 0,39-13 16,-13 0-16,13-1 0,609-12 31,-648 26-31,-1-13 0,1 13 16,-14 0-16,120 13 15,-160-13-15,54 0 16,-67 0-16,27 0 31,-39 0-31,12 0 0,-13 0 31</inkml:trace>
  <inkml:trace contextRef="#ctx0" brushRef="#br0" timeOffset="14906.25">5847 7474 0,'106'-13'0,"-93"13"0,53 0 16,-26 0 0,0-13-16,105 13 15,-105-13-15,53 13 0,-67 0 16,27 0 0,-26 0-16,-14 0 0,0 0 15,0 13-15,0-13 0,1 13 16,-1 0-16,-13 1 0,40 78 15,-27-65-15,0 26 16,0-14-16,1 14 0,25 66 16,-26-66-16,40 119 15,-53-106-15,27 40 16,-14-53-16,0-13 0,0 13 16,-13-14-16,14 67 15,-14-13-15,-14-27 16,14-40-1,-52 41 1,38-54-16,1 13 0,-13-26 0,12 14 16,-12-1-16,13-13 0,-14 13 15,1-13-15,-1 0 0,1 0 0</inkml:trace>
  <inkml:trace contextRef="#ctx0" brushRef="#br0" timeOffset="16002.06">2421 7276 0,'-106'13'0,"66"0"0,1 1 0,-1-1 15,0-13-15,14 13 0,-14 0 0,-26 27 16,40-40-1,12 13-15,1 1 0,0-14 0,0 13 16,-27 13-16,27-13 16,0 14-1,-1-1-15,14-12 16,-13 25-16,13-25 16,0 12-16,0-13 0,0 14 0,0-14 15,0 13-15,-13-12 0,26 25 16,-13-12-16,0 12 0,0 1 0,0 92 15,0-65-15,13 65 16,-13-66-16,0-13 16,-13 79-16,13-79 15,0 0-15,0-13 0,0 13 0,0-14 16,-13 14-16,13-13 0,13 66 16,-13-80-16,0-13 0,0 14 15,0-1-15,0-12 0,13-1 16,-13 0-16,0 0 0,0 1 15,14 12 1,-14-13-16,13-13 16,0 13-16,0-13 0,0 0 15,1 0-15,39 0 16,-27 0-16,1 0 0,-1 0 16,53-13-16,-52 13 15,39 0-15,-40-13 16,-12 13-16,12 0 0,14 0 15,-27-13-15,0 13 16</inkml:trace>
  <inkml:trace contextRef="#ctx0" brushRef="#br0" timeOffset="20144.02">8467 6522 0,'53'-13'0,"52"0"15,-65-1-15,106 1 16,-93 0-16,13 13 0,13-13 16,-13 13-16,-13 0 0,119-14 15,-26 1 1,-54 13-1,-65 0-15,-1 0 0,27 0 16,-40 0-16,14 0 16</inkml:trace>
  <inkml:trace contextRef="#ctx0" brushRef="#br0" timeOffset="20504.78">8784 6601 0,'27'0'15,"211"-13"1,-159 13-16,1 0 15,131-13 1,-79 13-16,-79 0 16,119 0-1,-119 0-15,-13-13 0,0 13 0,-14 0 16,27 0-16,-27 0 16,-12 0-16,-1 0 15,-13 13 1,-13 0 15</inkml:trace>
  <inkml:trace contextRef="#ctx0" brushRef="#br0" timeOffset="25107.95">9009 10345 0,'0'13'31,"13"1"-15,1-14-16,-14 13 0,13-13 0,0 0 0,0 13 16,0 0-16,40 1 15,-39-14 1,-1 0-16,0 13 0,14-13 16,-14 0-16,13 0 0,-13 13 0,1-13 15,-1 0-15,0 0 0,0 0 16,27-13-16,-27 13 0,0 0 15,1 0-15,-1 0 0,0 0 0,0-13 16,14 13-16,-14 0 0,0-14 16,14 14-16,-14-13 15,0 13-15,0 0 0,1-13 0,-1 13 16,-13-13 0,13 13-16,14-14 15,-27 1-15,13 13 0,0-13 16,0-13-1,-13 12 1,0 1-16,0 0 0,0 0 16,14-14-1,-14 14 1,0 0-16,0-1 0,0 1 16,0-13-1,0 13-15,0-14 31,0 14-31,-14 0 16,14-1-16,0 1 0,-13 13 16,13-13-16,-13-14 15,0 27 1,13-13-16,-14 13 0,14-13 16,-13 13-16,0-13 15,0 0-15,-1 13 16,-12-27-1,13 27-15,0-13 16,13 0-16,-14-1 16,-12 14-1,13-13-15,-1 13 16,1-13-16,-13 0 16,12 13-1,1 0-15,0 0 16,0-14-16,0 14 0,-14 0 15,14 0-15,0 0 16,-1 14-16,-12-14 0,13 0 0,0 0 16,-1 0-16,1 0 15,-13 13-15,12-13 0,1 0 0,0 13 16,0-13-16,-1 13 16,1-13-16,0 0 15,0 14-15,0-14 0,-1 13 16,1-13-16,13 13 15,-13-13-15,0 13 0,-1-13 16,1 14 0,0-14-16,13 13 0,-13-13 15,-1 13-15,1-13 0,0 13 16,0 0-16,0-13 16,13 14-1,-14-1-15,1 0 16,0 14-1,13-14-15,0 0 16,-13 0-16,13 1 0,0-1 16,0 13-1,0-13-15,0 1 0,0-1 16,0 0-16,0 0 0,13 1 0,-13-1 16,0 0-16,0 0 0,13 1 0,-13-1 15,13-13-15,1 26 16,-1-13-16,0 1 0,0-1 15,0 0-15,1-13 0,-1 13 0,0 1 16,0-1 0,1-13-16,-1 0 0,0 13 0,0-13 15,1 0-15,-1 0 0,0 0 16,0 13-16,0-13 16,1 0-16,12-13 15,-13 13-15,1 0 0,-1 0 0,0 0 16,0-13-16,1 13 15,-1-13-15</inkml:trace>
  <inkml:trace contextRef="#ctx0" brushRef="#br0" timeOffset="26088.12">9247 9816 0,'0'-26'0,"0"-1"16,0-13-16,-13 27 16,13 0-16,0-13 0,0-1 0,0-13 15,-13-79 1,0 80-16,13-14 0,-14-106 16,1 93-16,13 0 15,0 0-15,0-133 16,0 133-16,0-13 0,13 12 15,-13 1-15,0-13 0,0 13 0,27-146 16,-27 133 0,13 13-16,-13-1 0,0 15 0,13-15 15,-13 28-15,13-14 0,-13 13 16,0 0-16,14 1 0,-14-1 0,0 14 16,0-1-16,0 14 0,0-14 0,0 14 15,-14-27 1,14 14-16,0 13 0,0-14 0,-13 14 15,13 0-15,0 0 0,0-1 16,0 1 0,0 0-1,0 0-15,-13 39 63</inkml:trace>
  <inkml:trace contextRef="#ctx0" brushRef="#br0" timeOffset="26364.57">9247 7369 0,'-26'13'0,"26"0"0,-13 0 15,-1-13-15,1 14 0,-13 25 16,12-26-16,-39 67 16,1-1-1,38-39-15,1-14 0,0-12 0,0 12 16,-1-13-16,14 14 0,-13-14 0,0 13 16,0-12-1,13-1-15,-14-13 0,14 13 0,0 0 0,-13-13 16</inkml:trace>
  <inkml:trace contextRef="#ctx0" brushRef="#br0" timeOffset="26574.04">9155 7554 0,'39'-13'0,"-25"13"0,-1 13 0,40-13 16,-40 13 0,13-13-16,-12 13 0,12 1 0,0-14 15,1 13-15,-1-13 0,1 13 0,39 13 16,-40-26 0,1 14-16,-14-14 0,14 13 0,-14-13 15,13 0-15</inkml:trace>
  <inkml:trace contextRef="#ctx0" brushRef="#br0" timeOffset="29852.62">19381 4815 0,'39'0'0,"-25"-13"15,-1 13 1,-40 13 15,1 1-15,13-14-16,0 0 15,-1 13-15,1-13 0,-13 13 16,12 0-16,1-13 0,0 0 16,0 14-16,-1-14 15,14 13 1,14 0-16,-1-13 16,0 13-16,0-13 15,1 0-15,-1 13 0,0-13 0,0 14 16,1-14-16,-1 13 15,0 0 1,-26 0-16,0 1 16,13-1-16,-14-13 15,1 13-15,0-13 0,13 13 16,-13-13-16,-1 0 0,1 14 16,0-14-16,0 0 0,-1 0 15,1 13-15,0-13 16</inkml:trace>
  <inkml:trace contextRef="#ctx0" brushRef="#br0" timeOffset="30191.74">19592 4842 0,'0'-13'0,"-13"26"15,13 0 1,0 0 0,0 1-16,0-1 0,13-13 0,-13 13 15,0 0-15,14-13 0,-1 13 16,0 1-16,0-14 0,1 0 16,-1 0-16,0 0 0,0 0 0,0 0 15,1 0-15,-1 0 0,-13-14 0,13 14 16,-13-13-16,-13-26 31,13 25-31,-13 1 0,-1 0 0,1 13 16,-26-13-1,25 13-15,1 0 0,-40 13 16,40-13-16,0 13 0,-1 14 16,-38 12-1</inkml:trace>
  <inkml:trace contextRef="#ctx0" brushRef="#br0" timeOffset="31852.15">19751 6006 0,'13'-26'0,"1"26"16,-1 0-16,0 0 16,0 0-16,1-14 15,-1 14-15,0 0 0,0 0 16,0 0-16,1 14 15</inkml:trace>
  <inkml:trace contextRef="#ctx0" brushRef="#br0" timeOffset="32092.55">19764 6112 0,'-13'13'16,"40"-13"0,-14 0-16,0 0 15,0 0-15,1 0 16,-1 0-16,0 0 16,0-13-16,0 13 15,14 0-15,-14 0 16,-13-13-16</inkml:trace>
  <inkml:trace contextRef="#ctx0" brushRef="#br0" timeOffset="32657">20466 5887 0,'13'-13'16,"-40"13"-1,1 0-15,13 13 0,-1-13 16,1 13-16,0-13 0,-14 13 16,14-13-16,-13 27 15,13-27-15,13 13 16,-14-13-16,28 13 15,12 1 1,0-14-16,-12 0 16,-1 0-16,0 13 0,0-13 15,14 0-15,-14 13 0,0-13 0,14 13 16,-14-13 0,-13 13-1,-26 1-15,26-1 16,-14-13-16,1 13 0,0-13 0,0 13 15,-27 1-15,27-14 16,-1 0-16,1 13 0,0-13 0,0 0 16,0 0-16,-1 0 0,1 0 15</inkml:trace>
  <inkml:trace contextRef="#ctx0" brushRef="#br0" timeOffset="32980.29">20624 5861 0,'0'26'16,"14"-13"-16,-1 0 15,0-13 1,0 0-16,0 0 15,1 0-15,-1-13 16,0 0-16,-13 0 16,13-14-1,-13 1-15,-13 26 16,13-13-16,-13-1 16,0 14-16,-1 0 0,1-13 15,0 26-15,-27-13 16,14 0-16,-1 14 15,1-14-15,-27 26 0</inkml:trace>
  <inkml:trace contextRef="#ctx0" brushRef="#br0" timeOffset="33672.29">19487 5927 0,'26'0'32,"-13"0"-32,27 0 15,-14 0-15,-12 0 16,-1 13-16,0-13 0,0 0 0,1 0 16,12 13-1,-26 0 1,0 1-16,0-1 0,-13 0 15,-27 40 1,14-13 0,12-27-16,1 0 0,-13 14 0,12-14 15,-25 40 1,26-40-16,-1 0 0,14 0 16</inkml:trace>
  <inkml:trace contextRef="#ctx0" brushRef="#br0" timeOffset="34635.08">19857 6350 0,'53'0'15,"39"13"1,-52-13-16,13 0 0,0 0 0,13 0 15,-13 0-15,26 0 0,1-13 0,-14 13 16,13-13-16,-12 0 0,12-1 16,-13 1-16,13 0 0,-12 0 15,65-27-15,-79 27 0,0-1 16,-14-12-16,1 13 0,0-14 0,-1 14 16,41-53-1,-54 39-15,1 1 0,-14 0 16,0-1-16,0 1 0,-13-1 0,14 1 15,-14-1-15,0 1 0,0-1 0,0 1 16,-14-14-16,1 1 0,0 12 16,-14-13-16,1 1 0,-14-1 0,14 0 15,-14 14-15,-13-14 0,0 1 0,-52-14 16,52 13-16,0 13 16,-13 14-16,-1-13 0,-12 13 0,0-1 15,-1 14-15,-12 0 0,-1 0 0,0 14 16,-26-1-16,-13 13 15,26 1-15,-13 12 0,13 1 0,1 0 16,12 13-16,0 0 0,14 13 0,0-13 0,12 13 16,1 13-16,13-13 15,14 0-15,12-13 0,1 13 0,13-13 16,-1 14-16,14-15 0,0-12 0,14 13 16,12 0-16,0 0 0,1-13 15,26-1-15,-13-12 0,12 12 0,15-25 16,-14 12-16,13-13 0,0 1 0,-13-14 15,0 13-15,52-26 16,-52 13-16,-13-14 0,0 1 0,-1 0 16,-12 13-16</inkml:trace>
  <inkml:trace contextRef="#ctx0" brushRef="#br0" timeOffset="39938.17">21180 7660 0,'0'-14'16,"0"1"-16,-13 13 31,-27 13-15,27-13-16,0 0 0,13 14 15,-14-14-15,1 0 0,13 13 16,-13-13-16,13 13 0,-13-13 0,13 13 15,0 1-15,13-1 16,0 0-16,0 0 16,1 1-16,-1-1 0,0-13 15,-13 13-15,26 13 0,-26-12 16,14-1-16,-14 0 16,-14 0-16,1 1 0,0-1 15,0 0 1,0-13-16,-1 0 15,1 0-15,0 0 16,13-13 0,13 0-1,0-1-15,1 1 16,-1 0-16,0 13 0,0-13 0,-13-1 16,13 1-16,14-13 0,-14-1 15,-13 14-15,0 0 16,13 0-16,-13-1 0,0 1 15,-13 0-15,13 0 16,-13-1-16,0 1 0,-1 13 16,1-13-16,0 13 0,0 0 15,0 13-15,-1-13 16,1 13-16,0-13 16,13 14-16,-13-14 0,13 13 0</inkml:trace>
  <inkml:trace contextRef="#ctx0" brushRef="#br0" timeOffset="40342">21365 7646 0,'-53'27'0,"40"-14"15,13 0-15,-13 1 0,13-1 16,0 13-16,0 1 0,0-14 16,13 13-1,0-26-15,0 14 16,1-14-16,-1 0 0,0-14 16,0 14-16,1 0 0,-1 0 15,0-13-15,0 13 0,-13-13 0,13 0 16,1 0-16,-14-1 0,0 1 15,0 0-15,0 0 16,0-1-16,0 1 0,-14 0 16,1 0-16,0 13 15,-13-14 1,12 14-16,1 0 0,0 0 16,0 14-16,-14-14 0,14 13 15,0-13-15,13 13 0,-14-13 0,14 13 16</inkml:trace>
  <inkml:trace contextRef="#ctx0" brushRef="#br0" timeOffset="40582.11">21921 7527 0,'13'14'15,"-26"12"1,0-13-16,-1 27 0,1-27 16,0 14-16,0-14 15,-1 13-15,1 1 0,0-14 0,0 14 16,-1-14-16,1 0 0,-13 13 16,13-12-16,-1-1 0,1 0 15,0 0-15,0 1 0</inkml:trace>
  <inkml:trace contextRef="#ctx0" brushRef="#br0" timeOffset="40746.39">21590 7673 0,'0'-27'15,"13"27"-15,0-13 16,1 13-16</inkml:trace>
  <inkml:trace contextRef="#ctx0" brushRef="#br0" timeOffset="40901.22">22093 7752 0,'13'0'0,"0"-13"15,-13 0 17</inkml:trace>
  <inkml:trace contextRef="#ctx0" brushRef="#br0" timeOffset="47214.08">20188 7779 0,'39'0'32,"-25"0"-17,52 0 1,0 0 0,-13 0-16,-40 13 15,27-13-15,-27 0 0,0 13 16</inkml:trace>
  <inkml:trace contextRef="#ctx0" brushRef="#br0" timeOffset="47377.01">20307 7938 0,'53'0'15,"-40"0"-15,13 0 0,-12 0 0,12 0 16,1-14-16,-14 14 0,13 14 0</inkml:trace>
  <inkml:trace contextRef="#ctx0" brushRef="#br0" timeOffset="54487.97">9128 11774 0,'13'13'63,"1"0"-48,-1 1 1,13-14-16,-26 13 16,14-13-16,12 13 0,-13-13 15,14 13-15,-1-13 16,-13 0-16,14 0 15,12 0-15,-25 0 0,-1 0 16,0 0-16,0 0 0,27 0 16,-27 0-16,1 0 0,-1 0 15,0 0-15,0-13 16,0 13-16,1 0 0,-1 0 16,0-13-16,0 13 0,14-13 15,-14-1 1,0 14-16,1 0 0,-14-13 15,26 0-15,-13 13 0,0-13 16,1 13-16,-14-13 0,13 13 16,0-14-16,0 14 0,1-13 15,-1 0-15,0 13 16,0-13-16,0-1 16,1 14-16,-14-13 15,13 13-15,-13-13 0,13 13 0,0-13 16,1-1-1,-14 1 1,13 0 0,-13 0-16,13 0 15,-13-1 1,0 1 0,13 0-1,-13 0-15,0-1 16,0 1-1,0 0-15,0 0 16,0-1-16,0 1 31,0 0-31,0 0 16,0 0-16,0-14 16,0 14-1,0 0-15,-13-1 0,13 1 16,0 0-16,-13 0 15,13-1 1,-13 1-16,-1 0 16,14 0-1,-13 0-15,0 13 16,13-14-16,-13 1 0,13 0 16,-27 0 15,27-1-31,-13 14 0,13-13 15,-13 13-15,13-13 16,-13 13-16,13-13 0,-14 13 16,-12-14-1,26 1-15,-13 13 16,-1 0-16,1-13 16,0 13-16,0-13 0,-14 13 15,14-13 1,0 13-16,0 0 15,-1 0-15,1 0 16,0 0-16,0 0 16,-1 0-16,1 0 15,0 0-15,0 0 16,0 0-16,-14 0 16,1 0-16,12 0 15,1 13 1,0-13-16,0 0 0,-1 0 0,1 0 15,-13 13-15,13-13 16,-1 0-16,1 13 0,0 0 16,0-13-16,-1 0 0,1 14 15,0-14-15,13 13 0,-26 0 16,12 0-16,1-13 16,13 14-16,-13-14 0,13 13 15,-13-13-15,13 13 0,-14 0 16,1-13-1,13 14-15,-13-14 16,13 13-16,-13 0 16,13 0-1,-14-13-15,14 13 0,-13 1 16,0-1 0,13 0-1,-13-13-15,13 13 0,-13 1 16,13-1-1,0 0 1,0 0-16,-14 14 16,14 12-1,0-25 1,0-1-16,0 0 16,14 0-16,-14 1 15,0 12-15,0-13 0,13-13 16,-13 14-16,0-1 0,13 13 15,0-13-15,-13 1 16,13-1-16,1 0 0,-1 14 16,0-27-16,0 13 15,14 13-15,-14-26 16,14 14-16,-1-1 16,0 0-16,1-13 15,-14 0-15,0 0 0,1 0 16,-1 0-16,0 13 0,27-13 15</inkml:trace>
  <inkml:trace contextRef="#ctx0" brushRef="#br0" timeOffset="55337.13">14579 10888 0,'39'13'15,"14"-26"-15,0 13 0,26 0 16,1-14-16,-1 14 0,14-13 0,13 13 15,119-13 1,-93 0-16,0 13 0,-13-14 0,13 14 0,133-26 16,-159 26-16,119-13 15,-133 13-15,14 0 0,-13-13 16,52 13 0,-79 0-16,27 0 0,-80 0 15,1 0-15</inkml:trace>
  <inkml:trace contextRef="#ctx0" brushRef="#br0" timeOffset="55621.24">14909 11060 0,'397'-40'16,"-132"27"0,-133-1-16,0 1 0,14 13 15,118-13-15,-65 0 16,-14 0-16,-92 13 0,-14 0 16,40 0-16,-79-14 15,13 14-15,-27 0 16,-66 0-1,14-13-15,-14 0 16</inkml:trace>
  <inkml:trace contextRef="#ctx0" brushRef="#br0" timeOffset="56486.58">10874 10120 0,'27'-13'16,"-14"13"-16,0-13 15,27 0-15,-14 13 16,-12 0-16,-1 0 0,13 0 15,-12 0-15,-1 0 16</inkml:trace>
  <inkml:trace contextRef="#ctx0" brushRef="#br0" timeOffset="56634.01">10914 10253 0,'40'-14'15,"-27"14"1,0-13-16,27 0 0,-14 13 16,-12-13-16,12-1 0</inkml:trace>
  <inkml:trace contextRef="#ctx0" brushRef="#br0" timeOffset="56822.13">11337 10014 0,'14'-13'16,"-28"40"31,14-14-47,0 0 0,0 0 0,-13 14 15,13 26 1,-13-40-16,13 0 16,13 0-16,-13 1 15,0-1-15</inkml:trace>
  <inkml:trace contextRef="#ctx0" brushRef="#br0" timeOffset="57029.19">11523 9962 0,'13'-27'16,"-26"54"-1,13-14 1,0 0-16,-14 27 0,14-27 15,0 13-15,0 14 0,0 13 16,0-40-16,0 0 16,0 14-16,0-14 0,0 0 15,0 1-15,0-1 16</inkml:trace>
  <inkml:trace contextRef="#ctx0" brushRef="#br0" timeOffset="57456.52">11284 10213 0,'-13'0'16,"40"-13"-16,-1-1 15,-13 1-15,27 0 16,0 0-16,13 0 15,-40 13-15,13-14 0,1 14 16,-14-13 0,14 26-16,-14-13 15,-13 14-15,13-14 16,-13 13-16,13 0 16,-13 0-16,13-13 15,1 13-15,-1-13 0,0 0 16,14 0-16,-1-13 15,-13 0-15,1-13 16,-14 12 0,0-12-1,-14-1-15,1 27 0,13-13 16,-26 13-16,-1 0 16,1 27-1,-1-14-15,-26 40 16</inkml:trace>
  <inkml:trace contextRef="#ctx0" brushRef="#br0" timeOffset="57894.22">11073 11351 0,'66'-14'0,"-53"1"15,0 13-15,1 0 16,12 13-16,-26 1 16</inkml:trace>
  <inkml:trace contextRef="#ctx0" brushRef="#br0" timeOffset="58038.36">11060 11523 0,'-14'0'0,"1"13"15,53-26 17,-27 13-32,27-14 0,-1 1 15,-12 0-15,13-14 16</inkml:trace>
  <inkml:trace contextRef="#ctx0" brushRef="#br0" timeOffset="58225.25">11483 11258 0,'13'-13'16,"-13"52"-1,0-25 1,-13-1-16,13 0 0,0 14 16,0-1-16,0-13 15,13 27-15,-13-27 16,0 0-16,27 1 15</inkml:trace>
  <inkml:trace contextRef="#ctx0" brushRef="#br0" timeOffset="58433.91">11774 11179 0,'0'-27'16,"0"54"-16,-13-1 15,13-13-15,0 14 16,0-14-16,0 27 0,0-14 16,0 27-1,0-40-15,0 14 0,0-1 0,13 27 16,-13-40 0,0 1-16</inkml:trace>
  <inkml:trace contextRef="#ctx0" brushRef="#br0" timeOffset="58629.95">11523 11443 0,'-14'-13'0,"28"26"0,-14-39 15,13 26-15,0-13 16,0 13-16,14-14 0,-14 14 15,27 0-15,-1 0 16,-12 0-16,13 0 0</inkml:trace>
  <inkml:trace contextRef="#ctx0" brushRef="#br0" timeOffset="58944.13">12131 11245 0,'-53'0'0,"-79"39"15,119-25-15,-1-14 0,1 13 16,13 0-16,13 0 16,1-13-1,12-13-15,1 13 0,-14-13 16,13 13-16,-12 0 0,12-13 15,14 13-15,-1 0 16,-25 13 0,-1 0-16,13 14 15,-26-14-15,14-13 16,-14 13-16,13-13 16,13 13-1</inkml:trace>
  <inkml:trace contextRef="#ctx0" brushRef="#br0" timeOffset="61418.14">7078 10623 0,'53'26'15,"26"-39"1,-26 13-16,0-13 16,92-13-16,1-14 15,-67 27 1,-39-1-16</inkml:trace>
  <inkml:trace contextRef="#ctx0" brushRef="#br0" timeOffset="61587.49">7263 10742 0,'-13'0'0,"26"0"0,0-13 16,0 13-16,27-13 16,13 13-16,26-14 15,-26 14 1</inkml:trace>
  <inkml:trace contextRef="#ctx0" brushRef="#br0" timeOffset="61866.24">7011 11761 0,'159'-40'16,"-119"40"-16,224-53 15,-184 40 1</inkml:trace>
  <inkml:trace contextRef="#ctx0" brushRef="#br0" timeOffset="62056.63">7316 11893 0,'304'-79'31,"-278"79"-31,1 0 16</inkml:trace>
</inkml:ink>
</file>

<file path=ppt/ink/ink21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10:52.533"/>
    </inkml:context>
    <inkml:brush xml:id="br0">
      <inkml:brushProperty name="width" value="0.05292" units="cm"/>
      <inkml:brushProperty name="height" value="0.05292" units="cm"/>
      <inkml:brushProperty name="color" value="#0070C0"/>
    </inkml:brush>
  </inkml:definitions>
  <inkml:trace contextRef="#ctx0" brushRef="#br0">3479 3003 0,'913'-40'31,"-688"27"-15,-93 0-16,1 13 0,65-13 15,106-1-15,-105 14 16,-107 0-1,146 0-15,-79-13 16,-119 13-16,-14 0 16,-12 0-16,-1 13 0</inkml:trace>
  <inkml:trace contextRef="#ctx0" brushRef="#br0" timeOffset="484.64">4088 3268 0,'648'-93'15,"-383"53"-15,264-13 16,-265 27 0,27 13-1,-119 13-15,-66-14 16,-13 28 0,-67-14-16,27 0 15,13 0 1,-52 0-16,-1 0 15,0 0 17,-13 13 15</inkml:trace>
  <inkml:trace contextRef="#ctx0" brushRef="#br0" timeOffset="6616.89">8480 2514 0,'40'-14'47,"26"1"-47,-27 0 0,28 0 16,12-1-1,-53 1-15,67 0 16,-53 0-16,-14 13 0,-13 0 16,1-14-1</inkml:trace>
  <inkml:trace contextRef="#ctx0" brushRef="#br0" timeOffset="6914.59">8930 2328 0,'106'14'32,"-93"-1"-32,79 79 31,-92-78-16,-119 118 48</inkml:trace>
  <inkml:trace contextRef="#ctx0" brushRef="#br0" timeOffset="7384.71">10478 2143 0,'26'106'16,"-26"-93"-1,13 67 1,-13-41-16,13 27 16,-13-52-1</inkml:trace>
  <inkml:trace contextRef="#ctx0" brushRef="#br0" timeOffset="7959.8">10438 2183 0,'13'-27'0,"53"1"15,-39 26 1,-14 0-16,13 0 16,-12 0-16,52 40 15,-53-40 1,-13 13 0,0 0-16,-53 53 31,27-39-16,12-27-15,1 13 0</inkml:trace>
  <inkml:trace contextRef="#ctx0" brushRef="#br0" timeOffset="8321.81">10821 2236 0,'14'0'0,"-28"0"16,54 26-16,-40-13 16,0 1-1,0 12-15,0-13 16,0 1-1,0-1 1,13-40 31,1 1-31,-14 13-16,13 13 15,-13-14-15,13 14 16,0-13-16</inkml:trace>
  <inkml:trace contextRef="#ctx0" brushRef="#br0" timeOffset="8626.6">11046 2222 0,'27'40'16,"-27"-27"0,13-13-16,0 0 15,0 14-15,1-14 16,-1 0 0,-13-14-16,0 1 15,0 0 1,-13 13-16,-27-13 31,0-1-15</inkml:trace>
  <inkml:trace contextRef="#ctx0" brushRef="#br0" timeOffset="9098.01">11218 2090 0,'0'66'15,"0"-39"1,53 145-1,-53-159 1,40 119 15,-40-105-15,-13-80 15,13 40-31,0-93 31,13 93-31,27-80 32,-27 93-17,13 0 1,-26 13 0,0 0-16,-39 27 31,12-13-16</inkml:trace>
  <inkml:trace contextRef="#ctx0" brushRef="#br0" timeOffset="9448.04">11615 2156 0,'-26'27'16,"13"-27"0,52 53 15,1-40-31,-27-13 15,14-13 1,-14-1-16,0 1 16,-13 0-1,-13 0 1,13 0 0,-40-1-1,27 14-15,-14 14 16</inkml:trace>
  <inkml:trace contextRef="#ctx0" brushRef="#br0" timeOffset="9736.96">11999 1958 0,'0'26'16,"0"27"-1,0-39 1,-13 52-1,13 0-15,0-53 0,-14 27 16,1-27 0,13 0-16</inkml:trace>
  <inkml:trace contextRef="#ctx0" brushRef="#br0" timeOffset="9996.65">11867 2249 0,'0'0'0,"79"-53"16,-53 40-1,-12 13-15,25-13 16,1-1-16,-27 14 16,14 0-1,-14 14 1,0-1-16,0 0 15,-13 0-15,0 0 16,14-13-16,-28 27 16,14-14-1</inkml:trace>
  <inkml:trace contextRef="#ctx0" brushRef="#br0" timeOffset="10149.93">12171 2117 0,'0'-14'16</inkml:trace>
  <inkml:trace contextRef="#ctx0" brushRef="#br0" timeOffset="10652.18">12237 2117 0,'0'26'0,"0"-13"31,13 1-15,-13-1-16,13-13 15,1 13-15,-1-26 0,13 13 32,-12-13-32,-1-1 15,-13 1-15,0 0 16,0 0 0,-13-1-16,-1 1 15,1 13 1,0 0-16,0 0 31,26 13-15,-13 1-16,13-14 15,0 13-15,1-13 16,-14 13-16,13-13 16,0 0-1,0 13-15,0-13 16,1 0-16,-1 14 15,0-28-15,14 14 16,-14 0 0,-13 14 15,-40 12-31</inkml:trace>
  <inkml:trace contextRef="#ctx0" brushRef="#br0" timeOffset="10930.92">11007 2633 0,'132'-27'16,"80"-39"15,-133 53-31,450-106 31,-330 66-15,-146 40-16,105-14 15,-131 27 1,-107 27 0,41-14-1</inkml:trace>
  <inkml:trace contextRef="#ctx0" brushRef="#br0" timeOffset="11160.72">11139 2606 0,'225'-40'31,"-146"40"-15,689-119 15,-557 80 0,-184 25-31,-1 14 16,-52-13 0,12 13-16</inkml:trace>
  <inkml:trace contextRef="#ctx0" brushRef="#br0" timeOffset="13552.82">2778 4128 0,'93'0'15,"-67"0"-15,133 0 31,-40 0-31,13 0 0,-79 0 16,0-14-16,0 14 0,53 0 16,-53-13-16,13 13 15,-40 0-15,27-13 16,-26 13-16,-1 0 16,-26-13-16,13 13 15</inkml:trace>
  <inkml:trace contextRef="#ctx0" brushRef="#br0" timeOffset="13909.55">2805 4273 0,'185'-13'16,"-119"13"-16,146-27 16,-146 14-16,13 0 0,120 0 15,-147-1 1,1 14-16,0-13 0,133 0 16,-160 13-16,-13-13 15,14 13-15,-14 0 0,13 0 16,1 0-16,-1 0 15,-12 0 1,-14-13-16,13 13 16,0 0-1,0 0 17</inkml:trace>
  <inkml:trace contextRef="#ctx0" brushRef="#br0" timeOffset="15656.66">2222 5305 0,'93'0'15,"13"0"-15,13-13 16,-40-1-16,80 1 15,0 0-15,-80 13 16,14-13-16,52 0 0,-12-1 16,-28 14-1,-25-13-15,-54 13 0,1 0 16,26-13-16,-27 13 16</inkml:trace>
  <inkml:trace contextRef="#ctx0" brushRef="#br0" timeOffset="17003.52">2447 5450 0,'159'-13'15,"40"-13"1,-120 13-16,238-27 16,-224 27-1,-14 13-15,80-27 0,0 14 16,-14 0 0,-65-1-16,26 1 0,-53 0 15,52 0-15,-25 13 16,-41-13-1,-25 13-15,-1 0 16,0 0-16,14 0 0,-1-14 16,-13 14-16,1 0 15,-1-13-15,0 0 16,0 13-16,-13-13 0,27-14 16,-14 1-16,0 12 15,-13 1-15,13-13 0,1-14 16,-14 0-1,0 14-15,0-1 16,-14-25 0,1 12-1,-40-40-15,0 1 16,27 53 0,-27-14-16,-13-13 15,-40 0-15,27 40 16,-14-14-1,-39 1-15,-27 13 16,66 0 0,14-1-1,26 14-15,-79-13 16,26 13 0,66 0-1,1 0-15,-120 0 16,53 0-16,66 0 15,14 13-15,-14-13 0,14 0 16,-67 0-16,-13 0 16,40 0-1,13 0-15,-79 14 16,92-14-16,-39 13 16,52-13-16,-65 13 15,65-13-15,-12 0 0,-14 0 16,0 13-16,-40 0 15,27-13 1,13 14 0,-53-1-16,-13 0 15,40-13 17,52 0-32,-92 27 15,66-14-15,-13 0 31,-40 14-31,40-1 16,-53 14 15,106-27-31,-119 53 16,52-13 15,67-27-31,-53 93 16,53-52-1,26-1 1,53 66 15,-39-105-31,250 105 32,-65-79-1,-159-40-31,145-13 15,-158 0-15,172-13 32,-106 0-32,290-14 31,-356 14-31,132 13 16,-119 0-1,145-13 1,-52 13-16,-120 0 15,67 0 1,-27 0-16,-53 0 0,40 0 16,0 0-1</inkml:trace>
  <inkml:trace contextRef="#ctx0" brushRef="#br0" timeOffset="18863.25">13189 3744 0,'93'-27'16,"-119"27"0,12 14-1,-25-14-15,25 13 16,-12-13-16,13 13 0,-14-13 16,14 13-16,0-13 0,-14 14 15,27-1-15,-13-13 0,0 13 16,26 0-1,14 0-15,-14 1 16,13-1-16,1 0 16,12 14-16,-25-14 15,-1 0-15,-13 0 16,0 1-16,0-1 0,0 0 16,-13-13-16,-1 26 15,1-26-15,-13 27 0,13-27 16,-1 13-16,1-13 0,-13 0 15,12 13-15,1-13 16,13-13 0</inkml:trace>
  <inkml:trace contextRef="#ctx0" brushRef="#br0" timeOffset="19232.22">13375 3797 0,'-27'13'16,"27"0"-1,0 0-15,-13 14 0,13-14 16,13 14-16,-13-14 0,0 0 16,13 0-16,-13 1 0,14-1 15,-1-13-15,27 13 0,-14 0 16,-13-13-16,14 0 15,-14 0-15,27-13 0,-14 0 16,-13 0-16,1 13 16,-1-14-16,0-12 15,-13 13 1,-13-1-16,13 1 16,-13 13-16,-1-13 15,1 13-15,0 0 16,0-13-16,-1 13 0,1 0 15,0 0 1</inkml:trace>
  <inkml:trace contextRef="#ctx0" brushRef="#br0" timeOffset="19420.25">13891 3744 0,'13'40'16,"-13"-27"0,0 0-16,0 13 0,-13 14 15,13-27-15,-14 1 16,-12 39-16,13-27 16,-1-13-16</inkml:trace>
  <inkml:trace contextRef="#ctx0" brushRef="#br0" timeOffset="19576.74">13692 3836 0,'-13'-26'0,"26"26"31</inkml:trace>
  <inkml:trace contextRef="#ctx0" brushRef="#br0" timeOffset="19734.91">13996 3876 0,'14'0'16,"-1"-13"-1</inkml:trace>
  <inkml:trace contextRef="#ctx0" brushRef="#br0" timeOffset="20238.66">14684 3612 0,'-79'79'15,"66"-66"1,13 14-16,13 12 16,0-25-16,27 25 15,-14-26 1,14 14-16,-13-27 15,-1 0-15,0 13 16,27-26-16,-13 0 16</inkml:trace>
  <inkml:trace contextRef="#ctx0" brushRef="#br0" timeOffset="20512.25">15174 3612 0,'-40'26'15,"40"-13"1,-13 0-16,13 1 0,0 12 16,0-13-16,0 14 15,13-14 1,0 27-16,1-14 15,-1-13-15,0-13 16,0 0-16,14 0 16,-1 0-1</inkml:trace>
  <inkml:trace contextRef="#ctx0" brushRef="#br0" timeOffset="20784.75">15187 3744 0,'27'-13'31,"-14"-1"-31,0 14 16,0 0-16,-13-13 15,0 0 1,-13 0-16,13-1 15,13 1 1,0 0 0,1 0-16,12 0 15,-13 13-15,54-40 16,-54 27-16,13-1 16</inkml:trace>
  <inkml:trace contextRef="#ctx0" brushRef="#br0" timeOffset="21808.65">12382 3823 0,'80'27'16,"-27"-14"0,-40-13-16,0 0 0,27 13 15,-27-13-15,27 13 16,-27-13-16,27 27 15,-53-1 1,-1 1 0,1-14-16,-80 80 15,67-80-15,-27 27 16,0-1 0,0 1-1,14-14-15</inkml:trace>
  <inkml:trace contextRef="#ctx0" brushRef="#br0" timeOffset="22636.79">15743 3532 0,'-27'-13'16,"14"26"-16,13 0 16,-13 14-16,13 13 15,0-27-15,0 0 16,13 13-16,27 14 15,-1-13 1,14-14-16,-26-13 16,-1 0-16,14-13 15,0-1-15,-27 14 0,13-26 16,-26-14-16,0 14 16,0-14-1,-26 14-15,-54-27 16,54 39-1,-14 1-15,14 13 0,-14 0 16,27 0-16,-53 13 16,53 1-1,-1-14-15</inkml:trace>
  <inkml:trace contextRef="#ctx0" brushRef="#br0" timeOffset="25812.79">17251 3347 0,'-13'-26'16,"-1"52"-16,14-13 16,-13 80-1,0-54-15,13 81 16,-13-54-1,13 13-15,0-52 16,0 39-16,0-53 16,0 13-16,-14 14 15,-12-13 1,13-27-16,0 0 16,-1 0-1,1-14 1,13 1-16,0 0 15,0-14-15,13 1 16,27-27 0,-27 40-16,40-40 15,0 0 1,-13 0-16,-27 27 16,-13 12-16,13-12 15,-13 13-15,0-1 0,0 1 16,-13 0-1,0 13 1,0 0-16,-1 13 16,1 0-16,13 1 15,0 12 1,0-13-16,0 1 16,0-1-16,13 0 0,1 0 15,-1 0-15,13 1 16,14-14-1,-27 0 1,0-14-16,1 14 0,-14-13 16,0 0-1,0 0-15,0 0 0,0-1 16,-14 1-16,1 0 16,13 0-1,13-1 16,1 14-31,-1 14 16,13-14 0,-13 13-16,1-13 15,-1 13-15,0 0 0,0 1 16,1-1-16,-14 0 16,0 0-1,13-39 48,-13 13-48,13 13-15,0-14 0,1 1 16,-1 0-16,0 0 16,13-1-1,-12 1-15,-1 0 0</inkml:trace>
  <inkml:trace contextRef="#ctx0" brushRef="#br0" timeOffset="26032.97">17926 3321 0,'0'0'31,"-14"39"-31,14-12 15,0-1-15,0 14 0,0-1 16,0-25-16,14 12 16,-14 27-1,0-40-15,0 1 0,13 12 16,-13-13-16,0 0 0,0 1 16</inkml:trace>
  <inkml:trace contextRef="#ctx0" brushRef="#br0" timeOffset="26243.09">17727 3612 0,'0'-14'0,"13"1"0,1 13 15,-1-13 1,26 0-16,14-1 15,-13 14-15,-27-13 16,14 13-16,-14 0 0,27-13 16,-27 13-16</inkml:trace>
  <inkml:trace contextRef="#ctx0" brushRef="#br0" timeOffset="27087.62">18177 3532 0,'-13'40'0,"13"-27"15,0 0-15,13 1 0,0-1 16,27-13 0,-40 13-1,26-26-15,-13 13 0,1 0 16,-14-13-16,13 13 16,0-14-1,-13 1-15,13 13 16,-13-13-16,14 26 47,-1-13-32,-13 13 1,13-13-16,-13 14 16,13-14-16,1 0 31,12 0 0,-13-14-31,0 14 16,1-13-16,-1 13 15,0 0 1,0 0-16,1 0 16,-1 0-1,-13 13 1,13-13-16,0 0 15,1 0 32,-1 0-31,0 14 0,0-14-1,0 0-15,1 0 16,-1 0-16,0-14 15,0 14-15</inkml:trace>
  <inkml:trace contextRef="#ctx0" brushRef="#br0" timeOffset="27416.93">18852 3559 0,'26'-27'15,"-13"14"-15,-52 53 0,78-93 16,-39 39-16,13 14 0,-13-13 16,0 0-1,-13 13-15,-13 13 16,13-13-1,-1 13-15,1 14 16,13-14-16,0 0 16,0 1-16,13-14 15,14 13-15,-14-13 16,27 0-16,-14 0 16,-13 0-16,14 0 15</inkml:trace>
  <inkml:trace contextRef="#ctx0" brushRef="#br0" timeOffset="27880.08">19936 3334 0,'-79'-13'0,"66"26"16,-40-13-16,26 13 15,-12 0-15,12 0 16,14 1-16,0-1 15,13 0-15,13 14 16,13-1-16,1-13 16,-14 0-16,-13 1 15,13-1-15,1-13 0,-1 13 0,0 0 16,0 1 0,-13-1-16,-13 0 15,-13 0 1,12-13-16,-12 14 0,13-1 15,-27-13-15,27 0 16,0 0-16,-1 0 0,1 0 16,40-13-1</inkml:trace>
  <inkml:trace contextRef="#ctx0" brushRef="#br0" timeOffset="28439.62">19963 3440 0,'-13'26'16,"-1"-26"-16,14 13 15,0 0-15,0 1 16,14-1-16,-1 0 16,0-13-16,0 13 15,-39-118-15,65 210 0,-25-105 16,12 0-16,-13-13 0,1 13 15,-14-13 1,0 0-16,0-1 16,-14 1-16,1 13 15,13-13-15,-26 13 16,26-13-16,-14 13 0,1 0 0,0 0 16,0 0-16,52 0 46,-25 0-46,-1 0 0,0 0 16,0 0-16,1 0 16,-1 0-16,0 13 15,0-13-15,1 13 16,-1-13-16,0 13 16,0-13-16,-13 14 15,13-14-15,1 0 0,12 0 16,-13 0-16,1 0 0,-1 0 15,0 0-15,0-14 0,1 14 16,-14-13-16,0 0 16,13 0-16,-26 13 15,13-13-15,-14-1 16,1 14-16,13-13 0,-13 13 16,-14 0-16,14 13 15,0-13-15,0 0 0,-1 0 16</inkml:trace>
  <inkml:trace contextRef="#ctx0" brushRef="#br0" timeOffset="29719.94">20770 3254 0,'13'27'0,"-13"-14"0,0 0 16,0 1-16,0-1 0,0 0 15,0 13 1,0-12-16,0-1 0,0 0 0,-13 0 15,13 1-15,0-1 0</inkml:trace>
  <inkml:trace contextRef="#ctx0" brushRef="#br0" timeOffset="29904.09">20757 3215 0,'0'-14'0</inkml:trace>
  <inkml:trace contextRef="#ctx0" brushRef="#br0" timeOffset="30236.17">21021 3254 0,'-13'14'16,"26"-14"-16,-13 26 0,13-13 16,-13 1-16,0-1 0,14-13 15,-14 13-15,13 0 0,-13 0 16,0 1-16,0-1 0,0 0 16,0 0-16,-13 1 15,-1-1 1,1-13-16,13 13 0,-26-13 15,12 0-15,1-13 16,0 13-16</inkml:trace>
  <inkml:trace contextRef="#ctx0" brushRef="#br0" timeOffset="30794.88">21431 3254 0,'13'27'0,"-26"-14"15,13 0-15,0 1 16,0-1-1,-13 0-15,39-26 47,1 0-15,-14 13-32,0 0 15,1 0-15,-1 0 16,0 0-1,-13 13-15,13 0 16,-13 0 0,0 0-16,-13-13 15,13 14-15,0-1 16,27-26 31,-14 13-32,-13-14 1,13 14-16,0 0 16,0 0-16,1 0 15,-1 14-15,0-1 16,0-13 0,1 13-16</inkml:trace>
  <inkml:trace contextRef="#ctx0" brushRef="#br0" timeOffset="31878.98">22040 3321 0,'-27'-14'15,"14"14"-15,-13 0 16,12 14-1,1-14 1,0 0-16,13 13 16,-13-13-16,39 0 47,-13 0-32,1 0 1,-14 13-1,13-13-15,-13 13 16,13 0 0,0-13-1,1 0 1,-1 0 0,0-13-1,0 0-15,0 0 0,-13 0 16,0-1-16,14-12 15,-14 13-15,13-14 16,-13 14-16,0 0 0,13-1 0,-13 1 0,0 0 16,0 0-1,0 0-15,0 39 47,-13-13-47,13 14 0,0-1 31,13-26-31,-13 27 0,13-14 16,1 0-16,-1-13 0,0 13 16,0-13-16,1 0 15,-1 0-15,0 0 16,0 0 0,0 0-16,1 0 31,12-13-16,-13 13 1,1 0-16,-1 0 0,13 0 16,-12 0-16,-1 0 0</inkml:trace>
  <inkml:trace contextRef="#ctx0" brushRef="#br0" timeOffset="33211.9">13163 4815 0,'-26'0'16,"12"0"-16,1 14 16,0-14-16,0 13 0,-1-13 15,-12 13-15,13-13 0,0 13 0,-14-13 16,14 14-16,0-14 0,-1 0 15,1 13-15,0 0 0,0-13 16,13 13-16,13 0 31,0-13-31,-13 14 0,13-14 16,14 0-16,-14 0 0,0 0 16,1 0-16,-1 0 0,0 0 15,0 0-15,14 0 16,-14 0-16,0 0 0,0 0 0,1 0 15,-1-14-15,0 14 16</inkml:trace>
  <inkml:trace contextRef="#ctx0" brushRef="#br0" timeOffset="33539.62">13467 4829 0,'14'-14'0,"-1"14"16,0 0-16,0 0 0,0-13 15,1 13-15,12 0 16,1 13 0,-14-13-16</inkml:trace>
  <inkml:trace contextRef="#ctx0" brushRef="#br0" timeOffset="33724.68">13494 4934 0,'-13'0'15,"39"0"17,0-13-17,-12 13-15,-1 0 16,0 0-16,27-13 15,-27 0 1,0 13-16</inkml:trace>
  <inkml:trace contextRef="#ctx0" brushRef="#br0" timeOffset="34824.94">14565 4749 0,'40'-26'0,"-27"26"15,0-13-15,1 13 16,-41 13 15,14 0-15,0-13-16,0 13 15,-1 0-15,1-13 16,13 14-16,0-1 31,13 13-15,1-26-16,-1 14 15,-13-1-15,13-13 16,-13 13-16,0 0 16,-13 1-1,13-1-15,-13-13 16,-1 0-16,14 13 0,-13-13 0,0 0 16,0 13-16,-1-13 15</inkml:trace>
  <inkml:trace contextRef="#ctx0" brushRef="#br0" timeOffset="35135.69">14724 4776 0,'13'0'0,"-13"13"16,0 0-16,0 0 15,14 1 1,-1-14-16,0 0 16,0 13-16,0-26 15,1 13-15,-1 0 0,0 0 16,-13-14-16,0 1 16,0 0-1,-13 0-15,0-1 16,-1 1-16,1 13 15,13-13-15,-26 13 16,13 13-16,-1-13 16,1 0-16,13 27 15,-13-14-15</inkml:trace>
  <inkml:trace contextRef="#ctx0" brushRef="#br0" timeOffset="35364.73">15094 4749 0,'-52'40'0,"38"-27"16,-25 14-16,-1 12 0,13-25 15,1 12-15,0 0 0,-1 1 0,14-14 16,0 0-16,-1 1 16,1-14-16</inkml:trace>
  <inkml:trace contextRef="#ctx0" brushRef="#br0" timeOffset="35533.76">15042 4908 0,'-67'79'15,"54"-79"-15,0 14 0,0-1 16,-1 0-16,-25 14 0,26-14 16,-1 0-16</inkml:trace>
  <inkml:trace contextRef="#ctx0" brushRef="#br0" timeOffset="36500.23">12951 4974 0,'-79'0'15,"53"0"-15,-1 0 0,-13 0 0,1 0 16,-14 0-16,0-13 0,-40 13 16,-26-27-16,40 14 15,-1 0-15,1 0 0,0 0 0,-1-14 16,-26 14-16,1-14 0,-107-39 15,106 40-15,14-1 0,-14-12 16,13-1-16,-105-39 0,92 39 16,13 0-16,1 1 0,-1-1 15,0-13-15,14 13 0,-14-13 0,1 14 16,12-14-16,-12 0 0,12 13 16,1-13-16,-66-26 0,65 26 15,14 13-15,-79-52 0,-1-1 16,40 0-1,40 54-15,26-1 0,-13 0 16,1 1-16,-1-14 0,-40-27 16,0 14-16,1 0 15,52 40-15,0-14 0,-26 0 16,13 14 0,40 13-16,-13-1 0,12 1 0,1 13 0,0-13 15,0 13-15,13-13 0,-13 13 16,-1 0-1,1-14-15,0 28 16,0-14 0</inkml:trace>
  <inkml:trace contextRef="#ctx0" brushRef="#br0" timeOffset="36892.69">8520 3135 0,'-14'0'15,"1"0"-15,0-13 0,0 13 16,-1-13-16,-25-14 0,-1 14 15,-13-27-15,27 27 16,12 0-16,-12 0 0,13 0 16,-14-14-16,1 14 15,13 0-15,13-1 16,0 1-16,0 0 16,39 0-16,-25 13 15,-1-13-15,13 13 16,1-14-16,-1 14 0,67-13 15,-14 13-15,-52-13 16,-1 13-16,14 0 0,-14 0 16,40-13-16,-39 13 15,12-14-15,-25 14 16,-14-13-16</inkml:trace>
  <inkml:trace contextRef="#ctx0" brushRef="#br0" timeOffset="40507.58">2686 2950 0,'185'13'16,"-146"-13"-1,-12 0-15,26 0 0,-14 0 0,14-13 16,-13 13-16,0-13 0,-1 13 16,14-13-16,-26-1 0,52 1 15,-26-13-15,13-14 16,-53 14-16,14 12 0,-1-12 16,1-27-16,13-40 15,-27 67-15,0-40 16,-13 39-16,0 1 0,0-1 15,0 1-15,0-1 0,0 1 16,-13-27-16,0 27 0,-1-1 16,1 1-16,0-1 0,-14-12 15,-12-14-15,-14 13 16,26 14-16,-12-1 0,-54-26 16,53 27-16,1 12 15,-14 1-15,-53-13 0,53 13 16,-53 13-16,40 0 0,13 0 15,-13 0-15,0 13 0,0 0 16,13 0-16,-13 14 0,13-14 0,-13 13 16,-1 1-16,-38 26 0,52-14 15,0-12-15,0 26 0,-40 39 16,-26 80 0,53-53-16,13 1 15,27-81-15,12 54 16,14-40-16,14-27 15,-14 14-15,39 0 0,1-14 0,-14-13 16,14 0-16,92 14 16,-92-27-16,13 0 15,53-13-15,-66-1 0</inkml:trace>
  <inkml:trace contextRef="#ctx0" brushRef="#br0" timeOffset="47124.59">10226 7170 0,'-53'-53'16,"-13"40"-1,26 0-15,1 0 0,-67 13 16,53 0-16,0 0 15,-92 0-15,-14 26 16,79-13-16,14 1 0,0-1 0,-13 0 0,13 0 16,13 14-16,-13-14 15,-1 0-15,14 14 0,1-1 0,-15 0 16,28 1-16,-14-1 0,13 1 0,0 13 16,1-14-16,-1 14 0,0-1 15,-13 54-15,27-53 16,13 13-16,0 0 0,-14-1 0,14 68 15,0-54-15,13 13 16,0-13-16,0 14 0,0-1 0,0 0 0,0 1 16,0-1-16,0 14 0,0-14 15,0 0-15,0 1 0,-14-14 16,14 13-16,0-13 0,0 1 0,0-1 16,14-13-16,-14 0 0,0-14 0,0 1 15,13 0-15,-13-1 0,13 1 16,0-14-16,40 27 0,-13-26 15,0-1-15,-1-12 0,14-1 0,13 0 16,-13-13-16,27 0 0,105-13 16,-66 0-16,0-14 0,0 1 15,13-1-15</inkml:trace>
  <inkml:trace contextRef="#ctx0" brushRef="#br0" timeOffset="48132.6">22463 7144 0,'238'-27'16,"-185"27"-16,-13 0 0,13 0 0,-14 0 15,-12 0-15,13 0 0,-14 0 0,1 0 16,-1 14-16,0-14 0,1 13 15,-14-13-15,0 13 0,14 0 16,-14 14-16,0-14 0,1 13 0,-1 14 16,0 39-16,-13-52 0,13 26 15,-13-14-15,0 1 0,13 13 16,-13 0-16,14 0 0,-1 0 0,0 0 16,-13 13-16,13-13 0,1 13 0,-1 0 15,0-13-15,0 13 0,0 0 16,1 0-16,-1 67 0,0-80 15,0 0-15,14 66 0,-14-80 16,0 1-16,-13 0 0,14-1 16,-1 1-16,-13 0 0,13-1 15,-13-12-15,13-1 0,-13 1 0,0-1 16,13-12-16,-13 12 0,0-13 0,0 0 0,0 1 16,0-1-16,0 0 15,-13 0-15,13 1 0,-13-1 0,0 0 16,0-13-16,-1 13 0,-12-13 0,-1 14 15,-12-14-15,-14 13 0,0-13 16,0 0-16,-13-13 0,-14 13 0,1-14 16,-106 1-16,53-13 0,12 12 15,-12-12-15,-13-1 0</inkml:trace>
</inkml:ink>
</file>

<file path=ppt/ink/ink21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16:15.203"/>
    </inkml:context>
    <inkml:brush xml:id="br0">
      <inkml:brushProperty name="width" value="0.05292" units="cm"/>
      <inkml:brushProperty name="height" value="0.05292" units="cm"/>
      <inkml:brushProperty name="color" value="#0070C0"/>
    </inkml:brush>
  </inkml:definitions>
  <inkml:trace contextRef="#ctx0" brushRef="#br0">5993 5106 0,'39'-13'32,"67"13"-17,-53 0-15,13-13 0,133 13 16,-120-13 0,1 13-16,-14 0 0,13 0 0,0 0 15,146 0 1,-172 0-16,0 0 0,0 0 0,0 0 0,40 0 15,-67 0 1,-13 0-16,40 0 16,-40 0-16,1 0 15,-1 0-15,-53 0 32,-66 13-17,67-13-15</inkml:trace>
  <inkml:trace contextRef="#ctx0" brushRef="#br0" timeOffset="169.27">6681 5186 0,'-53'26'0,"93"-12"16,-14-14-16,40 0 0,27 0 31,-40-14-31,105 1 0,-118 13 0,0-13 16,26 13-1,0-27 1</inkml:trace>
  <inkml:trace contextRef="#ctx0" brushRef="#br0" timeOffset="974.13">992 5768 0,'185'0'0,"-118"-13"0,12 13 16,-13 0-16,13-14 0,146 1 16,-145 13-16,39-13 15,-53 13-15,-26-13 0,13 13 16,39 0-1,-79 0-15,1-13 0,38 13 16,-38 0 0,-1 0-16</inkml:trace>
  <inkml:trace contextRef="#ctx0" brushRef="#br0" timeOffset="2641.64">5027 5755 0,'278'-14'16,"-212"14"-16,13 0 0,93 0 16,-79 0-16,0 0 0,12 0 0,14 0 15,199 0 1,-212 0-16,0 0 0,92 0 16,-105-13-16,-1 13 0,-12 0 0,-1 0 15,119 0 1,-131 0-1,-41 0-15,-13 0 0,27 0 32,-27 0-32,0 0 15,-52 0 17,-14 13-17,26-13-15,-12 0 16,-1 14-16</inkml:trace>
  <inkml:trace contextRef="#ctx0" brushRef="#br0" timeOffset="3877.08">900 6482 0,'39'0'0,"-12"0"16,-1 0-16,14 0 0,13 0 0,185-13 15,-159 13 1,14-13-16,357 0 16,-358 13-16,-12-14 15,-1 14-15,-13 0 0,93-13 16,-106 13-1,-27-13-15,1 13 0,-1 0 0,1 0 0,-14 0 16,40-13 0,-40 13-16,0 0 15,1 0-15,-1 0 16,0 0 0,0 0-1,0 0 1,-39 0 15,-14 13-15,14-13-16,-1 0 0,-39 13 15,13 0-15,14-13 16,-28 0-16,-52 14 0,53-1 16,0-13-16,0 0 0,13 13 15,-13-13-15,-265 27 16,278-27-1,27 0-15,-1 0 0,1 0 16,-27 13 0,106-13-1,-27 0-15,133-13 32,66 13-32,-146 0 0,1-14 15,-1 14-15,-26 0 0,13 0 16,-13 0-16,0 0 0,-13 0 15,-1 0-15,67-13 16,-93 13-16,1 0 16,-67 0 15,-80 13-31,81 1 16,-160-1-1</inkml:trace>
  <inkml:trace contextRef="#ctx0" brushRef="#br0" timeOffset="6276.86">3532 12435 0,'27'0'0,"-14"0"16,40 0 0,-40 0-16,53 0 15,-26 0-15,52-13 0,-52 13 0,-13 0 16,52 0 0,-53 0-16,-12 0 0,-1 0 15,13 0-15,-12 0 0,-1 0 16,0 0-1</inkml:trace>
  <inkml:trace contextRef="#ctx0" brushRef="#br0" timeOffset="6567.32">3956 12303 0,'52'13'16,"-52"1"0,27-14-16,-1 26 0,14 14 15,-13-1 1,-14-25-16,0 12 15,-13-13-15,13 14 0,-13-14 0,-13 13 16,13 1-16,-13-14 0,0 0 16,-1 1-16</inkml:trace>
  <inkml:trace contextRef="#ctx0" brushRef="#br0" timeOffset="8654.28">4617 12330 0,'13'-14'16,"14"1"-1,-14 13-15,13 13 0,14 14 32,-27-27-17,-13 13-15,-13 0 0,13 0 0,-26 14 16,12-14-16,1 0 16,0 14-16,0-27 0,-14 26 0,1 1 15,13-14 1,-1-13-16,1 13 15,0-13-15,0 13 0,39 1 32,1-14-17,-14 0-15,0 0 16,0 0-16,0 0 16,27 0-1,-27 0-15,40-14 16,-40 14-16,1 0 0,-1-13 15</inkml:trace>
  <inkml:trace contextRef="#ctx0" brushRef="#br0" timeOffset="8992.08">4961 12369 0,'-40'0'16,"40"13"-16,-13-13 15,13 14-15,0-1 16,0 0-16,0 0 0,13 1 16,0-1-1,1 0-15,12-13 16,-13 0-16,1 0 16,-1 0-16,0 0 15,0-13 1,-13 0-1,0-1-15,-13 1 0,0 0 16,0 0 0,-1 13-1,1 0 1,13-14-16</inkml:trace>
  <inkml:trace contextRef="#ctx0" brushRef="#br0" timeOffset="9282.29">5093 12382 0,'0'27'32,"0"-14"-32,0 0 0,13-13 15,-13 14-15,14-14 0,-1 13 16,27-13-16,-27 0 15,-13-13-15,40-1 16,-27 1-16,-13 0 16,13-14-1,-39-12-15,26 26 16,-14 13-16,1-14 0,-27 14 16,14 0-1,13 0-15,-40 27 16,53-14-1</inkml:trace>
  <inkml:trace contextRef="#ctx0" brushRef="#br0" timeOffset="10172.21">3466 11880 0,'159'0'15,"-146"0"-15,53 0 16,-53-13-16,14 13 15,-14 0-15,0 0 0,1 0 0,12 0 16</inkml:trace>
  <inkml:trace contextRef="#ctx0" brushRef="#br0" timeOffset="11949.32">2355 12462 0,'-13'26'31,"26"1"-31,0 12 16,0-25-16,0-14 15,1 13-15,12 0 16,-13 0-16,14-13 0,-14 0 0,14 0 0,92-13 31,-93 0-31,1 13 16,-14-13-16,13-14 0,-13 27 15,-13-13-15,0-27 16,-13 27-16,0 0 16,0 0-16,0-1 0,-54-12 15,41 26-15,-1 0 0,14-13 16,-13 13-16,-67 13 15,80 0 1,-14-13-16,14 0 0,0 13 0,0-13 16,0 14-16,-1-14 0</inkml:trace>
  <inkml:trace contextRef="#ctx0" brushRef="#br0" timeOffset="12398.07">2712 12277 0,'13'0'16,"14"132"15,-14-106-15,-13-12-16,13 12 0,0 27 15,1-40-15,-14 0 16,13 1-16,0 12 16,0-13-1,1-39 1,-1-1 0,13 14-16,-26 0 15,13 0-15,1 13 0,-1-13 16,13-1-16,-12 14 15,-1 14 1,0-1 0,-13 0-16,0 0 0,0 0 15,0 1 1,0-1-16,-13 0 16,0-13 15</inkml:trace>
  <inkml:trace contextRef="#ctx0" brushRef="#br0" timeOffset="12733.56">3149 12396 0,'26'13'0,"-13"0"0,-13 0 16,13 14-1,-13-14 1,-13 14 0,0-14-1,0 0 1,0-13-1</inkml:trace>
  <inkml:trace contextRef="#ctx0" brushRef="#br0" timeOffset="13340.53">3082 12422 0,'-13'-13'0,"26"0"16,-13-1 0,14 14-16,-1-13 15,-13 0-15,13 13 0,0 0 16</inkml:trace>
  <inkml:trace contextRef="#ctx0" brushRef="#br0" timeOffset="15298.24">2368 10583 0,'26'-13'0,"-12"13"0,-1-13 16,0 13-1,0-13-15,-39 26 47,-1 13-31,-12-12-16,26-1 15,-27 0 1,27 0-16,26 0 31,0-13-15,0 14-16,14-1 15,-14-13-15,0 0 16,-13 13-16,13-13 0,14 13 16,-27 1-16,0-1 15,-13 13 1,-1-12-16,1-1 0,0-13 16,-13 26-16,12-26 0,-39 27 15,40-14 1,0-13-16,0 13 15,-14-13-15</inkml:trace>
  <inkml:trace contextRef="#ctx0" brushRef="#br0" timeOffset="15616.22">2474 10663 0,'-13'0'16,"-1"13"-16,14 0 16,14 0-1,12 1 1,-13-14-16,1 0 0,-1 0 16,0 0-16,0 0 0,0 0 15,1 0-15,-1-14 0,0 1 16,-13 0-1,-13-14 1,0 14 0,-1 0-16,1 13 0,-13-13 15,13 13 1,-14 0 0,14 0-16</inkml:trace>
  <inkml:trace contextRef="#ctx0" brushRef="#br0" timeOffset="16838.2">2805 10491 0,'-27'0'0,"14"13"16,-14 0-1,27 14 1,0-14-16,14 0 16,-1 0-1,0-13-15,0 0 16,14 0-16,-14 0 0,0-13 15,14 0 1,-14 0 0,-13-1-16,0-12 15,-13 13 1,13 0-16,-13 13 0,13-14 0,-14 14 16,1 0-1,0-13-15,0 13 0,-1 0 16,1 13-1,40 1 17,-1-1-17,-13-13 1,1 0-16,-1 13 0,0-13 0,13 13 16,-12-13-16,12 13 15,-13-13-15,1 0 0,-14 14 0,13-14 16,0 0-16,0 13 15,0-13-15,1 13 32,-1-26-1,-13 0-15,13-1-16,0 1 15,1 0-15,-1-13 16,0 12-16,0 1 15,1 0-15,-14 0 16,0-1 15,-14 14-15,14 14 31,14-1-32,-14 0-15,13-13 0,-13 13 0,13-13 16,-13 14 0,13-14-16,-13 13 15,13 0-15,-13 0 32,14-26 14,-1 0-30,0 0-16,0 13 31,1-14-31,-14 1 0,26 0 32,-13 13-32,1-13 15,-1-1 1,0 1-1,0 13 1,0 0 15,-13 13-15,0 1 15,0-1 0,-13-13-15,0 0 0,0 13 15</inkml:trace>
  <inkml:trace contextRef="#ctx0" brushRef="#br0" timeOffset="18457.22">2368 11695 0,'-13'39'16,"0"-25"-16,13-1 0,0 0 0,-14 27 15,1-27 1,0 40-1,13-40-15,0 0 16,0 0 0,0 14-1,13-14 1,0-13 0,1 13-1,12-13 1,-13 0-1,0 0-15,54-13 32,-54 13-32,13 0 15,-12 0-15</inkml:trace>
  <inkml:trace contextRef="#ctx0" brushRef="#br0" timeOffset="18684.49">2394 11840 0,'40'-13'0,"-40"0"0,13 13 16,1 0-16,-1-14 16</inkml:trace>
  <inkml:trace contextRef="#ctx0" brushRef="#br0" timeOffset="18881.54">2447 11668 0,'40'-13'0</inkml:trace>
  <inkml:trace contextRef="#ctx0" brushRef="#br0" timeOffset="19082.81">2765 11642 0,'-13'26'0,"-1"-13"0,1 27 16,13-27-16,-13 1 15,0 38-15,0-38 16,-1 25-16,1-12 0,0-14 16,0 13-16,13-12 0,-14-1 15</inkml:trace>
  <inkml:trace contextRef="#ctx0" brushRef="#br0" timeOffset="19286.15">2566 11787 0,'106'66'15,"-92"-66"-15,52 27 16,-53-27-1,0 13-15</inkml:trace>
  <inkml:trace contextRef="#ctx0" brushRef="#br0" timeOffset="22999.08">4313 11615 0,'13'-13'16,"13"0"-16,-12 13 15,12 0 1,-13 0-16,1 13 0,-1 0 16,-13 0-1,0 1-15,-27 25 16,14-25-16,0-1 0,0 13 15,-1-12-15,-12 12 16,13-13-16,13 0 16,13-13 15,13 0-15,14 0-1,-27 0-15,1 14 16,-1-14-16,0 13 0,-13 0 31,-13 0-31,13 1 0,-53 12 16,-13 0-1,52-12 1,1-14-16,0 0 16,13 13-16</inkml:trace>
  <inkml:trace contextRef="#ctx0" brushRef="#br0" timeOffset="23369.85">4524 11655 0,'-13'13'0,"0"0"15,13 14 1,0-14-16,0 0 16,40 27-1,-27-40-15,0 0 0,0 0 16,14 0 0,-14-13-16,0 13 0,0-13 15,-13-14 1,14 27-16,-28-13 15,14 0-15,-13-14 16,0 27-16,0-13 16,0 0-16,-1 13 0,1 0 0,0 0 15,-14 0 1,14 0-16,0 13 16</inkml:trace>
  <inkml:trace contextRef="#ctx0" brushRef="#br0" timeOffset="23722.97">4868 11576 0,'-26'26'16,"26"-13"-16,-13 27 16,13-27-16,0 0 0,0 1 15,13 12 1,0-26-16,0 13 16,14-26-16,-14 13 0,0 0 15,0-26 1,1 26-16,-1-40 0,-13 27 15,13-1-15,-13 1 0,-13 0 16,13 0-16,0 0 0,-27-14 16,14 14-16,13 0 0,-13 13 15,-13-14 1,12 14-16,1 0 0</inkml:trace>
  <inkml:trace contextRef="#ctx0" brushRef="#br0" timeOffset="33241.4">5384 11245 0,'40'-13'16,"-27"-1"-16,40-12 16,-40 26-16,1-13 0,52-14 31,-53 27-31,0 0 16,0 0-16,-13 13 15,14 1-15,-14-1 0,13 13 0,0 1 16,27 105-16,-27-79 15,27 79-15,-27-79 16,13 13-16,1 1 0,-14-15 0,80 266 31,-80-252-31,13-13 16,-12 13-16,12 93 16,-26-119-16,0-1 0,0 14 0,0-13 15,0 0-15,-26 39 16,12-39-16,1-1 0,-13-12 0,12-1 15,-12 14-15,0-27 0,-41 53 16,41-52-16,-1-1 0,-25 0 16,38 0-1,1-13-15,0 0 0,-27 0 16,40-13-16,-13 0 16</inkml:trace>
  <inkml:trace contextRef="#ctx0" brushRef="#br0" timeOffset="34921.44">8930 11417 0,'0'-13'47,"-14"13"-31,1 0-1,0 0-15,0 13 0,0-13 16,-1 0-16,1 13 16,0 0-16,13 0 15,26 27 1,-26-27 0,14 1-16,-1-1 0,0 0 0,13 14 15,-12-14-15,12 13 16,-13-13-16,-13 1 0,14-14 15,-1 13-15,-13 13 16,-13 14 0,-1-27-16,-12 1 15,13-14-15,-1 0 0,1 0 16,-13 0 0,13-14-16,-1 14 15,14-13-15,0 0 16,27-27-1,-27 27-15,26-14 0,-13 14 16,-13 0-16,14-13 0,12-14 16,-26 27-16,13-27 15,-13 27 1,-13-1-16,13 1 0,0 0 0,-13 0 16,0 0-16,-14-1 15,14 1 1,0 13-16,0 0 15,-1 13-15</inkml:trace>
  <inkml:trace contextRef="#ctx0" brushRef="#br0" timeOffset="35365.22">9300 11377 0,'-26'0'0,"-27"13"15,26-13-15,-12 14 16,25-14-16,1 13 16,-13 0-1,12 0-15,28-13 16,-1 13-16,27 1 16,13 12-1,-40-26-15,13 13 0,14 1 16,-27-1-1,0-13-15,-13 13 0,-13 14 16,0-14-16,0 0 16,-1-13-16,-12 13 15,0 0-15,-1-13 0,1 14 0,-41-1 16,41-13-16,13 13 0,-14-13 16</inkml:trace>
  <inkml:trace contextRef="#ctx0" brushRef="#br0" timeOffset="35962.49">8229 11721 0,'52'0'0,"-25"-13"16,-14 13-16,67-13 31,-54 13-31,14-14 0,-27 14 16,0 0-16,0 0 0,14-13 15,-14 13-15</inkml:trace>
  <inkml:trace contextRef="#ctx0" brushRef="#br0" timeOffset="36250.87">8467 11576 0,'39'0'0,"1"13"15,-14 0 1,-26 0-16,14-13 0,-1 13 16,0 14-1,-13-14-15,0 0 0,-13 1 16,0-1-16,-14 27 16,14-27-16,-13 0 15,12 0-15</inkml:trace>
  <inkml:trace contextRef="#ctx0" brushRef="#br0" timeOffset="37145.92">7236 11774 0,'-66'26'16,"40"1"-1,26-14-15,-13 0 0,13 1 0,-27 12 16,27-13-1,0 0-15,0 1 0,13 25 16,1-25-16,-1-14 0,-13 13 16,26 0-1,1 0-15,-14-13 0,0 0 0,0 0 16,14 0-16,-14 0 0,13 0 0,-12 0 16,-1-13-16,13 13 0,-12-13 15,-1 13-15,0-13 0,0-1 0,1 14 16,-1-13-16,0 0 0</inkml:trace>
  <inkml:trace contextRef="#ctx0" brushRef="#br0" timeOffset="37492.94">7514 11668 0,'0'-26'16,"-13"-1"0,0 54 15,13-14-31,0 0 0,0 0 0,0 1 15,0 12-15,0-13 16,0 1-16,0-1 0,0 0 0,0 0 16,0 14-1,0-14-15,13 0 0,0-13 32,0 0-17,1 0 1,-1 0-1,13 13 1,-12 1 0,-1-14-16,0 13 15,0-13 1,14 0 0</inkml:trace>
  <inkml:trace contextRef="#ctx0" brushRef="#br0" timeOffset="38044.5">7739 11721 0,'-13'0'0,"13"13"16,-13 1-1,13-1 1,0 0-16,0 13 16,13-12-1,-13-1-15,0 0 16,13-13-16,-13 13 16,13-13-1,14-26 16,-14 26-15,-13-13-16,13 13 16,0 0 15,1 0-31,-1 13 16,-13 0 15,13-13-16,0 13 1,1-13 15,-1-13-15,0 13 0,0 0-1,14-13 1,-14 13-1</inkml:trace>
  <inkml:trace contextRef="#ctx0" brushRef="#br0" timeOffset="39516.12">7686 11800 0,'40'14'15,"-27"-14"-15,-13 13 0,0 0 16,0 0 0,0 1-16,-13-1 0,13 0 15</inkml:trace>
  <inkml:trace contextRef="#ctx0" brushRef="#br0" timeOffset="40134.3">7726 12541 0,'-27'66'0,"27"-26"16,0-27-16,27 40 31,-14-40-31,0 1 0,14-14 16,12-14-1,-25 1-15,-1 13 0,-13-13 16,26-27-1,-26 27-15,0-13 16,0 12-16,-13-12 0,0 13 16,-14-14-1,-12 14 1,26 13-16,-14-13 16,14 13-1</inkml:trace>
  <inkml:trace contextRef="#ctx0" brushRef="#br0" timeOffset="40549.57">7898 12330 0,'26'52'0,"-26"-38"0,0-1 16,14 27-16,-14-27 0,13 13 15,-13-12-15,26 38 16,-26-38-16,13 25 31,1-25-31,-1-28 16,0-12 0,0 13-1,1 13 1,-1-14-16,0 14 15,0 0-15,14 14 32,-14-14-32,-13 13 0,13 0 0,-13 0 15,0 1 1,0-1 0,0 0-1,-13-13-15,13-26 47</inkml:trace>
  <inkml:trace contextRef="#ctx0" brushRef="#br0" timeOffset="40776.97">8229 12435 0,'13'27'0,"0"-14"0,-13 0 16,0 1 0,0-1-16,0 0 0,0 0 0,0 0 0,0 1 15,-13 39 1,0-40-16,-1 0 16,14 0-16,-26 1 31,-1-14-31</inkml:trace>
  <inkml:trace contextRef="#ctx0" brushRef="#br0" timeOffset="41081.89">8559 12422 0,'40'-13'16,"-27"13"-1,0 0-15,1 0 0,12-13 16,-13 13-16,14 0 31</inkml:trace>
  <inkml:trace contextRef="#ctx0" brushRef="#br0" timeOffset="41332.23">8678 12277 0,'40'26'16,"13"14"-1,-40-40-15,0 13 16,1 13-16,-1-12 15,-13-1-15,0 0 0,-13 27 16,13-14-16,-14-12 16,1-1-16,13 0 0,-13-13 15,13 13-15,-13 0 0</inkml:trace>
  <inkml:trace contextRef="#ctx0" brushRef="#br0" timeOffset="41908.01">9459 12211 0,'-40'13'0,"27"0"0,-27 13 32,27-12-32,13-1 0,-13-13 0,13 13 0,-13 0 15,13 1-15,0-1 16,13-13-16,0 0 16,0 0-16,40-27 31,-40 27-31,14-13 0,-14 13 15,14 0-15,-14 13 16,0 1-16,0 12 16,0-13-16,-13 0 0,14 40 31,-14-13-31,0-27 0,13-13 0,-26 27 16,13-14-1,0 0-15,0 0 0</inkml:trace>
  <inkml:trace contextRef="#ctx0" brushRef="#br0" timeOffset="42201.37">9710 12263 0,'-13'0'16,"0"14"-16,13-1 16,13 0-1,-13 0-15,13 14 16,0-14-16,14 27 16,-27-27-16,13-13 0,-13 13 15,0 0-15,0 1 0,0-1 16,-13 0-16,0 0 15,-1 1-15,1-14 16,13 13-16,-13-13 0,0 0 16,-14-13-16,27-1 15</inkml:trace>
  <inkml:trace contextRef="#ctx0" brushRef="#br0" timeOffset="42805.91">9710 12052 0,'53'0'16,"-40"0"-16,14-13 16,-14 13-16,13 13 15,-12-13-15,-1 0 16,0 0-16,14 13 16,-14 0-16,0 0 0,14 14 15,-1 13 1,-13-14-16,0 1 15,1-1-15,12 27 0,-13-27 16,27 80 0,-40-79-16,13-1 0,-13-13 15,0 40-15,0-40 16,0 1-16,0-1 0,0 0 0,0 0 16,-13 14-16,0-14 15,-14 0-15,-26 14 16,1-27-1,38 0-15,-52-13 16,26-14-16,-12-26 0,25 27 0</inkml:trace>
  <inkml:trace contextRef="#ctx0" brushRef="#br0" timeOffset="43343.14">9578 10821 0,'66'0'0,"-39"14"16,-1-14-16,-13 13 15,0 0-15,1-13 0,-1 13 0,0 1 16,53 52-16,-39-27 16,-14-12-16,53 65 15,-53-52-15,14 0 0,-1 0 16,14 79 0,-14-80-16,-12 1 0,-14 0 0,26-1 15,1 67-15,-27-66 16,0-14-16,0 1 0,0 26 15,-14-27-15,1 14 16,0-14-16,-106 93 16,79-92-16,-13-1 0,0 14 0,0-14 15,-13-12-15,0 12 0,-13 1 16</inkml:trace>
  <inkml:trace contextRef="#ctx0" brushRef="#br0" timeOffset="71424.3">6734 7885 0,'13'0'47,"0"0"-32,40 0-15,13 0 16,265 53 0,-93-53-16,13 0 15,54 13 1,-54-13-16,-39 0 0,52 0 15,-224 0 1</inkml:trace>
  <inkml:trace contextRef="#ctx0" brushRef="#br0" timeOffset="73384.7">754 7858 0,'13'0'125,"27"0"-110,53 13-15,39-13 16,27 0-16,39 0 15,40 0 1,14 0-16,-67 0 0,13 0 16,-39 0-16,-40 0 15,-13 0-15,-14 0 16</inkml:trace>
  <inkml:trace contextRef="#ctx0" brushRef="#br0" timeOffset="77296.82">5689 8480 0,'26'0'125,"225"0"-109,-92 0-16,53 0 15,-14 0-15,40 0 16,-52 0-16,-28 0 16,-39 0-16,-79 0 15</inkml:trace>
  <inkml:trace contextRef="#ctx0" brushRef="#br0" timeOffset="79168.92">5292 9088 0,'66'0'156,"53"40"-140,-13-27-1,79 1-15,119 39 16,-172-40-1,160 40 1,-187-27-16,28-13 16,-28-13-1,41 27-15,13-14 0,-14-13 16,14 0-16,26 0 16,-26 0-1,-27 0-15,14 0 0,-40 0 16,-67 0-16,-25 0 15</inkml:trace>
  <inkml:trace contextRef="#ctx0" brushRef="#br0" timeOffset="81312.23">1177 9684 0,'-13'13'94,"13"13"-79,27-26 1,-1 0-16,1 0 15,-1 27-15,-13-27 16,14 0-16,-14 0 16,27 0-1,13 0-15,-1 0 0,28 0 16,26 0 0,13 0-16,-13 0 15,66 0-15,-14 0 16,1 0-16,13 0 15,0 0-15,-26 0 16,12 0-16,-12 0 16,13 0-16,-14 0 15,14 0-15,-14 0 16,14 0-16,-40 0 16,-13 0-1,0 0-15,-27 0 0,-26 0 16,-13 0-1,13 0-15,-14 0 0,-12 0 16,26 13 0,-14-13-16,1 0 0,13 13 15,0-13 1,0 0-16,-13 0 0,-1 0 16,1 0-16,13 0 31,-27 0-31,-12 0 15</inkml:trace>
  <inkml:trace contextRef="#ctx0" brushRef="#br0" timeOffset="86560.13">1085 7276 0,'-13'0'125,"-40"0"-109,-53 0-16,-13 0 15,-14 0-15,14 0 16,53 0-16,-26 0 15,65 0-15,-12 0 16,12 26 78,14 1-79,13 13-15,-13 26 16,-1 26-16,14 120 16,0-93-1,0 13-15,0 159 32,0-132-32,0 0 15,0 53-15,0-67 16,0 40-16,0-26 15,14 0-15,-1-14 16,0-12-16,0-14 16,-13-13-16,27-14 15,-27 67 1,13-93-16,-13-13 16,0-13-16,0-1 15,0-25-15,0 12 16,0-13-16,13-13 109</inkml:trace>
  <inkml:trace contextRef="#ctx0" brushRef="#br0" timeOffset="88076.06">9459 7355 0,'132'14'16,"-264"-28"-16,396 41 0,-118-1 0,-40-26 16,-14 0-1,-39 0-15,13 0 16,-26 0-16,-40 66 109,0 14-93,0 65-16,0-26 16,0 27-16,0-40 15,0 13-15,0 40 16,0 26-16,0-13 15,0 0 1,0-13-16,0-14 16,0-26-16,0 13 0,0 107 15,0-173 1,0 39 0,0-52-16,0-26 0,13 13 15,-39-54 157,-53 14-156,-54-53-16,-26 40 0,-26-13 15</inkml:trace>
</inkml:ink>
</file>

<file path=ppt/ink/ink21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17:51.070"/>
    </inkml:context>
    <inkml:brush xml:id="br0">
      <inkml:brushProperty name="width" value="0.05292" units="cm"/>
      <inkml:brushProperty name="height" value="0.05292" units="cm"/>
      <inkml:brushProperty name="color" value="#0070C0"/>
    </inkml:brush>
  </inkml:definitions>
  <inkml:trace contextRef="#ctx0" brushRef="#br0">20624 3347 0,'14'0'140,"78"-26"-124,-79 26-16,1 0 15,-1 0 157,-13 26-156,0 27 0,0 0-1,13-27-15,-13 14 16,13 0-16,14 26 15,-27-27-15,0 1 16,0-13-16,13 12 16,0-12-1,-13-1-15,13 14 16,-13-14 0,14 1-16,-14-14 15,0 0-15,0 14 16,0-14-16,13 0 15,-13 67 1,0-54 0,0-13-16,26 27 0,-26-14 15,0 27-15,14-26 16,-14-14 0,0 0-16,13 14 0,-13-1 15,26 27 1,-26-40-1,13 27-15,1 13 32,-1-27-32,0 14 15,-13-13 1,13 12 0,-13 1-1,0-27 1,0 0-16,0 1 15,0-1-15,0 0 16,0 0 0,27 14-16,-27-14 250,0 13-235,-13 14-15,13-27 16,-40 27 0,27 13-1,-14-13 1,14-14-16,-27 53 15,27-65 1,13 12-16,-26-13 16,26 14-16,-14-14 15,1 14 1,13-14 0,-13 0 15,0 0-16,-1-13 1,1 27 0,13-14-16,-13-13 93,-27 0-77,14 26 0,-1-12-1,14-1 142,0-13-157</inkml:trace>
  <inkml:trace contextRef="#ctx0" brushRef="#br0" timeOffset="1830.84">15227 3466 0,'0'13'47,"-40"14"-32,-39-27 1,39 13-16,-53 0 16,14-13-1,-53 0-15,-27 0 0,27 0 16,-133 0 0,159 0-16,67 0 15,-1 27-15,0-27 16,27 0-1,13 13 64,0 0-64,0 27 1,0-14-1,0 14-15,0 26 16,0 13-16,0-12 16,0 25-16,0-26 15,0 53-15,0-52 16,13 25-16,0-39 16,-13 40-16,0-1 15,0 14-15,0 0 16,0 13-16,0-13 15,0 92 1,0-118-16,0-14 16,0 0-16,0-26 15,0 13-15,0-14 16,0 1 0,0-14-16,0 1 0,14-1 15,-14-12 1,0-1-16,0 0 15,13 0 1,-13 0 0,0 1 109,13-14-110,0 0-15,14-14 16,39 14-16,40 0 16,26 0-16,133 0 15,-93 0 1,0 14-16,13 12 15,-13 1-15,-53-14 16,-26 0-16,-27 0 16,-53-13-1,0 0 157</inkml:trace>
  <inkml:trace contextRef="#ctx0" brushRef="#br0" timeOffset="18662.95">16404 3625 0,'119'-133'15,"-119"120"-15,27 0 16,-27 0-16,13 0 0,0-14 16,0 14-1</inkml:trace>
  <inkml:trace contextRef="#ctx0" brushRef="#br0" timeOffset="19505.38">16351 5411 0,'-13'26'15,"13"-13"-15,-13 1 0,-14 39 16,14-27-16,-27 40 16,14-13-16,26-40 0,-27 14 15,1 12-15,0 14 16,12-39 0,1 12-16</inkml:trace>
  <inkml:trace contextRef="#ctx0" brushRef="#br0" timeOffset="20854.45">17039 3717 0,'27'-26'31,"-14"13"-15,40-27-16,-27 14 15,14-1-15,-27 1 16,0 12-16,1 1 16,-1 13-16,-13-13 0,13 0 15,0-1-15,1 14 16,-14-13-1,13 0 1,-40 26 15,27 0-15</inkml:trace>
  <inkml:trace contextRef="#ctx0" brushRef="#br0" timeOffset="21682.87">17052 5424 0,'-13'26'31,"0"-26"-31,13 27 16,-27 26 0,-25 39-16,38-39 15,-12-13-15,13 0 16,13-27-16,-14 0 0,1 14 15,13-14-15,0 0 16</inkml:trace>
  <inkml:trace contextRef="#ctx0" brushRef="#br0" timeOffset="23054.55">17806 3744 0,'-26'13'0,"13"-13"15,26-13 32,0-14-47,27 1 16,13-27-16,0-13 16,-27 39-1,93-92 1,-92 93-16,-1-1 15,-13 14-15,1 0 16,-1 0 0,0 0-16,0-1 31,1 1 0,-28 13 63,1 0-63,0 0-31,0 0 16,13 13-16,-14 1 0,1 12 15,0-13-15,13 14 0,-13-1 16</inkml:trace>
  <inkml:trace contextRef="#ctx0" brushRef="#br0" timeOffset="23646.84">17873 5411 0,'-67'225'31,"67"-199"-31,-13-13 0,0 27 16,0-14-16,13-12 15,-13-1-15,13 0 16,0 0-16</inkml:trace>
  <inkml:trace contextRef="#ctx0" brushRef="#br0" timeOffset="24275.91">18600 3784 0,'40'-93'16,"-14"40"-1,1 13 1,-1-26-16,1 0 16,-14 53-1,-13-14 1,13 14-16,-13 0 16,13 13-1,-13 13 1</inkml:trace>
  <inkml:trace contextRef="#ctx0" brushRef="#br0" timeOffset="24784.94">18706 5384 0,'-26'80'15,"-1"12"-15,1-12 16,12-14-16,1-27 16,-13 14-16,26-26 0,-13 13 15,-1-14 1,14-13-16,-13 0 15</inkml:trace>
  <inkml:trace contextRef="#ctx0" brushRef="#br0" timeOffset="25447.97">19368 3651 0,'13'-79'0,"0"26"16,0 26-16,0-39 0,1 40 15,-1-14-15,27-26 16,-27 40-1,0 26 1,-13-14-16</inkml:trace>
  <inkml:trace contextRef="#ctx0" brushRef="#br0" timeOffset="26011.19">19460 5689 0,'-40'132'16,"14"-66"-16,26-53 15</inkml:trace>
  <inkml:trace contextRef="#ctx0" brushRef="#br0" timeOffset="26768.04">20201 3612 0,'79'-172'0,"-65"145"15,-1 1-15,-13-1 0,13 14 16,0-13-16,14-1 0,-27 14 16,13 0-16,0-1 0,-13 1 0,13 13 15</inkml:trace>
  <inkml:trace contextRef="#ctx0" brushRef="#br0" timeOffset="27648.46">20241 5371 0,'0'27'16,"0"-1"-16,0-13 16,0 0-16,0 1 0,0-1 0,0 0 15,0 14-15,0-14 0,0 0 16,0 0-16,0 0 0,0 1 16,13-1-16,-13 0 0,0 0 15,0 1 1</inkml:trace>
  <inkml:trace contextRef="#ctx0" brushRef="#br0" timeOffset="29941.5">16245 5834 0,'93'0'16,"-67"0"-16,-12 0 0,12 0 0,1 0 15,-14 0-15,13-13 16,14 13-16,-14 0 0,1 0 0,-1 0 16,1-13-16,-1 13 0,1 0 0,12 0 15,-12 0-15,-1-14 0,14 14 16,-13 0-16,12 0 0,-12-13 0,12 13 16,-12 0-16,-1 0 0,40 0 15,-26 0-15,-13 0 16,39-13-16,-40 13 0,27 0 15,0 0-15,-27 0 16,-12 0-16,39 0 16,-27 0-16,0 0 0,1 0 0,-1 0 15,1 0-15,-14 0 0,14 0 16,-1 0-16,0 0 0,1 0 0,-1 13 16,-12-26-16,12 26 0,14-13 15,-14 0-15,1 0 0,-1 0 16,-13 0-16,1 0 15,12 0-15,-13 0 0,1 0 0,12 0 0,-13 0 16,0 0-16,1 0 0,-1 0 16,13 0-16,-12 0 0,-1 0 15,0 0-15,0 0 0,1 0 0,12 0 16,-13 0-16,0 0 0,1 0 0,12 0 16,-13 0-16,14 0 0,-14 0 15,27 0-15,-27 0 0,0 0 16,0 0-16,27 0 0,-27 0 15,1 0-15,-1 0 0,0 0 16,0 0-16,0 0 0,1 0 16,-1 0-16,0 0 0,0 0 0,14 0 15,-1 0-15,-12 0 0,-1 0 16,0 0-16,0 0 0,14 0 16,-1 0-16,-13 0 0,1 0 15,12 13-15,-13-13 0,0 0 16,27 0-16,-13 0 0,12 0 15,-25 0-15,12 0 16,-13 0-16,14 14 0,-14-14 0,0 0 16,14 0-16,-14 0 0,13 0 15,1 0-15,-14 0 0,0 0 16,0 0-16,1 0 0,25 0 16,-25 0-16,-1 0 0,13 0 15,1 13-15,-14-13 0,0 0 16,14 0-16,-1 0 0,-13 0 15,14 0-15,-1 0 0,27 13 16,-40-13-16,14 0 0,-1 0 16,1 0-16,-1 0 0,14 0 15,-14 0-15,1 0 0,-14 0 0,14 0 16,-14 0-16,13 0 0,-13 0 16,14 0-16,-14 0 0,27 0 15,-27 0-15,14 0 0,-1-13 16,-13 13-16,0 0 15,1 0-15,-1 0 0,0 0 0,0 0 16,1-13-16,-1 13 0,13 0 16,-13 0-16,1-14 0,25 14 15,-25 0-15,-1 0 16,0 0-16,0 0 0,1 0 16,-1 0-16,13-13 15,-13 13-15,1 0 0,-1 0 16,13 0-16,-12 0 15,-1 0-15,0-13 16,0 13-16,1-13 16,-1-1-1,-13 1 1,0 0-16,0 0 16,0 0-1,0-1-15,0-12 16,0 13-1,0-1-15,0 1 16,0 0-16,0 0 0</inkml:trace>
  <inkml:trace contextRef="#ctx0" brushRef="#br0" timeOffset="35580.1">21325 4802 0,'27'0'47,"-14"0"-47,14 0 16,25 0-1,-38 0-15,-1 0 0,13-13 16,1 13-16,-14 0 0,0 0 15,1 0-15,-1 0 0,0 0 16,-13 13 0</inkml:trace>
  <inkml:trace contextRef="#ctx0" brushRef="#br0" timeOffset="35795.01">21431 4882 0,'-13'13'0,"0"-13"15,39-13-15,-65 26 0,39 0 16,13 0 15,13-13-15,-13 0-16,1 0 15,-1 0-15,0 0 0,0 0 0,1 0 16,-1 0-16,13 0 0,-12 0 16,-1 0-16,13 0 15,-13 0-15,1 0 16</inkml:trace>
  <inkml:trace contextRef="#ctx0" brushRef="#br0" timeOffset="43362.05">22516 4789 0,'26'0'0,"-12"26"15,-1-12 1,-26 12-1,13-13-15,-14-13 0,14 14 16,-13-1-16,0 0 0,0 0 16,0 0-16,-1-13 15,1 14-15,0-14 16,0 13-16,13 0 16,26-26 30,1 13-46,-14 0 16,0 0-16,0 0 0,0 0 0,1 0 16,-1 0-16,0-13 15,0 13-15,1 0 16</inkml:trace>
  <inkml:trace contextRef="#ctx0" brushRef="#br0" timeOffset="43869.83">22926 4762 0,'-40'14'16,"27"-14"-1,13 13-15,-13 0 0,13 0 0,0 1 16,-13-1-16,13 0 16,0 14-1,13-27 1,-13 13-16,13-13 0,-13 13 0,13-13 16,1 0-16,-1-13 15,13 0 1,-26-1-1,14 1-15,-28 0 16,14 0-16,-13-1 16,0 1-16,0 0 15,-1 13 1,1 0 0</inkml:trace>
  <inkml:trace contextRef="#ctx0" brushRef="#br0" timeOffset="44213.64">23204 4749 0,'-26'13'0,"12"-13"0,14 14 0,-13-14 15,0 13-15,0-13 0,-1 13 16,1 0-16,0-13 0,0 14 0,-1-1 16,1-13-16,13 13 15,-13-13-15,0 13 16,13 1-16,13-1 16,0 0-1,0-13-15,40 13 16,-39-13-16,-1 0 15,0 0-15,0 0 0,1 0 0,25 0 16,-26 0-16,1 0 16,-1-13-1</inkml:trace>
  <inkml:trace contextRef="#ctx0" brushRef="#br0" timeOffset="44439.39">23230 4736 0,'-39'40'15,"26"-1"1,-1-25-16,1 12 0,13 1 0,-13 12 16,0-12-16,-1-1 15,14-13-15,-13 14 0,13-14 0,-13 0 16,13 14-16,-13-14 0,13 0 0,0 0 15,0 1-15,0-1 16</inkml:trace>
  <inkml:trace contextRef="#ctx0" brushRef="#br0" timeOffset="44719.16">23561 4842 0,'-26'13'16,"12"-13"-16,-25 27 16,12-14-16,1 13 0,-1-13 0,-12 14 15,-14 13-15,-13 13 16,26-27-16,14-13 0,-1 14 15,1-14-15,-1 13 0,1-12 0,-1 12 16,14-26-16,0 13 16,0 1-16</inkml:trace>
  <inkml:trace contextRef="#ctx0" brushRef="#br0" timeOffset="44956.31">23627 4908 0,'-53'40'16,"40"-27"-16,-13 13 0,-1-12 0,-12 12 15,12 1-15,1-1 0,-14 0 16,13-12-16,-12 12 0,12 1 15,-12-1-15,12-13 0,1 1 0,-1 12 16,14-26-16,-13 26 0,12-26 16,14 14-16,-13-14 0</inkml:trace>
  <inkml:trace contextRef="#ctx0" brushRef="#br0" timeOffset="59846.96">17410 10649 0,'-14'67'0,"1"-54"15,13 0-15,0 66 16,-13-65-16,13 25 16,0-25-16,0-1 0,0 0 15,0 0-15</inkml:trace>
  <inkml:trace contextRef="#ctx0" brushRef="#br0" timeOffset="60215.07">18203 10570 0,'0'66'0,"0"-53"0,-13 40 15,13-26-15,0-14 16,0 14-16,0-1 16,0 0-16,0-12 0,13-1 0,-13 13 15</inkml:trace>
  <inkml:trace contextRef="#ctx0" brushRef="#br0" timeOffset="60747.26">19090 10583 0,'0'159'0,"0"-132"15,0-1-15,0 0 0,0 1 16,0-1-16,0 1 0,0-1 0,0 1 16,0-14-16,0 0 0</inkml:trace>
  <inkml:trace contextRef="#ctx0" brushRef="#br0" timeOffset="61258.53">19963 10663 0,'0'92'0,"0"-78"15,0 12-15,0 0 0,0 1 0,-13-1 16,13-12-16,0 12 0,0-13 0,0 14 16,0-14-16,0 13 0,0-12 15</inkml:trace>
  <inkml:trace contextRef="#ctx0" brushRef="#br0" timeOffset="61733.58">20558 10716 0,'13'53'0,"-13"-27"0,-13 27 32,13-27-32,0-12 0,0-1 0,13 0 15,-13 14-15,0-14 0,0 0 0,0 0 16,0 0-16</inkml:trace>
  <inkml:trace contextRef="#ctx0" brushRef="#br0" timeOffset="62070.83">21233 10782 0,'-93'238'16</inkml:trace>
  <inkml:trace contextRef="#ctx0" brushRef="#br0" timeOffset="75440.11">22794 5464 0,'26'0'0,"1"0"0,39-14 16,0 14-16,27-13 15,-54 13-15,14 0 0,80-13 31,-107 13-31,27-13 0,-27 13 16,-12 0-16,-1 0 0</inkml:trace>
  <inkml:trace contextRef="#ctx0" brushRef="#br0" timeOffset="75691.92">22913 5569 0,'26'0'0,"27"0"15,-26-13-15,12 13 0,81-13 16,-28 0 0,-39 13-16,26-13 0,-52 13 15,26-14-15,-40 14 16,40-13-1,-40 13-15,0 0 0,1 0 16</inkml:trace>
  <inkml:trace contextRef="#ctx0" brushRef="#br0" timeOffset="77727.98">22609 8506 0,'0'14'32,"-14"12"-32,14-13 15,0 0-15,-13 14 16,0 13-16,13-27 0,0 13 15,-13-12-15,13-1 16,0 0-16,-14 13 0,14-12 0,0-1 16,0 0-16,-13 0 0,13 1 15,13-14 1</inkml:trace>
  <inkml:trace contextRef="#ctx0" brushRef="#br0" timeOffset="77983.5">22913 8612 0,'-40'13'15,"27"1"-15,0-1 16,0 0-16,-1 0 0,-12 14 0,-1-14 15,14 13-15,-40 14 0,40-13 16,-13-14-16,12 13 16,-12-12-16,-1 12 0,14-13 0,0 0 15,0 1-15,-1-1 0,1 0 0,0 0 16,13 1-16</inkml:trace>
  <inkml:trace contextRef="#ctx0" brushRef="#br0" timeOffset="78359.97">22794 8877 0,'-13'26'16,"-1"-13"-1,1 14-15,13-14 16,-13 0-16,13 14 0,0-14 0,0 0 16,0 1-1,13-14-15,0 13 0,1-13 16,12 0 0,-13 0-1,1-13-15,-14-1 16,0 1-1,-14 0 1,1 13 0,13-13-16,-13 13 31</inkml:trace>
  <inkml:trace contextRef="#ctx0" brushRef="#br0" timeOffset="79529.97">23482 8506 0,'13'-13'0,"-13"40"31,-13-14-15,13 0-16,0 0 0,0 0 16,-13 1-16,13-1 0,0 0 15,0 0-15,0 1 0,0-1 16</inkml:trace>
  <inkml:trace contextRef="#ctx0" brushRef="#br0" timeOffset="79721.92">23627 8678 0,'-13'27'16,"-13"-1"-1,12-13-15,1-13 0,0 14 16,0 12-16,-27 1 0,27-1 0,-14-13 16,1 14-16,13-14 0,-1 0 15,1 0-15,0 1 0</inkml:trace>
  <inkml:trace contextRef="#ctx0" brushRef="#br0" timeOffset="80099.14">23521 8916 0,'0'14'0,"-13"-14"0,0 13 0,13 0 15,-13 0-15,0 1 0,-1-1 0,1 13 16,13-12-16,0-1 16,0 0-16,-13 0 0,13 0 15,13 1-15,-13-1 16,13 0 0,1-13-16,-1 0 15,-13-13 1,13 0-1,-13-1 1,0 1 0,-13-13-1</inkml:trace>
  <inkml:trace contextRef="#ctx0" brushRef="#br0" timeOffset="80414.64">24223 8467 0,'0'26'31,"-14"1"-15,14-14-16,-13 0 0,13 0 0,0 0 16,-13 1-16,13-1 0,0 13 0,0-12 15,-13 12-15,13 1 16,-14-14-16,14 0 0,0 0 15</inkml:trace>
  <inkml:trace contextRef="#ctx0" brushRef="#br0" timeOffset="80641.99">24342 8744 0,'-27'40'16,"14"-40"-16,0 13 0,-40 40 15,40-39-15,-14 12 0,1 0 16,12-12-16,1-1 0,0 0 16,0 0-16,0 1 0,13-1 0,-14-13 15,14 13-15</inkml:trace>
  <inkml:trace contextRef="#ctx0" brushRef="#br0" timeOffset="80911.11">24315 8983 0,'-53'39'16,"53"-12"-1,0-14-15,14-13 16,-14 13 0,13-13-16,0 0 15,-13-13 17,-13 0-17,0 13 1,13-13-1</inkml:trace>
  <inkml:trace contextRef="#ctx0" brushRef="#br0" timeOffset="81312.19">24818 8480 0,'-13'26'0,"13"1"15,-14-14-15,1 13 16,13-12-16,-26 12 15,26 1-15,-13-14 0,13 0 16,-14 0-16,14 1 0</inkml:trace>
  <inkml:trace contextRef="#ctx0" brushRef="#br0" timeOffset="81519.1">24871 8771 0,'-40'40'0,"27"-27"0,-14 13 16,14-12-16,0-1 0,0 0 0,0 0 16,-1-13-16,1 13 0,0 1 0,0-1 15,-1 0-15,14 0 0</inkml:trace>
  <inkml:trace contextRef="#ctx0" brushRef="#br0" timeOffset="81815.87">24858 8956 0,'-53'27'0,"53"-14"15,0 0 1,13 0 0,-26-39 46,-1 26-62,1-13 16</inkml:trace>
  <inkml:trace contextRef="#ctx0" brushRef="#br0" timeOffset="82302.96">23667 9472 0,'-26'53'0,"12"-40"16,14 0-16,-13 1 0,13-1 0,-13 13 15,0 14-15,-1-27 16</inkml:trace>
  <inkml:trace contextRef="#ctx0" brushRef="#br0" timeOffset="82544.08">23852 9591 0,'-106'66'16,"93"-52"-16,-13-1 0,12 0 0,1 13 0,-13-12 15,13-1-15,-14 0 0,14 14 16,-14-14-16,14 0 0,0 0 0,0 0 15</inkml:trace>
  <inkml:trace contextRef="#ctx0" brushRef="#br0" timeOffset="82919.02">23760 9803 0,'-40'39'0,"27"1"16,26-27-16,0 14 15,0-14 1,1-13-16,-1 13 0,0-13 15,0 0-15,0-13 0,1 13 16,-1-13-16,-13 0 31,-13-1-31,-1 1 16,14 0-16,-13 0 16,26-1 15</inkml:trace>
  <inkml:trace contextRef="#ctx0" brushRef="#br0" timeOffset="83244.32">24619 9327 0,'-13'26'0,"13"-13"16,0 0-16,-13 14 0,13-14 16,-13 14-16,0-1 0,-1 1 0,1-1 15,0 14-15,-14-14 0,14-13 0,13 14 16,-13-14-16,0 14 16</inkml:trace>
  <inkml:trace contextRef="#ctx0" brushRef="#br0" timeOffset="83543.21">24924 9604 0,'-53'27'0,"40"-14"15,-1 0-15,1 1 0,-13 12 0,-1 0 0,1-12 16,-1 12-16,1 1 0,13-14 16,-14 13-16,1-13 0,12 1 15,1-1-15,-13 13 0,13-12 16,-1-14-16,1 13 0,0 0 15</inkml:trace>
  <inkml:trace contextRef="#ctx0" brushRef="#br0" timeOffset="83852.53">24844 9842 0,'-53'53'0,"40"-39"15,13-1-15,0 0 16,13-13 0,1 0-16,-1 0 15,0 0-15,-13-13 0,13 13 16,1-13-16,-14-1 15,-14 1 1,1 13-16,0-13 0,-14 13 16,14 0-16,-13 0 0,-1 0 0,1 0 15,-1 0-15,-12 0 0,-1 0 16</inkml:trace>
  <inkml:trace contextRef="#ctx0" brushRef="#br0" timeOffset="93580.04">22939 11456 0,'-13'-13'16,"26"0"-1,1 13-15,12 0 16,-13 0-16,1 13 16,-1-13-16,0 13 0,0 1 0,0-14 15,-13 26-15,14-13 0,-28 14 16,-12 26 0,0-27-16,-1 1 0,14-1 0,-14 1 15,-39 12-15,40-25 16,13-1-16,-14 0 0,14 0 0,-14 0 15,14 1-15,0-14 16,39 0 15,1 0-31,-1-14 16,1 14 0,12 0-16,-12 0 0,-1 0 0,27 0 15,-26-13 1,-1 13-1,-13 0-15,1 0 0,-1-13 16,0 13-16,0-13 16,14 0-16</inkml:trace>
  <inkml:trace contextRef="#ctx0" brushRef="#br0" timeOffset="93901.88">23349 11509 0,'-26'-13'0,"13"26"16,-14 1-1,14-1-15,13 0 0,-13 0 16,13 1-16,0 52 16,13-53-1,0 0-15,14-13 16,-14 0-1,13-13 1,-26 0-16,0-1 16,0 1-16,-26-13 15,26 13-15,-13 13 16,13-14-16,-13 14 0,-1 0 16,1-13-1,0 13-15,0 13 16</inkml:trace>
  <inkml:trace contextRef="#ctx0" brushRef="#br0" timeOffset="94240.55">23641 11430 0,'13'0'15,"-40"13"16,14 0-15,-13 14-16,12-14 16,1 0-16,0 1 0,0-1 0,-1 0 15,14 0-15,-13-13 0,0 40 16,13-27 0,13 0-16,0 1 15,14-1 1,-1 0-1,-12-13-15,-1 0 0,27 0 32,-27-13-32,0 13 15,-13-13-15,13-1 0,-13 1 0,0 0 16,13-13 0</inkml:trace>
  <inkml:trace contextRef="#ctx0" brushRef="#br0" timeOffset="94439.1">23746 11364 0,'-26'26'0,"13"1"16,-1-1-16,1-13 15,0 27-15,0-13 0,0 12 0,-1-12 16,1 12-16,0-12 0,0-1 16,13 1-16,-27 39 15,27-26-15,0-27 16,0 0-16,-13 0 15,13 1-15,-13 12 16</inkml:trace>
  <inkml:trace contextRef="#ctx0" brushRef="#br0" timeOffset="94778.27">22357 12237 0,'238'-79'0,"-158"65"0,-1 1 16,14-13-16,-14 12 0,14 1 0,-1 0 15,27 0-15,80-14 0,-107 14 0,160-13 32,-173 26-32,-13-14 0,-13 14 0,27-13 15,-27 13-15,-40 0 16,0 0-16,0-13 0,-52 13 31,25 0-15</inkml:trace>
  <inkml:trace contextRef="#ctx0" brushRef="#br0" timeOffset="95993.91">23297 12316 0,'-27'14'15,"1"38"1,12-25-16,1-1 15,-13 1-15,13 13 0,-1-1 0,14-12 16,-13-1-16,13 1 0,0-14 0,0 13 16,13-12-16,-13 12 0,14-13 15,-1 0-15,-13 1 0,13-1 16,0-13-16,0 13 0,1-13 0,-1 0 0,0 0 16,14-13-1,-14 0-15,-13-1 0,13 1 0,-13 0 16,-13 0-1,-14-14 1,-12 1-16,25 26 0,1-13 16,0 13-16,0 0 0,0 0 15,-14-14-15,14 14 16,0-13-16,13 0 16</inkml:trace>
  <inkml:trace contextRef="#ctx0" brushRef="#br0" timeOffset="96387.95">24315 11589 0,'27'-13'0,"-14"13"0,27 0 32,-27 0-32,0 13 15</inkml:trace>
  <inkml:trace contextRef="#ctx0" brushRef="#br0" timeOffset="96542.13">24223 11800 0,'0'14'0,"79"-28"47,-66 14-47,14 0 15,-14-13-15</inkml:trace>
  <inkml:trace contextRef="#ctx0" brushRef="#br0" timeOffset="96984.24">24765 11509 0,'13'-13'15,"0"26"-15,-26 1 16,0 12 0,-27 27-1,27-27 1,13 1 0,13-14-1,-13 0-15,14 1 16,-28 12-1,1 1 1,0-14-16,0 0 0,-1-13 16,1 13-16,0-13 15</inkml:trace>
  <inkml:trace contextRef="#ctx0" brushRef="#br0" timeOffset="97288.98">24950 11589 0,'13'-13'0,"-52"26"31,-1 13-15,27-13-16,13 1 15,-13-14-15,13 13 0,-14 0 0,14 0 16,-13-13-16,13 14 0,0-1 16,0 13-16,13-26 15,-13 14-15,14-1 16,-1-13-16,-13 13 0,13-13 0,0 0 16,-13 13-16,14-13 0,-1 0 15,-13-13-15,26 13 0,-13 0 16,-13-13-16,14 13 15</inkml:trace>
  <inkml:trace contextRef="#ctx0" brushRef="#br0" timeOffset="97436.22">25016 11681 0,'-13'40'0,"0"0"16,13-27-16,0 0 15,0 0-15,0 1 0,-13 12 16,26 1-16,-13-14 0,-13 0 15,13 0-15,0 0 0,0 1 16,0-1-16</inkml:trace>
  <inkml:trace contextRef="#ctx0" brushRef="#br0" timeOffset="107762.92">15452 2910 0,'66'14'16,"-40"-14"-16,1 0 15,-1 0-15,40 0 16,-39 0-16,12 0 0,-12 0 0,-1 0 15,1 0-15,39-14 16,0 14 0,-53-13-1,1 13-15,-1 0 0,0-13 16,-13 0 0,0 0-16</inkml:trace>
  <inkml:trace contextRef="#ctx0" brushRef="#br0" timeOffset="108206.23">15822 2699 0,'40'26'16,"13"1"15,-14-14-31,-25 0 0,12-13 0,-13 13 0,1 1 16,12 12-1,-13 1-15,0-1 0,-13-13 16,-26 53-1,13-39-15,-14 12 0,1-12 0,-93 92 16,79-93-16,-13 27 16,0-13-16,0 0 0,-13 13 0</inkml:trace>
  <inkml:trace contextRef="#ctx0" brushRef="#br0" timeOffset="109695.47">16523 8043 0,'27'0'0,"-14"-13"0,0 13 0,0 0 16,1 0-16,-1 0 0,27-13 16,-27 13-16,13 0 0,-13 0 15,54 0-15,-28 0 16,-25 0-16,12 0 0,-13 0 15,0 0-15,1 0 0,12 0 16,-13-13 0</inkml:trace>
  <inkml:trace contextRef="#ctx0" brushRef="#br0" timeOffset="110103.68">16854 7845 0,'13'13'46,"0"-13"-30,1 13-16,12-13 16,-13 14-1,27-1 1,-27-13-16,40 26 31,-26 1-15,-27 12-1,0-25-15,-14-1 0,1 0 16,0 0-16,-14 14 0,14-1 0,-26 1 16,-28 26-1,28-14-15,-1-12 0,-66 26 16,53-40-16</inkml:trace>
  <inkml:trace contextRef="#ctx0" brushRef="#br0" timeOffset="118223">23111 5398 0,'14'0'125,"65"13"-110,-26-13-15,0 0 16,39 0-1,27 0-15,-26 0 16,66-13 0,-93 13-16,-26-40 15,-1 13-15,-25 27 0,-1-26 32,0-1-32,0 1 15,-13 0-15,0-14 16,13-26-1,-13 13-15,0 26 16,0-105 0,0 79-16,0-13 15,-13 26 1,0 14-16,13 13 16,0-1-16,-26 1 15,12-13-15,14 12 16,-26-12-16,26 13 15,-27 0-15,14-14 16,-13 27-16,-107-40 31,54 14-31,0 13 0,13 13 16,-1-27-16,-12 27 16,0-13-16,26 13 15,0 0-15,13 0 16,14 0-1,-1 0-15,-12 0 16,12 0-16,1 0 16,-1 0-16,14 0 15,0 0 1,-1 13-16,-12-13 16,13 0-1,-14 40-15,14-27 0,-53 14 16,53-14-1,-1-13-15,1 26 16,-13 1 0,13-1-16,-1-13 15,14 27 1,-26-27-16,26 1 16,0-1-1,-13 0 16,13 13-15,-14-12 0,1-1-16,13 0 0,0 14 15,-26 12 1,26-25 0,0-1-16,0 13 15,0 1-15,-14-14 16,14 0-16,0 0 15,0 14-15,0-1 16,0-12 0,0-1-16,0 0 15,0 0 1,0 0-16,0 1 16,14 12-16,12 1 15,14 39 1,-27-53-16,0 13 15,14-12-15,-14-1 16,0 13 0,0-26-16</inkml:trace>
  <inkml:trace contextRef="#ctx0" brushRef="#br0" timeOffset="130665.62">8268 11351 0,'-13'13'0,"0"13"16,13-12-16,-13-1 15,13 26 1,0-25-16,0-1 16,0 0-16,13 14 15,-13-14-15,13-13 0,0 13 16,0 0-16,1-13 16,-1 0-16,0-13 0,14 13 0,12-13 15,-25 0-15,52-40 31,-53 26-31,-13 14 0,13 0 16,0 0 0,-39 39-1,26-13 1,-13 0-16,13 1 16,0-1-16,0 0 0,26 14 15,-13-27-15,1 0 16,-1 0-16,13 13 0,-13-13 15,1-13-15</inkml:trace>
  <inkml:trace contextRef="#ctx0" brushRef="#br0" timeOffset="131917.1">8308 12568 0,'-27'13'15,"14"0"-15,13 0 0,0 1 16,-13-1-16,13 0 0,0 0 16,0 1-16,0-1 0,0 0 15,0 0-15,0 0 0,0 1 0,0-1 16,0 0-16,13-13 0,-13 13 0,13-13 16,-13 14-16,14-14 0,-1 0 15,0 0-15,0 0 0,1-14 0,-1 14 16,0-13-16,0 0 0,1 0 0,-1 13 15,0-27-15,0 14 0,0-13 16,-13 12-16,14 1 16,-14 0-16,-14 26 47,1 0-47,13 1 0,0-1 15,0 0-15,0 0 0,0 0 16,13 1-16,-13-1 15,14-13-15</inkml:trace>
  <inkml:trace contextRef="#ctx0" brushRef="#br0" timeOffset="132630.28">8321 13018 0,'-13'13'15,"0"0"1,13 0-1,0 0 1,13-13 0,13-13-1,-26 0 1,14 13-16,-14-13 0,13-14 16,-13 14-1,-27 13 16,14 13-15,13 1 0,0-1-16,13-13 31,1-13-15,-1-14-1,0 14-15,-13 0 16,13-1-1,-13 41 17,0-1-32,-13-12 0,13 12 15,13-26 1,-13 13-16</inkml:trace>
  <inkml:trace contextRef="#ctx0" brushRef="#br0" timeOffset="133571.97">8308 11919 0,'13'0'31,"0"-13"-16,-13 0-15,14 0 16,-14 0-16,0-1 16,0 1-16,0 0 0,-14 13 15,14-13-15,0-1 0,-13 14 16,0 14 0,0-14-16,13 13 15,-14 13 1,14-12-1,14-1-15,-14 0 16,13-13 0,13-13-1,-26 0-15,14-1 0,-14 1 16,0 0-16,0 0 16,0-1-16,0 1 0,0 0 15,-14 39 16,14 1-15,0-14-16,0 0 16,14 1-1,12-28 1,-13 1 0,-13 0-16,14 0 15,-14-1-15,0 1 16,-14 13-16,1 0 31,-13 27-31,-1-14 16,1 0-16</inkml:trace>
  <inkml:trace contextRef="#ctx0" brushRef="#br0" timeOffset="139513.07">15253 12594 0,'40'0'16,"26"-13"-1,-13 13-15,-13 0 16,92-13-16,-66 13 0,13-14 16,1 14-16,-1 0 0,14 0 15,-14-13-15,265 13 16,-172-13-1,-92 13-15,-1 0 0,0 0 0,1 0 16,52 0-16,-79-13 16,0 13-16,-14 0 0,28 0 15,-54 0-15,13 0 0,-12 0 0,-1-13 16,0 13-16,-66 0 31</inkml:trace>
  <inkml:trace contextRef="#ctx0" brushRef="#br0" timeOffset="140234.95">13097 13322 0,'66'0'16,"-40"0"-1,14 0-15,13 0 0,132 0 16,-105 0-16,12 0 15,1 0-15,-1 0 0,1-13 0,0 13 16,-1 0-16,14 0 0,-13-14 0,-1 14 16,80-13-16,-79 13 0,-14 0 15,-13-13-15,-13 13 0,0 0 16,0 0-16,-13 0 0,0-13 0,-14 13 16,14 0-16,-14 0 15,-13 0-15,1 0 0,-1 0 0,0 0 16,0 0-16,1 0 15,-54 0 17,27 0-17,-1-14 1,1 14-16,0-13 0</inkml:trace>
  <inkml:trace contextRef="#ctx0" brushRef="#br0" timeOffset="141491.1">17343 5755 0,'-13'-14'16,"13"41"-16,0-14 16,0 14-16,0 12 0,0 1 15,0 13-15,0 0 0,13 13 0,-13-13 0,14 13 16,-1-13-16,-13 13 0,26 40 16,-26-66-16,14-1 15,-1 1-15,0 0 0,0-1 0,-13 1 0,13 13 16,1-27-16,-14-12 15,13 25 1,-13-25-16,13-1 0,-13 0 16,0 0-1</inkml:trace>
  <inkml:trace contextRef="#ctx0" brushRef="#br0" timeOffset="141902.28">17224 6601 0,'-13'-13'0,"26"40"16,1-14-16,-14 0 0,79 106 31,-53-79-31,-12-27 16,-1 0-16,0 0 0,0 1 0,1-1 15,-1 0-15,13 0 16,-13-13-16,1 0 0,-1 0 0,13 0 16,-12 0-16,-1 0 0,0-13 0,14 0 15,-14 13-15,0-27 0,13 14 16,-12-13-16,12-1 0,1 14 0,-14-13 15,13-1-15,-12 1 0,12-1 0,-13 1 16,0 13-16,1-1 16,-1 1-16,0 0 0,0 0 0,1 13 0,-14-14 15,13 1-15,0 0 16,-13 0-16,13 13 16,-13-13-16</inkml:trace>
</inkml:ink>
</file>

<file path=ppt/ink/ink21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20:24.297"/>
    </inkml:context>
    <inkml:brush xml:id="br0">
      <inkml:brushProperty name="width" value="0.05292" units="cm"/>
      <inkml:brushProperty name="height" value="0.05292" units="cm"/>
      <inkml:brushProperty name="color" value="#0070C0"/>
    </inkml:brush>
  </inkml:definitions>
  <inkml:trace contextRef="#ctx0" brushRef="#br0">3744 5874 0,'-13'-13'15,"39"13"1,-13-14-16,14 14 0,145-13 15,-106 13 1,13-13-16,14 0 0,-1-1 0,28 14 16,290-39-1,-106-1-15,-159 27 0,27 0 0,0-1 16,199-12 0,-186 13-16,-13-1 0,26 1 0,-12 0 15,-1 0-15,0-1 0,0 1 0,-13 13 16,0-13-16,-13 13 0,-13 0 15,12 0-15,-25 0 0,-28 0 16,-12 0-16,0 0 0,-14 0 0,-13 13 0,-13-13 16,-13 13-16,-14-13 0,14 27 15</inkml:trace>
  <inkml:trace contextRef="#ctx0" brushRef="#br0" timeOffset="416.5">3770 6125 0,'437'-26'16,"-318"12"-16,146-12 0,-133 13 15,318-27 1,-292 27-16,1-14 0,0 14 0,13 0 0,0 13 15,-13-13-15,13-1 0,-14 1 16,1 13-16,13-13 0,132 0 16,-171 13-16,12-13 0,-13 13 15,159 0 1,-211 13-16,-1-13 0,40 0 16,-66 13-16,-13-13 0,-27 0 0,14 0 15,-27 13-15,13-13 0</inkml:trace>
  <inkml:trace contextRef="#ctx0" brushRef="#br0" timeOffset="2309.23">19698 9671 0,'13'13'0,"1"26"15,-14-12 1,0-1-16,0 1 0,0 12 16,0 1-16,0-13 0,0 12 0,0 1 15,0 0-15,0-14 0,-14 1 0,14-1 16,-13 1-16,13-1 16,0-13-16,-13 14 0,13-14 0,0 0 0,-13 0 15,13 1-15</inkml:trace>
  <inkml:trace contextRef="#ctx0" brushRef="#br0" timeOffset="2551.16">20399 9750 0,'-13'13'0,"-13"14"16,12-14 0,1 0-16,0 13 0,-27 27 0,27-26 15,-13-1-15,-1 27 16,14-40-16,0 14 0,-27 26 16,14-27-1,12-12-15,1-1 0,13 0 0,-13-13 16</inkml:trace>
  <inkml:trace contextRef="#ctx0" brushRef="#br0" timeOffset="2732.24">20188 9882 0,'-14'-13'15,"1"13"1,26 13 0</inkml:trace>
  <inkml:trace contextRef="#ctx0" brushRef="#br0" timeOffset="2865.25">20571 9948 0,'-26'14'16,"26"-1"-1</inkml:trace>
</inkml:ink>
</file>

<file path=ppt/ink/ink21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21:00.500"/>
    </inkml:context>
    <inkml:brush xml:id="br0">
      <inkml:brushProperty name="width" value="0.05292" units="cm"/>
      <inkml:brushProperty name="height" value="0.05292" units="cm"/>
      <inkml:brushProperty name="color" value="#0070C0"/>
    </inkml:brush>
  </inkml:definitions>
  <inkml:trace contextRef="#ctx0" brushRef="#br0">11549 1865 0,'0'-13'16,"-13"13"0,13 27 30,0-1-46,13-13 0,-13 14 0,0-1 16,0 54-16,13-41 0,-13 1 16,0 13-16,14-14 0,-1 81 15,-13-81-15,0 41 16,13-54-16,-13 1 16,0 12-16,0-26 15,13 14-15,-13-14 0,0 14 0,0-14 0,0 0 16,0 0-16,13 1 0,-13-1 15,0 0-15,14-13 16,-14 13-16,13 0 0,0-13 16,0 0-16,14 0 15,-14 0 1,0 0-16,1 0 0,-1 0 0,13-13 16,-13 13-16,14 0 0,13 0 15,92-26-15,-92 26 16,12-13-16,1-1 15,14 1-15,-1 13 0,0-13 0,0 0 0,13-1 0,-13 1 16,1 0-16,-1 13 0,13-13 16,-13 13-16,0-14 0,67 1 15,-54 13-15,-26-13 0,13 13 16,-13-13-16,0 13 0,13 0 16,-13 0-16,0-13 0,0 13 0,13 0 15,-13 0-15,0-14 0,0 14 16,53-13-16,-53 13 0,-14 0 15,14 0-15,-13-13 0,13 13 0,-14 0 16,-12 0-16,13 0 0,-1-13 16,1 13-16,-14 0 0,14 0 0,0 0 15,-1 0-15,1-14 0,26 14 16,-39 0-16,12 0 0,-12 0 16,13-13-16,-14 13 0,1 0 15,12 0-15,-12 0 0,12 0 0,-12-13 16,12 13-16,-12 0 0,13 0 15,-14 0-15,14 0 0,-14 0 0,1 0 16,12 0-16,1-13 0,-13 13 16,-1 0-16,27 0 15,-40 0-15,0 0 0,14 0 0,-14 0 16,27 0-16,-14 0 16,-13 0-16,1 0 0,-1 0 0,13 0 15,-12 0-15,-1 0 0,13 13 16,-12-13-16,25 0 0,-12 0 0,-14 0 15,13 0-15,-12 0 0,12 0 16,-13 0-16,27 0 0,0 13 16,-14-13-16,-13 0 15,14 0-15,12 0 16,-12 13-16,-14-13 0,14 0 0,26 0 16,-40 0-1,0 14-15,13-14 0,-12 0 16,12 0-16,-13 0 15,14 0-15,-1 0 16,1 0 0,-14-14-16,0 14 15,-13-13-15,13 13 16,1 0-16,-14-13 16,13 13-16,-13-13 0,13 13 15,-13-14-15,13 1 0,1 0 16,-14 0-1,13 0-15,-13-1 0,0 1 0,0 0 16,13-14-16,-13 14 16,0 0-16,0 0 0,0-1 15,0-12-15,0 13 0,0-27 0,-13 27 16,13-27-16,0 27 16,0-13-16,0-1 15,-13 1-15,13 12 0,0 1 16,0 0-16,-14 0 0,14-1 15,0 1-15,-13 0 0,13-13 16,-13 12-16,13 1 16,-13 0-16,13 0 15,-14 13-15,14-14 16,-13 1-16,0 13 0,13-13 16,-13 13-16,-1 0 0,1-13 15,0 13-15,-13 0 0,-1-14 16,1 14-16,-1 0 0,-39 0 15,40 0-15,-14 0 16,-13 0-16,13-13 0,-13 13 0,0 0 0,14 0 16,-14 0-16,-106 0 15,106 0-15,0-13 16,0 13-16,0 0 0,1 0 16,-15 0-16,-52 0 0,40 0 0,13 0 15,-14 13-15,1-13 16,0 0-16,13 0 0,-14 0 0,14 13 0,-93-13 15,93 14-15,-79-1 16,78-13-16,-12 13 16,-53 0-16,-1 1 0,54-1 15,13 0-15,0-13 0,0 13 16,-53 1-16,66-14 16,-53 13-16,66 0 0,-13-13 15,-13 13-15,40-13 16,-14 0-16,14 0 0,-27 13 15,26-13-15,1 0 0,-67 0 16,40 14-16,13-14 16,14 13-16,-14-13 0,-39 13 15,39 0-15,1 1 16,-1-14-16,13 0 0,-25 13 16,25-13-16,1 13 0,-1-13 15,1 13-15,-27-13 0,40 0 16,-27 14-16,13-14 0,14 13 15,0-13-15</inkml:trace>
  <inkml:trace contextRef="#ctx0" brushRef="#br0" timeOffset="747.11">17595 2037 0,'106'-145'15,"-67"92"-15,27-27 0,1 14 16,-1-13-16,13 0 0,172-146 15,-79 92-15</inkml:trace>
  <inkml:trace contextRef="#ctx0" brushRef="#br0" timeOffset="1405.05">19328 1733 0,'119'-145'0,"0"12"15,-40 54-15,1-1 0,12 1 0,1 0 16,-1-1-16,14 14 0,-13 0 16,0 0-16,-14 13 0</inkml:trace>
  <inkml:trace contextRef="#ctx0" brushRef="#br0" timeOffset="2604.89">13626 2646 0,'0'26'16,"13"-12"-16,0 25 15,1 1-15,-1 13 0,0 13 16,0-13-16,14 79 0,-14-66 0,0 0 16,14 1-16,-1 52 15,1-27-15,-14-52 0,0 0 16,0-1-16,1-12 0,-1-1 0,0-13 16,-13 1-16,13 12 15,-13-13-15,0 1 0,14-14 0,-14 13 0,0 0 16</inkml:trace>
  <inkml:trace contextRef="#ctx0" brushRef="#br0" timeOffset="2974.99">13600 3506 0,'13'39'16,"0"-25"-16,-13-1 16,13 0-16,14 27 15,-14-14-15,0 1 0,0-1 0,14 1 0,-14-14 16,27 27-16,-14-14 0,1-13 15,-1 0-15,-13 1 16,27-14-16,-27 0 0,1 0 16,12 0-16,-13-14 0,14-12 0,-1 13 15,1-14-15,12-26 0,-12 14 16,-1-14-16,14 13 0,0-13 0,-1 0 16,1 0-16,0 14 0,-1-14 15,-12 13-15,12 0 0,-25 1 0,12 25 16,-26-12-16</inkml:trace>
  <inkml:trace contextRef="#ctx0" brushRef="#br0" timeOffset="5184.72">8864 10438 0,'13'0'47,"0"-13"-47,0 13 0,0 0 0,14 0 0,-14-14 15,14 14-15,-1-13 0,1 13 0,25-13 16,-25 13-16,-1 0 16,1-13-16,-1 13 0,-12 0 0,-1 0 15,13-14-15,-13 14 0,1 0 16</inkml:trace>
  <inkml:trace contextRef="#ctx0" brushRef="#br0" timeOffset="5415.9">8705 10597 0,'13'13'16,"0"-13"-16,14-13 15,-14 13-15,13 0 16,-12 0-16,-1 0 0,0 0 16,14 0-1,-14 0-15,0 0 0,0 0 16</inkml:trace>
  <inkml:trace contextRef="#ctx0" brushRef="#br0" timeOffset="5697.31">8744 11192 0,'53'-27'32,"-39"27"-32,25-13 15,-12 13-15,-1-13 0,-13 13 16,14 0-16,-14 0 0,0-13 16,1 13-16,12 0 0</inkml:trace>
  <inkml:trace contextRef="#ctx0" brushRef="#br0" timeOffset="5885.65">8811 11298 0,'26'0'31,"14"-14"-15,-27 14-16,13 0 0,-12-13 15,12 13-15,1 0 0,-1-13 0,-13 13 16,14 0-16,-1-13 0,1 13 0</inkml:trace>
  <inkml:trace contextRef="#ctx0" brushRef="#br0" timeOffset="7421.83">9869 11060 0,'40'0'31,"-1"0"-15,-25 0-16,-1 0 16,0 0-16,0 0 0,0 0 15,1 0-15,-1 0 16,-40 26-1,-39-13 1,53-13-16,-27 13 16,14-13-16,13 0 0,-1 0 0,1 14 15,0-14-15,0 0 16,39-14 15,1 14-15,-1 0-16,-13 0 0,1 0 0,-1 0 15,13-13-15,-12 13 0,-1 0 16,0 0-16,-39 13 31,12-13-31,1 0 0</inkml:trace>
  <inkml:trace contextRef="#ctx0" brushRef="#br0" timeOffset="19066.84">15187 10504 0,'-13'0'0,"53"0"31,65 0-15,-52 0-16,0 0 0,251-13 16,-211 0-1,264-1 1,-264 14-16,-1-13 15,1 13-15,-14 0 0,14-13 0,-14 13 0,14 0 16,-27 0-16,14-13 0,92 13 31,-133 0-31,54-14 0,-80 14 16,14 0-16,-14 0 0</inkml:trace>
  <inkml:trace contextRef="#ctx0" brushRef="#br0" timeOffset="19383.93">15465 10702 0,'145'0'16,"107"-13"0,-160 13-16,1-13 0,13 13 0,0 0 15,-14 0-15,14-13 0,410-14 32,-265 27-32,-171-13 15,105 13 1,-26 0 15</inkml:trace>
  <inkml:trace contextRef="#ctx0" brushRef="#br0" timeOffset="20844.75">19764 10425 0,'53'-14'16,"-26"14"-1,131-26-15,-144 26 0</inkml:trace>
  <inkml:trace contextRef="#ctx0" brushRef="#br0" timeOffset="20998.19">19857 10504 0,'66'-13'31,"-53"13"-31,67-27 0,-67 14 0,0 13 0,0-13 16</inkml:trace>
  <inkml:trace contextRef="#ctx0" brushRef="#br0" timeOffset="23588.77">7236 8520 0,'-13'0'15,"0"0"-15,39 0 16,14-14-1,0 14-15,171-39 32,-158 39-32,0-14 0,13 14 0,-13-13 15,53 0 1,-53 13-16,-13 0 0,-1-13 0,-12 13 0,-1 0 16,40-13-16,-52 13 15,-1 0-15,13 0 16,1 0-16,-14 0 15,0 0 1,1 0 0,-1-14 46</inkml:trace>
  <inkml:trace contextRef="#ctx0" brushRef="#br0" timeOffset="24661.65">7911 8255 0,'-26'0'15,"12"13"1,28 0-1,-1-13 1,13 14-16,-12-1 0,-1-13 16,0 0-16,27 13 15,-27 0-15,13-13 0,-12 0 0,-1 14 16,13-14-16,-13 0 0,14 13 0,-14-13 16,0 0-16,14 13 15,-14-13-15,0 0 0,1 13 16,-1-13-16,0 14 15,0-1 1,-13 13 0,-13 1-1,13-14-15,0 0 0,-26 27 16,12-27-16,14 0 16,-13 0-16,13 1 0,-13 12 15,0-13-15,-1 14 16,1-27-16,13 13 15,-13 0 1,13 1 15,-13-14-31,13 13 16,0 0 281</inkml:trace>
  <inkml:trace contextRef="#ctx0" brushRef="#br0" timeOffset="27059.73">22027 4260 0,'0'26'0,"0"-13"15,0 27 1,0-27-16,0 1 0,0-1 0,0 0 16,0 0-16,0 1 0,0-1 0,0 0 15,0 27 1,0-27-16,0 0 16</inkml:trace>
  <inkml:trace contextRef="#ctx0" brushRef="#br0" timeOffset="27334.45">22344 4180 0,'-13'14'16,"0"-1"-16,-1 0 15,14 0-15,-13 1 0,13-1 0,-13 0 16,13 0-16,0 0 0,-13 27 16,-1-27-16,14 1 15,-13-1-15</inkml:trace>
  <inkml:trace contextRef="#ctx0" brushRef="#br0" timeOffset="27626.88">22185 4260 0</inkml:trace>
  <inkml:trace contextRef="#ctx0" brushRef="#br0" timeOffset="27755.78">22490 4379 0,'-14'0'31,"1"0"-31,13 13 16,-13-13-16</inkml:trace>
  <inkml:trace contextRef="#ctx0" brushRef="#br0" timeOffset="29278.04">22000 8824 0,'13'13'15,"67"-13"17,-54 0-32,1 0 0,12 0 0,-12 0 15,92-13 1,-79 13-16,-1-13 0,-12 13 0,26-14 16,-27 14-16,40-13 15,-39 0-15,-14 13 0,13-13 16,1 13-16,-1-14 0,27 1 15,-26 0-15,26 0 16,-40 13 0,26-13-16,-25-1 0,12 1 15,-13 0-15,1 13 16,-14-13-16,13-1 0,0 14 0,-13-13 16,13-13-1,-13 12-15,14 1 0,-14 0 0,0 0 16,13 0-16,-13-1 0,0 1 0,0 0 15,13 13-15,-13-13 0,0-1 16,0-12-16,0 13 16,0 0-16,0-1 0,0 1 15,0 0-15,0 0 0,-13-14 16,13 14-16,-13 0 0,13-1 16,-14 1-16,14 0 0,-13 0 0,13 0 15,-13-1-15,0 1 0,-1 0 16,1 0-16,0-1 0,0-12 15,-1 26-15,1-13 0,-13-1 0,-1 1 16,14 0-16,-13 0 0,-1 13 0,1-13 16,-1-1-16,-12 14 0,12-13 15,-13 0-15,14 13 0,-1 0 0,1-13 0,0 13 16,-14 0-16,13 0 0,-12 0 16,-27 0-16,26 13 15,-13-13-15,0 13 0,-13 0 0,0-13 16,26 14-16,-13-1 0,14 0 15,-14 0-15,13 0 0,-39 40 16,52-39-16,1 12 0,-1 1 0,1-14 16,-14 53-1</inkml:trace>
  <inkml:trace contextRef="#ctx0" brushRef="#br0" timeOffset="29849.88">20757 11814 0,'-14'-14'0,"14"28"15,0 12 1,0-13-16,0 1 0,0-1 16,0 0-16,0 0 0,0 0 0,-13 27 15,13-13 1,0-14-16,0 0 0,0 0 16,0 1-16,0-1 15,0 0-15,0 0 16</inkml:trace>
  <inkml:trace contextRef="#ctx0" brushRef="#br0" timeOffset="30236.76">21101 11800 0,'-14'-13'0,"-12"13"15,13 13-15,-1-13 0,-12 0 16,13 14-16,-1-14 0,1 13 16,0 0-16,0-13 0,13 13 15,-13-13 1,26 14-16,0-14 15,13 13 1,-12-13-16,12 0 16,-26 13-16,13-13 0,1 13 15,-14 0 1,0 1-16,-14-1 16,-12 0-16,13 0 15,-1 1-15,1-14 16,0 13-16,0-13 0,0 0 15</inkml:trace>
  <inkml:trace contextRef="#ctx0" brushRef="#br0" timeOffset="30452.99">21259 11919 0,'13'-13'16</inkml:trace>
  <inkml:trace contextRef="#ctx0" brushRef="#br0" timeOffset="30911.73">21656 11761 0,'-26'26'0,"12"-13"16,1 1-16,13-1 15,0 0-15,0 0 0,0 1 0,0-1 0,0 0 16,13 0-16,14 14 16,-1-27-1,-12 0-15,-1 0 0,0 0 0,0-14 16,27 1 0,-27 0-16,0-27 15,-13 27-15,-13-13 16,13 12-16,-13 1 15,0 0-15,-14 0 16,14 13-16,0-13 16,0 13-16,-14 0 15</inkml:trace>
  <inkml:trace contextRef="#ctx0" brushRef="#br0" timeOffset="31332.33">21934 11615 0,'13'0'0,"0"13"0,14 14 16,-14-27-1,0 13-15,1 0 0,-1 1 16,0-1-16,-13 13 0,13 14 15,-13-14 1,0-12-16,0-1 0,-13 0 16,0 0-16,0-13 15,-1 0 1,1-13 0,26-13-1,-13-27 1,14 26-16,-14 1 15,0 13-15,0-1 0,0-12 16,-14 13-16,14-1 0,0 1 16,0 0-16,0 0 0,-13 13 15,13-13-15,0-1 0,-13 14 0,0-13 16,-14 26 0,14-13-1</inkml:trace>
  <inkml:trace contextRef="#ctx0" brushRef="#br0" timeOffset="31673.81">22265 11443 0,'-14'0'0,"1"13"15,0-13-15,0 27 16,13-14-16,-13 0 0,13 1 0,-14 12 16,1-13-16,13 1 15,0-1-15,0 0 0,0 0 16,13 0-16,1-13 16,-1 0-16,0 0 15,0-13-15,0 0 0,1 13 16,-1-13-1,-13 0 1,-13 13 0,-1 13-1,1-13-15,0 13 16</inkml:trace>
  <inkml:trace contextRef="#ctx0" brushRef="#br0" timeOffset="32996.8">20399 12607 0,'67'-53'15,"-28"40"-15,27 0 0,1 0 0,-1-14 16,26 14-16,120-27 16,-106 14-16,13-1 0,-27 14 15,27 0-15,-26 0 0,-14 0 0,14-1 0,145-25 16,-172 39 0,40-14-16,-53 14 0,-26 0 15,-1 0-15,0 0 0,-12 0 0,-41 14 31,14-1-15</inkml:trace>
  <inkml:trace contextRef="#ctx0" brushRef="#br0" timeOffset="33200.72">20558 12621 0,'146'-27'16,"-80"14"-16,13 0 0,1-1 0,12 1 16,-12 13-16,12-13 0,-13 0 0,1 13 0,-1-13 15,1-1-15,25 14 16,-65-13-16,-13 13 0,-1 0 16,-13 0-16,-13-13 0</inkml:trace>
  <inkml:trace contextRef="#ctx0" brushRef="#br0" timeOffset="33574.94">19288 12303 0,'80'-13'0,"-54"0"0,27-1 0,-13 14 15,-1-13-15,1 13 16,-14-13-16,1 13 0,13 0 0,-27 0 0,13-13 16,1 13-16,12 0 15</inkml:trace>
  <inkml:trace contextRef="#ctx0" brushRef="#br0" timeOffset="33732.68">19500 12422 0,'0'0'0,"79"-13"15,-39 0-15,0-1 0,-1 1 16,14 0-16,0 0 0,-13 0 15</inkml:trace>
  <inkml:trace contextRef="#ctx0" brushRef="#br0" timeOffset="34760.58">16933 12144 0,'-39'14'0,"12"-1"0,-12 0 16,12 14-16,-13-1 0,1 14 0,-1-14 15,-53 80 1,67-66-16,13-14 0,13 14 0,0 39 16,0-52-1,13-1-15,0 1 0,14-1 0,52 53 16,-53-65-16,14-1 16,-13 0-16,12 0 0,1-13 15,-14 0-15,1 14 0,-1-14 0,40-14 16,-52 14-1,39-13 1,-27 0-16,-13 0 0,1-1 0</inkml:trace>
  <inkml:trace contextRef="#ctx0" brushRef="#br0" timeOffset="35149">17370 12224 0,'13'26'16,"-13"-13"-1,13 1-15,-13 12 0,14-13 0,-14 14 16,13-14-16,0 13 0,13 14 15,1-13 1,-14-14-16,0 0 0,1-13 0,-1 13 16,0-13-16,0 0 15,27 0-15,-27-13 16,0 0-16,1-14 0,-1 1 16,13-1-16,-12-12 0,12 12 0,1-12 15,-14-1-15,13 14 0,-13-14 0,1 13 16,-1 14-16,0-13 0,0-1 15,1 14-15</inkml:trace>
  <inkml:trace contextRef="#ctx0" brushRef="#br0" timeOffset="37529.64">15478 11893 0,'172'-40'0,"-132"27"0,26 0 0,0 0 0,0-1 16,14 1-16,-1-13 0,265-40 16,-225 39-1,0 1-15,13-1 0,14 1 0,-14-1 0,172-26 16,-158 27-16,-1-1 16,345-39-1,-331 53-15,13-13 0,-14 12 0,14-12 0,-13 13 16,0-14-16,13 1 15,-13 13-15,-1-14 0,173-13 16,-172 27-16,0-13 0,-14 12 0,14-12 16,-14 13-16,1-14 0,-1 14 15,279-40-15,-160 14 16,-131 25-16,-14-12 0,0-1 16,119 1-1,-119-1-15,-26 14 0,277-66 16,-277 66-16,-14-1 15,14 1-15,-14 0 0,80-14 16,-80 14-16,133-26 16,-159 39-16,0-14 0,-1 14 15,1-13-15,-13 13 0,13-13 16,-13 13-16,-14 0 0,1 0 16,-1 0-16,-13-13 0,27 13 15,-27 0-15,0 0 0,1 0 0,-1 0 16,0 0-16,0 13 0,1-13 15,-14 13-15,13 14 16,-13-14-16,0 0 0,13 27 16,-13-14-16,0 14 15,0 0-15,0-1 0,0 14 0,0-13 16,0 13-16,0 0 0,13-14 0,-13 14 16,0 13-16,14 1 0,-14-15 15,13 15-15,13 52 16,-13-53-16,1-13 0,-1 0 0,13 0 0,-12 0 15,-1-14-15,0 1 0,0 13 16,1-14-16,-1 1 0,-13 0 0,13 0 16,0-1-16,0-12 0,1 12 0,-14-12 15,13 26 1,-13-40-16,13 13 0,-13-12 0,13-1 0,-13 13 16,0-12-16,0-1 0,0 0 0,14 0 15,-14 0-15,0 1 16,0-1-16,0 0 15,0 0-15,-14 1 0,14-1 16,-13 0-16,0-13 0,0 13 0,-1 1 16,1-1-16,0 0 0,-27 0 15,14 0-15,-1 1 0,-12-1 16,-1 0-16,14 14 0,-14-14 0,-13 0 0,13 0 16,-13 1-16,0 12 15,-13-13-15,13 0 0,-13 1 0,0-1 16,13 0-16,-13 14 0,0-14 0,0 0 0,-67 14 15,67-14 1,-13 0-16,0 0 0,12 0 0,-12 1 16,0-1-16,12 0 0,-25 0 0,12 1 15,-78-1-15,78 0 16,1 0-16,0 1 0,-1-1 0,1-13 16,-14 13-16,14 0 0,-14-13 0,14 13 15,-14 1-15,-79-1 16,93 0-16,-14-13 0,14 13 0,0 1 15,-14-1-15,14-13 0,-1 13 0,1 0 16,-14-13-16,14 13 0,0-13 16,-1 14-16,1-1 0,-1-13 15,14 13-15,-13-13 0,13 13 0,-14 1 16,14-14-16,0 13 0,0-13 0,-66 26 16,79-26-16,0 0 15,0 14-15,0-14 0,-13 13 0,13-13 16,0 0-16,0 13 0,0-13 0,0 0 15,-13 13-15,13-13 0,-53 13 16,67-13-16,-14 14 0,0-14 16,13 0-16,-13 13 0,13-13 0,-12 13 15,-41-13 1,40 13-16,13-13 0,-13 0 0,14 14 0,-1-14 16,-13 13-16,13-13 0,1 13 15,-1-13-15,-13 0 0,14 13 0,-1-13 16,-13 14-16,13-14 0,1 13 15,-14-13-15,13 13 0,-13-13 0,13 0 16,-13 13-16,0-13 0,-92 27 16,92-14-16,-13-13 15,0 13-15,13-13 0,0 13 16,0-13-16,0 14 0,-13-14 0,13 0 16,0 13-16,0-13 0,0 13 15,0-13-15,0 0 0,1 13 0,-54-13 16,66 13-16,-13-13 0,13 0 0,-26 14 15,27-14-15,12 13 16,1-13-16,-1 0 0,1 0 16,-1 0-16,14 0 0,0 13 0,0-13 15,-1 0-15,-12 0 0,13 0 16,-1 0-16,1 0 16,0-13-16,0 13 15,13-13-15,-13-1 16,13 1-16,0 0 15,0 0-15,-14 0 0,14-1 0,0-12 16,0-1-16,0 14 0,-13-26 16,13 12-16,0-13 0,-13-13 15,13 14-15,-13-1 0,13-13 16,-14 0-16,1-13 0,0 13 0,13-13 0,-13 0 16,-1-66-16,-12 13 15,26 66-15,-13 0 0,0 13 16,-14-53-16,14 54 0,0 12 15,-1-12-15,1 12 0,0-13 16,0 14-16,13 13 0,-14-14 0,1 14 16,13-13-16,-13 12 0,13 1 0,-13-13 15,13 12-15,0 1 0,-13 13 16,-1-39 0,14 25-16,-13 1 15,13 0 1,0 0-1,-13 13 1,13-14 0,-13 1 31,-1 0 15,1 13-46</inkml:trace>
</inkml:ink>
</file>

<file path=ppt/ink/ink21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25:55.454"/>
    </inkml:context>
    <inkml:brush xml:id="br0">
      <inkml:brushProperty name="width" value="0.05292" units="cm"/>
      <inkml:brushProperty name="height" value="0.05292" units="cm"/>
      <inkml:brushProperty name="color" value="#0070C0"/>
    </inkml:brush>
  </inkml:definitions>
  <inkml:trace contextRef="#ctx0" brushRef="#br0">22199 8877 0,'-27'0'16,"14"0"-1,0 13 1,-1-13-16,-12 0 16,13 0-16,-1 0 0,1 13 15,0-13-15,-13 0 0,-1 0 16,1 0-16,12-13 0,-12 13 16,13 0-16,-14 0 0,-12-13 15,25 0-15,1-1 0,-27-12 16,-12-54-1,38 41-15,1-41 16,13 41-16,13-54 0,-13 53 16,0 1-16,14-1 0,-1 0 15,-13 14-15,13-1 0,0-12 16,-13 26-16,13-1 0,1 1 16,-14 0-16,13 0 0,0-1 15</inkml:trace>
  <inkml:trace contextRef="#ctx0" brushRef="#br0" timeOffset="30900.36">23349 8533 0,'27'0'203,"-1"0"-187,1 13-16,13 0 15,-14-13-15,-13 0 16,0 0-16,14 13 63,-14 1-48,14-14-15,-14 0 0,13 0 16,-12 0-1,12 0-15,14 0 0,-14 0 16,-13 0-16,1 0 16,12 0-16,-13 0 15,14 0 1,-1 0-16,-13 0 16,27 0-1,-27 0-15,14 0 16,-14 0-1,13 0-15,1 0 0,13 0 16,-14-14 0,1 1-16,25 0 15,-12 0-15,13 0 16,0-14 0,-40 27-1,0-13 1,-13 0-1,14-1 1,-1 14-16,-13-13 16,0 0-16,0 0 15,0 0-15,0-14 16,0 14-16,0-14 16,0 14-1,0-13-15,0 12 0,0 1 16,0-13-1,0 13-15,-13-27 16,-1 40-16,1-27 16,-13 14-1,26 0 1,-13 0-16,-14-1 16,14 1-1,-14 0-15,14 0 16,-53-14-1,26 14-15,14 0 16,-1 13 0,1 0-1,-1 0-15,27-13 16,-13 13-16,-13 0 16,13 0-1,-14 0 1,14 0-1,-14 0 1,14 0-16,0 0 0,-14 0 16,1 0-16,0 0 15,-14 0 1,0 0-16,-13 0 0,27 0 16,-67 0-1,40 0 1,-13 0-1,40 0 1,12 0 0,1 0-1,0 13 1,-13-13 0,12 13-1,-12-13 1,-27 13-1,40-13-15,0 27 16,-1-27 0,1 13-16,0 13 15,13-12 1,0-1 0,0 13-16,0 1 15,0-14 1,0 14-16,0-14 15,0 13-15,0-13 16,0 14-16,0-14 16,0 0-16,0 1 15,0-1-15,0 0 16,0 0-16,0 1 16,26 38-1,-12-52 1,-1 14-16,13 12 0,1 1 15,-14-14 1,0 13 0,14-26-16,-1 0 47,-13 0 15,0 0-31,1 0-15,-1 0-16,0-13 16,0 13-1</inkml:trace>
  <inkml:trace contextRef="#ctx0" brushRef="#br0" timeOffset="72657.66">22066 8811 0,'-13'13'109</inkml:trace>
  <inkml:trace contextRef="#ctx0" brushRef="#br0" timeOffset="72827.91">22066 8877 0</inkml:trace>
  <inkml:trace contextRef="#ctx0" brushRef="#br0" timeOffset="72979.85">22172 8890 0</inkml:trace>
  <inkml:trace contextRef="#ctx0" brushRef="#br0" timeOffset="73120.96">22318 8916 0</inkml:trace>
  <inkml:trace contextRef="#ctx0" brushRef="#br0" timeOffset="74259.9">23918 8665 0,'146'-40'0</inkml:trace>
  <inkml:trace contextRef="#ctx0" brushRef="#br0" timeOffset="74402.94">24183 8572 0,'53'-26'0,"-27"0"15,-12 12-15,-1 1 16,0 0-16,-132 105 0,251-211 0,-119 106 16,-13 0-16,0 0 0,-13-14 15,13 1-15,-13 13 16,0-1-16,0 1 0,-1 0 16,-25-14-16,12 14 0,14 0 15,0 0-15,-1 13 0,1-13 0,0-1 16,0 14-16,0 0 0</inkml:trace>
  <inkml:trace contextRef="#ctx0" brushRef="#br0" timeOffset="76805.9">18957 8692 0,'40'0'16,"-27"0"-1,27 0-15,-14 0 0,14 0 16,-13 13-16,39-13 16,-27 0-16,1 13 0,40-13 15,-41 0-15,54-13 16,-40 13-16,-14-13 0,41-1 15,-41 1-15,41-13 16,-54 12-16,1 1 0,-1 0 0,-13 0 16,14-14-16,-14 1 15,0 13-15,1-14 0,-1-13 16,-13 14-16,0 13 0,0-14 16,0-12-16,0 12 0,0 14 15,-13-14-15,13 1 0,-14 13 16,1-40-16,0 40 0,13-1 0,-13-12 15,-14-1-15,14 14 16,-27-13-16,27 13 16,-27-14-16,27 14 0,-13 0 15,12-1-15,-12 1 0,-14 0 16,14 13-16,-1-13 0,14 13 16,-13-13-16,12 13 0,-12 0 0,-27 0 15,27 0-15,-1 0 16,-12-14-16,-1 28 0,0-14 15,-13 0-15,27 0 0,-14 0 0,0 0 16,-13 13-16,14-13 0,-1 0 0,0 13 16,1-13-16,-1 13 0,-26 0 15,26 1-15,0-14 0,1 13 16,12 0-16,1 0 0,-27 14 16,13-1-16,27-13 0,-13 14 15,-1-1-15,-26 41 16,27-1-16,26-53 15,0 13-15,0-12 0,0 12 16,0 1-16,0-14 0,13 13 16,0 14-16,0-27 0,1 14 15,12-14-15,-13 0 0,14 13 0,-14-12 16,40 12-16,-27-13 0,1 1 16,-1-14-16,1 13 0,-1-13 15,1 13-15,39-13 0,-40 13 16,1-13-16,12 0 15,-12 0-15,26 0 0,-27 0 0,-12 0 16,12 0-16,-13 0 0,0 0 0,1 0 16,-1 0-16,0 0 15,0 0-15,1 0 16,-1 0-16,0 0 16,0 0-1,-13-13 1,14 13-1,-1 0 1</inkml:trace>
  <inkml:trace contextRef="#ctx0" brushRef="#br0" timeOffset="77624.04">18838 9366 0,'0'40'0,"0"-27"0,-13 0 16,13 1-16,0-1 0,0 0 0,0 14 15,0-1-15,0 0 16,0-12-16,0-1 0,0 0 16,0 0-16,0 14 0</inkml:trace>
  <inkml:trace contextRef="#ctx0" brushRef="#br0" timeOffset="77827.32">18984 9313 0,'0'27'0,"0"-14"15,0 27-15,0 39 16,-13-39-16,13-14 16,0 1-16,0-1 0,0 1 0</inkml:trace>
  <inkml:trace contextRef="#ctx0" brushRef="#br0" timeOffset="77989.74">19222 9578 0,'-13'-13'0,"0"13"16,-1 0 0</inkml:trace>
  <inkml:trace contextRef="#ctx0" brushRef="#br0" timeOffset="78332.77">19341 9379 0,'-13'27'15,"13"-14"1,0 0-16,0 1 0,0 25 0,13 14 31,-13-40-31,13 1 0,-13-1 0,14 0 16,-1 0-16,0-13 0,-13 14 0,13-14 15,0 0-15,1 0 0,-1 0 16,-13-14-16,13 14 0,0 0 16,1-26-16,-14 13 0,0-1 15,0 1-15,-14 0 0,14 0 16,-13 0-16,0-14 15,0 14-15,-1 0 0,1 13 16,0 0-16,0-14 0,0 14 16,-1 0-16,1 0 15</inkml:trace>
  <inkml:trace contextRef="#ctx0" brushRef="#br0" timeOffset="78535.79">19487 9274 0,'105'13'15,"-105"0"-15,14 0 16,-1 1-16,-13 12 0,13-13 0,-13 14 16,27 39-16,-27-40 15,0-12-15,0 12 0,0-13 16,13 14-16,-13-14 0,0 0 15</inkml:trace>
  <inkml:trace contextRef="#ctx0" brushRef="#br0" timeOffset="78886.94">19685 9419 0,'40'-40'16,"-27"40"-16,27-13 16,-27 13-1,0 0-15,0 0 16,1 0-16,12 13 0,-13 1 16,0-14-16,1 0 15,-1 0-15,13 13 0,-12-13 16,-1 0-16,0 0 15,0-13-15,-13-1 16,0 1 0,-13 0-16,0 0 0,0 0 15,-1-1-15,1 1 16,0 13-16,13-13 0,-13 0 16,-1-1-16,28 1 15</inkml:trace>
  <inkml:trace contextRef="#ctx0" brushRef="#br0" timeOffset="79691.76">21987 8824 0,'40'13'15,"-27"-13"1,0-13-16,0 13 0,14 0 0,-14 0 15,13 0-15,-12 0 0,12 0 16,1-13-16,12 13 0,-12 0 0,-1-14 16,14 14-16,26-13 0,-26 0 15,-14 0-15,14 13 16,-27-14-16,13 1 0,1 13 0,-14-13 16,27-13-16,-27 12 0,0 14 15,1-13-15,-1 0 0,0-14 16,0 14-16,0 0 0,-13 0 15,14-1-15,-14 1 0,13 0 0,-13 0 16,13 0-16,-13-14 0,0 1 16,13 12-16,-13-12 0,0 13 15,0 0-15,0-1 0,0-25 16,-13 25-16,13-12 16,-13-1-16,0-12 0,-1 26 15,1-14-15,0 1 0,0 12 0,-14-12 16,14 13-16,-13-14 0,-14 1 15,0 13-15,-26-14 16,26 14-16,1 0 0,-1-1 16,0 1-16</inkml:trace>
</inkml:ink>
</file>

<file path=ppt/ink/ink21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1-27T03:48:44.364"/>
    </inkml:context>
    <inkml:brush xml:id="br0">
      <inkml:brushProperty name="width" value="0.05292" units="cm"/>
      <inkml:brushProperty name="height" value="0.05292" units="cm"/>
      <inkml:brushProperty name="color" value="#0070C0"/>
    </inkml:brush>
  </inkml:definitions>
  <inkml:trace contextRef="#ctx0" brushRef="#br0">12951 2408 0,'-13'13'125,"0"0"-109,-14 14 15,-25 39-16,-1-13 1,-14 13 0,15-26-1,12 12 1,27-38 0,-1-1-16,-12 13 31</inkml:trace>
  <inkml:trace contextRef="#ctx0" brushRef="#br0" timeOffset="966.59">12647 2421 0,'-13'0'0,"26"13"46,14 27-30,25 0 15,-38-27-31,25 40 16,28 0 0,-28-27-1,1 14 1,-14-27-1,-26 0-15,14-13 16,-14 13-16,13-13 16,-13 14-1</inkml:trace>
  <inkml:trace contextRef="#ctx0" brushRef="#br0" timeOffset="2101.69">13018 2222 0,'-14'0'16,"28"-13"46,-1 13-46,26 0 15,-25 0-15,12 13-1,-26 1 1,0 12 0,-13-13-1,0 1 1,13-1-16,-14 0 16,1-13 15,26 13-16,1-13 1,39-13 0,-14 13 15,14-13-15,-40 13-16</inkml:trace>
  <inkml:trace contextRef="#ctx0" brushRef="#br0" timeOffset="3118.84">12330 2593 0,'13'0'0,"0"0"47,0 0-47,14 0 32</inkml:trace>
  <inkml:trace contextRef="#ctx0" brushRef="#br0" timeOffset="3753.17">12369 2514 0,'27'0'62,"-14"13"-46,0-13 15,0 13-15,1-13 0,-1 13-1,0-13 1,0 13 31,-13 1-32,0-1 1,-26 27 0,-27 26-1</inkml:trace>
  <inkml:trace contextRef="#ctx0" brushRef="#br0" timeOffset="9430.83">12991 4511 0,'13'0'32,"-39"13"46,13 14-63,-1-14-15,-39 40 16,14-13 0,-27 26-1,52-53-15,1 0 16,-13 14-1,-1-14 1</inkml:trace>
  <inkml:trace contextRef="#ctx0" brushRef="#br0" timeOffset="9810.09">12726 4577 0,'27'14'31,"13"12"-15,-27-13-16,27 27 16,-1 0-1,-12-14 1,-14 0-1,13-26 1,-26 14 0</inkml:trace>
  <inkml:trace contextRef="#ctx0" brushRef="#br0" timeOffset="10509.25">13097 4286 0,'26'13'0,"-12"-13"15,-1 14 1,-13-1 0,0 0-1,-13 14 1,-1-1 0,1-13-1,0-13 1,13 14-1,13-1 17,14-13-17,-1 0 1,0 0 0,1 0-1</inkml:trace>
  <inkml:trace contextRef="#ctx0" brushRef="#br0" timeOffset="11344.87">13322 4643 0,'0'-13'0,"0"0"31,13 13-31,27 0 15,-14 0 1,1 0 15,-1 13-15</inkml:trace>
  <inkml:trace contextRef="#ctx0" brushRef="#br0" timeOffset="11576.91">13295 4776 0,'27'13'15,"-14"-26"1,13 13-1,1 0-15,-14 0 16,14 0 15,-14-14-31</inkml:trace>
  <inkml:trace contextRef="#ctx0" brushRef="#br0" timeOffset="12777.78">14261 4167 0,'-13'-13'16,"-14"26"-1,1 14 1,-1 12-1,-12 41 1,-1 39 0,27-66-1,13 13 1,0-53-16,40 27 16,-14-27-1,27 0 1,-40-13-1</inkml:trace>
  <inkml:trace contextRef="#ctx0" brushRef="#br0" timeOffset="13445.72">14446 4247 0,'13'0'0,"-13"-14"16,27 14 0,13 14-1,-14-1 1,-13-13-16,1 39 16,-14-12-1,-27 13 1,-13 13-1,14-40 1,-1 13 15,14-13-15,40-13 31,12-13-32,-25 13-15,39-13 16,-27 13 0,0-13-1</inkml:trace>
  <inkml:trace contextRef="#ctx0" brushRef="#br0" timeOffset="14079.34">14790 4194 0,'27'0'16,"-14"0"-16,40 13 31,-27 0-15,1 14 0,-27-1-1,-14 0 1,1 14-1,-26-13 1,39-14 0,-14-13-1,1 13 1,40 0 15,-1-13-15,0 0-1,1 0 1,-14 0 0,14-13-1</inkml:trace>
  <inkml:trace contextRef="#ctx0" brushRef="#br0" timeOffset="14513.91">15108 4260 0,'26'0'31,"1"-13"-15,12 13-1,1 0 1,-14 0 0,-12-14-1,-1 14 1</inkml:trace>
  <inkml:trace contextRef="#ctx0" brushRef="#br0" timeOffset="15364.54">15518 4114 0,'13'-13'15,"0"13"1,1 0-16,-1 13 31,0 14-15,-26-1 0,-14 1-1,1-1 1,13-13-1,13 1 17,26-14-17,1 13 1,-14-13-16,13 13 16,-13 0-1,-13 27 1,-26-14-1,-14-12 1,1 12 15,25-26-15,1 0 0</inkml:trace>
  <inkml:trace contextRef="#ctx0" brushRef="#br0" timeOffset="15964.08">15941 4154 0,'-13'26'0,"-14"-12"16,-12 12-1,12 1 1,14-14-1,-27 13-15,14-13 16,13 14 15,52-14 1,1 0-17,-27-13-15,53 0 16,-13-13-1,14 13 1,-54 0-16,13 0 16,1-13-1</inkml:trace>
  <inkml:trace contextRef="#ctx0" brushRef="#br0" timeOffset="16314.71">15888 4180 0,'-13'27'47,"13"-14"-47,0 53 16,-13-13-1,-14 0 1,14-13-1,13-14 1,0 1 0</inkml:trace>
  <inkml:trace contextRef="#ctx0" brushRef="#br0" timeOffset="16848.8">16087 3929 0,'39'40'16,"14"39"-1,13 27 1,-39-13 0,-27-41-1,-13 15 1,-27-14-1,13-27 1,1-26 15,-14 0-15</inkml:trace>
  <inkml:trace contextRef="#ctx0" brushRef="#br0" timeOffset="17883.21">16285 3770 0,'13'0'0,"1"0"16,25 14 0,-12 12-1,-27-13 1,-14 27 15,1-14-31,0-12 16,0-1-1,26 0 1,0-13 15,27 0-15,0 0 0,-14 0-1,-13 0-15</inkml:trace>
  <inkml:trace contextRef="#ctx0" brushRef="#br0" timeOffset="18717">14142 4908 0,'40'-13'31,"-14"13"-31,120-27 31,131 14-15,14-13 0,133 12-1,-318 14-15,317-13 16,-158 26-1,12-13 1,-171 0 0,-79 0-16,26 0 15,-40 0 1</inkml:trace>
  <inkml:trace contextRef="#ctx0" brushRef="#br0" timeOffset="19850.98">14856 5120 0,'14'-14'0,"-1"14"16,13 14-1,1 12 17,-27-13-17,-27 27 1,1-13 0,-1-1-1,14-26 1,26 13 15,14-13-15,-1 13-1,-13 1 1,1-14-16,-1 39 16,-26-25-1,-14 25 1,-12-12-1,-1-27 1,27 13 0,-27-13-1,14 0 1</inkml:trace>
  <inkml:trace contextRef="#ctx0" brushRef="#br0" timeOffset="20401.57">15319 5173 0,'-26'26'0,"13"-13"0,-14 14 16,-12-1-1,39-13-15,-27 1 16,14-1 0,13 0-1,26-13 1,-12 0-1,38 13-15,28-26 32,12 13-17,-25 0 1,-41-13 0,1 13-1</inkml:trace>
  <inkml:trace contextRef="#ctx0" brushRef="#br0" timeOffset="20735.56">15319 5173 0,'0'26'16,"0"-13"-1,0 53 1,-13 14 0,13-27-1,-13 13 1,13-53-16,0 0 16</inkml:trace>
  <inkml:trace contextRef="#ctx0" brushRef="#br0" timeOffset="22137.08">16973 4379 0,'0'13'16,"0"27"-16,0 13 31,0-27-15,0 14 0,0-14-1,0-12 1</inkml:trace>
  <inkml:trace contextRef="#ctx0" brushRef="#br0" timeOffset="22420.36">16867 4485 0,'40'0'16,"0"0"-1,26-14 1,0 14-1</inkml:trace>
  <inkml:trace contextRef="#ctx0" brushRef="#br0" timeOffset="23387.46">17793 3995 0,'-26'27'15,"13"12"1,-27 41-1,13-1 1,14 0 15,26-26-15,14-26 0,-1-27-1,1 0-15</inkml:trace>
  <inkml:trace contextRef="#ctx0" brushRef="#br0" timeOffset="24075.75">17992 4088 0,'13'-13'0,"-26"26"16,39-26-16,-13 13 15,1 13 1,-1 13 0,-26 1-1,-14 12 1,14-39-16,-27 40 15,1-13 1,12-1 0,40-13 31,1-13-47,25 0 15,-26 0-15,14 0 16,26-13-1,-13 13 1</inkml:trace>
  <inkml:trace contextRef="#ctx0" brushRef="#br0" timeOffset="24606.26">18455 4061 0,'-14'40'15,"-12"-27"1,-14 14-1,1 12 1,12-12 0,27-14 15,27 0-15,26 1-1,26-1 1,0-13-1,-26-13 1,-26 13 15,-1 0-15,-26-14-16</inkml:trace>
  <inkml:trace contextRef="#ctx0" brushRef="#br0" timeOffset="24989.87">18468 4088 0,'0'26'31,"0"14"-16,-13 26 1,-1 0 0,1 0-1,13-26 1,0-27-16</inkml:trace>
  <inkml:trace contextRef="#ctx0" brushRef="#br0" timeOffset="25641.7">18746 4114 0,'26'0'31,"-13"0"-15,27 0 0,0-13-1,-14 13 1</inkml:trace>
  <inkml:trace contextRef="#ctx0" brushRef="#br0" timeOffset="26326.07">19129 3929 0,'-13'-13'16,"40"13"-1,-14 13 1,-13 14 15,-13-1-15,-14 0 0,1-12-1,12-1 1,28 0 15,12 0-15,1 14-1,12-1 1,-39-12 0,-13 12-1,-27 0 1,14-12-1,-1-1 1,14-13 0,13 13-1</inkml:trace>
  <inkml:trace contextRef="#ctx0" brushRef="#br0" timeOffset="26892.35">19487 3969 0,'13'-13'15,"-40"52"17,-12 1-17,25-27-15,-12 14 16,0-1 0,12-13-1,41 1 16,12-1-15,-12-13 0,26 0-1,26 0 1,-39-13 0,-14 13-1,-12 0-15</inkml:trace>
  <inkml:trace contextRef="#ctx0" brushRef="#br0" timeOffset="27175.59">19513 3982 0,'-13'26'31,"13"1"-15,-13 39 0,-1 13-1,1-26 1,13 0-1,0-40 1</inkml:trace>
  <inkml:trace contextRef="#ctx0" brushRef="#br0" timeOffset="27659.75">19685 3744 0,'26'0'0,"1"26"15,52 67 1,-39-14-1,-27 14 1,-26-14 15,-13-26-15,-14 0 0,0-40-1,14 1 1</inkml:trace>
  <inkml:trace contextRef="#ctx0" brushRef="#br0" timeOffset="28292.93">20002 3492 0,'14'-13'0,"-28"26"0,67-13 16,-26 27 15,-27-1-15,-27 14-1,1-13 1,13-1-1,-1-13 1,28 0 0,12-13-1,-13 0-15,27 0 16,13 0 0,0 0-1,-13 0 1</inkml:trace>
  <inkml:trace contextRef="#ctx0" brushRef="#br0" timeOffset="29132.01">17634 4643 0,'27'0'15,"66"-13"1,65 13 0,147-26-1,65 13 1,-26-1 0,53 1-1,13 26 1,-278-13-1,-39 0 1,-40 0 15</inkml:trace>
  <inkml:trace contextRef="#ctx0" brushRef="#br0" timeOffset="30428.97">18362 4921 0,'13'0'0,"-13"-13"0,40 13 32,-14 13-17,-12-13-15,-1 27 16,-13-1-1,-27 1 1,1-1 0,0 1-1,12-27 1,41 13 15,12 0-15,1-13-1,-27 13 1,-13 14 15,-26-1-15,-1-13 0,-25 1-1,-1-1 1,26-13-1,14 0-15</inkml:trace>
  <inkml:trace contextRef="#ctx0" brushRef="#br0" timeOffset="30912.04">18838 4961 0,'-26'26'16,"-1"-12"-1,14-14-15,-13 39 16,-1-25 0,14 12-1,0-13 1,26 0-1,13-13 1,-12 0 0,52 14-1,0-14 1,0-14 0,-13 14-1,-40-13 1,1 13-16</inkml:trace>
  <inkml:trace contextRef="#ctx0" brushRef="#br0" timeOffset="31212.54">18878 4974 0,'0'27'31,"0"12"1,-13 27-17,13 1 1,-13-28-1,13 14 1,-14-13 0</inkml:trace>
  <inkml:trace contextRef="#ctx0" brushRef="#br0" timeOffset="32530.86">20452 4339 0,'0'40'31,"-13"13"0,13-40-31,-13 40 16,0-13-1,-1-1 1,14-25 0,0-1-1</inkml:trace>
  <inkml:trace contextRef="#ctx0" brushRef="#br0" timeOffset="32780.71">20320 4471 0,'26'0'0,"1"0"16,39 0-1,-13 0 1,-40 0-16,40-13 16,-26 13-1</inkml:trace>
  <inkml:trace contextRef="#ctx0" brushRef="#br0" timeOffset="33014.36">20876 4511 0,'0'-13'15,"13"13"17</inkml:trace>
  <inkml:trace contextRef="#ctx0" brushRef="#br0" timeOffset="33214.06">21167 4485 0,'13'0'15,"0"0"17</inkml:trace>
  <inkml:trace contextRef="#ctx0" brushRef="#br0" timeOffset="33397.83">21365 4485 0,'13'0'15,"-13"-14"17</inkml:trace>
  <inkml:trace contextRef="#ctx0" brushRef="#br0" timeOffset="33566.41">21603 4485 0,'0'-14'16,"13"14"-1,1 0 1</inkml:trace>
  <inkml:trace contextRef="#ctx0" brushRef="#br0" timeOffset="33714.87">21788 4485 0,'14'0'0</inkml:trace>
  <inkml:trace contextRef="#ctx0" brushRef="#br0" timeOffset="59506.13">17568 7144 0,'-13'26'47,"13"27"-31,-26 53-1,12-40 1,14-39-16,-26 52 16,13-39-1,-1-14 1</inkml:trace>
  <inkml:trace contextRef="#ctx0" brushRef="#br0" timeOffset="60375.99">17793 7170 0,'13'0'31,"27"-13"-15,13 13-1,-26-13 1,25 13-1,-25-13 1,-14 13 15,0 0-15</inkml:trace>
  <inkml:trace contextRef="#ctx0" brushRef="#br0" timeOffset="61124.68">17767 7197 0,'0'13'16,"0"0"-1,-13 27 1,13-14 0,-14 1-1,1-1 1,13 1-1,-13-27 1,13 13 15,26-13 1,1-13-17,-14 13 1,0 0-16,0 0 15,27 13 1,-13 13 0,-27-12-1,-14 12 1,-12-13 0,-1 14-1,-25-14 16,25 0-31,1-13 16,12 0 15</inkml:trace>
  <inkml:trace contextRef="#ctx0" brushRef="#br0" timeOffset="61615.4">18018 7369 0</inkml:trace>
  <inkml:trace contextRef="#ctx0" brushRef="#br0" timeOffset="62660.28">18256 7197 0,'27'0'63,"-14"0"-47,13 13-1,-12-13-15,-14 13 16,13 14-1,-40 25 1,1-12 0,-14 0-1,14 0 1,13-27 0,-1-13-1,28 13 16,12-13-15,14 0 15,-27 0-31,13 0 16,14-13 0</inkml:trace>
  <inkml:trace contextRef="#ctx0" brushRef="#br0" timeOffset="88802.43">18693 7223 0,'-13'-13'188,"13"0"-173,-14 13 1,1-14 0,0 1-1,0 13 1,-14 0 0,14 0-1,-13 0 1,-1 13-1,14-13 1,-14 27 0,14-14 15,13 0-15,0 14-1,0-14 1,13 0-1,1-13 1,-1 0-16,0 0 16,27 0-1,-14-13 1,-13 13 0,14-26-1,-14 12 1,14 1-1,-14 26 48,-13 14-32,0-14-31,0 27 16,-13-1-1,13 1 1,-14-13 0,14-1-1,0-13 1</inkml:trace>
</inkml:ink>
</file>

<file path=ppt/ink/ink21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21:59.836"/>
    </inkml:context>
    <inkml:brush xml:id="br0">
      <inkml:brushProperty name="width" value="0.05292" units="cm"/>
      <inkml:brushProperty name="height" value="0.05292" units="cm"/>
      <inkml:brushProperty name="color" value="#0070C0"/>
    </inkml:brush>
  </inkml:definitions>
  <inkml:trace contextRef="#ctx0" brushRef="#br0">5067 3770 0,'0'40'16,"26"79"0,-13-53-16,14 80 15,-14-54-15,14 14 16,-14 0-16,0 13 0,0-13 0,1 13 0,-1-13 15,0 0-15,0 13 0,0-40 0,-13 0 16,14 1-16,-1-1 0,0-13 16,-13 0-16,13 1 0,14 65 15,-27-106-15,0 1 16,13-1-16,-26-52 31,13-1-31,-13-65 0</inkml:trace>
  <inkml:trace contextRef="#ctx0" brushRef="#br0" timeOffset="1200.77">4842 3876 0,'-13'0'0,"79"-26"15,-40 26 1,80-27-16,-53 14 0,-13 0 16,145-27-1,-119 27-15,0 0 0,0-1 0,14 1 0,-1 0 16,80-14 0,-67 1-16,1 13 0,225-40 15,-226 40-15,80-27 16,-53 13-16,-13 14 0,-13-13 15,12 13-15,-12-1 0,158-39 16,-184 40-16,78-13 16,-79 13-16,0 13 0,-13-14 15,27 1-15,-41 13 0,-12-13 16,-14 13-16,14 0 0,-14 0 0,0-13 31,13 13-31,-12 0 0,-1 0 0,0 0 16,0 0-16,-13-14 15,14 14 1,-1 0-16,0 0 31,-13 14-15,0-1 15,0 0-15,0 0-16,0 1 15,0-1 1,-13 0-16,13 0 0,0 40 16,0-40-16,0 14 0,0-1 15,0 1-15,0 105 16,13-92-16,-13 211 16,13-185-1,-13 0-15,0-13 0,0 13 0,0 1 16,0-1-16,0-13 0,0 119 15,13-119-15,-13 92 16,0-92 0,0-13-16,0 13 0,14-14 0,-14 1 0,0-14 15,0 41 1,0-54-16,0 13 0,0-13 0,0 14 0,0-14 16,0 27-1,0-27-15,13 0 0,-13 1 16,0 12-1,0-13 1,0 0 0,-13-13-1,13 14 1,-14-14 0,-12 0-1,13 0-15,0 13 0,-14-13 16,1 0-16,-1 13 0,-12-13 15,-1 13-15,0-13 0,-26 27 0,13-14 16,-13 0-16,-13 14 0,-14-14 0,14 13 16,-27 1-16,-199 39 15,213-40-15,-1-12 0,14 12 16,-27 1-16,13-1 0,14-13 0,13 1 16,-13 12-16,12-13 15,1 0-15,13 1 0,14-1 0,-14 0 0,26 0 16,-12-13-16,25 0 0,-12 14 15,13-14-15,-27 13 16,27-13-16</inkml:trace>
  <inkml:trace contextRef="#ctx0" brushRef="#br0" timeOffset="1837.18">6985 5226 0,'-40'13'0,"27"0"15,-13 27 1,12-27-16,1 0 0,0 0 0,0 1 16,-1-1-16,14 0 0,-13 0 0,0 1 15,13-1-15,-13 0 16</inkml:trace>
  <inkml:trace contextRef="#ctx0" brushRef="#br0" timeOffset="1998.79">7144 5120 0,'0'26'15,"0"-13"-15,0-52 0,-13 92 0,-1-40 0,1 13 16,-40 27-16,40-26 16,-14-1-16,14 14 0,-13-14 0,13 1 15,-1-1-15</inkml:trace>
  <inkml:trace contextRef="#ctx0" brushRef="#br0" timeOffset="3956.96">5887 4167 0,'0'-26'15,"40"-40"1,-14 26-1,-26 27-15,13-14 0,1 14 16,-1 0-16,0-14 0,0 14 0,-13 0 16,13 0-16,1-14 15,-1 14-15,-13 0 16,13 13-16,-13-14 0,0 1 0,13 13 0,-13-13 16,14 0-1,-14 0 16</inkml:trace>
  <inkml:trace contextRef="#ctx0" brushRef="#br0" timeOffset="5345.97">6787 4101 0,'26'-26'16,"-26"12"-16,26-25 15,-26 25-15,14-12 16,-1 13-16,0 0 0,0-14 0,-13 14 16,14-14-16,-1 14 0,0-13 15,0 12-15,1 1 0,-1-13 16,-13 13-16,13-1 0,0 1 0,0 13 0,-13-13 16,14 0-16,-14-1 0,13 1 15,-13 0 1,13 13-16,-13-13 15,13-1 1,-13 1 15,14 13-15,-54 0 93,40 13-93,-13 1 0</inkml:trace>
</inkml:ink>
</file>

<file path=ppt/ink/ink21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24:43.396"/>
    </inkml:context>
    <inkml:brush xml:id="br0">
      <inkml:brushProperty name="width" value="0.05292" units="cm"/>
      <inkml:brushProperty name="height" value="0.05292" units="cm"/>
      <inkml:brushProperty name="color" value="#FF0000"/>
    </inkml:brush>
  </inkml:definitions>
  <inkml:trace contextRef="#ctx0" brushRef="#br0">7210 9948 0,'-13'14'16,"-1"-1"-16,1 0 0,13 0 15,-13 0-15,0 27 16,-14 0-16,14-27 15,0 14-15,0-14 0,13 0 16,-14 13-16,1-12 0,13-1 0,0 0 16,-13 0-1,26-39 1,0-1 0,-13 1-16,14 0 15,-1-14-15,0 27 0,-13-1 0,0 1 16,13 0-16,-13 0 0,0-1 15,-13 67 17,0-13-17,0-13 1,13-14-16,0 0 0,-14 0 16,14 0-16,0 1 0,-13-1 15,26-40 16,1 1-15,-1 13-16,0 0 0,-13-14 0,13 14 16,-13 0-16,14-1 0,-1-12 15,-13 52 17,0-12-32,-13 12 15,13-13 1,0 1-16,0 12 15,-14-26-15,14 13 16,14-52 15,-14 25-31,13 14 16,-13-13-16,0 0 16,0 0-1,0 26 16,0 0-15,-13-13-16,13 27 16,-14-14-1,14 0 1</inkml:trace>
  <inkml:trace contextRef="#ctx0" brushRef="#br0" timeOffset="3059.83">8017 13811 0,'-27'0'0,"27"27"15,0-14-15,-13 0 16,13 0-16,0 14 16,0-1-16,-13-12 0,13-1 0,0 13 15,0-13-15,0 1 0,0-1 0,0 0 16,0 0-16,0 1 0,0-1 16,0 0-16,13-39 31,0-41-16,-13 54-15,0 0 16,0-13-16,0 12 0,0 1 0,0 0 16,0 0-16,0-1 15,-13 41 17,13-14-32,0 0 0,-13 1 0,13-1 15,0 0-15,0 0 16,0 0-16,0 1 0,0-1 0,-13 0 15,26-39 17,-13 12-32,0 1 0,13-53 15,-13 53 1,0 0-16,0-1 0,0 1 16,0 0-16,0 0 0,0 52 46,0-25-46,0-1 0,0 0 0,0 0 16,0 1 0,0-1-1,0-40 32,-13 14-47,13 0 16,-13 0 31,0 13 1218</inkml:trace>
  <inkml:trace contextRef="#ctx0" brushRef="#br0" timeOffset="5488.91">14936 5741 0,'26'0'16,"27"-13"-1,-26 13-15,12-13 0,41 0 16,-54 13-1,14-13-15,-1 13 16,-25 0 0,-41 0 15,-12 13-31,-107 13 16,80-13-1,13 1-15,26-1 16,1-13-16,13 0 15,39 0 1,1 0-16,-14 0 16,27-13-1,-14 13-15,14-14 0,-1 1 16,-12 13-16,-14 0 0,14 0 16,-1-13-16,-13 13 15,14 0 1,-14 0-16,0 0 15,0-13 1,1 13 0,-1 0 31,0 0 15,-26-13 157,0-1-204,-40 1 1</inkml:trace>
  <inkml:trace contextRef="#ctx0" brushRef="#br0" timeOffset="7053.85">7210 9935 0,'-13'-26'15,"-1"26"-15,14 26 47,0 1-31,0-14-16,0 0 16,27 80-1,-14-80-15,-13 13 0,27 14 16,-27-14-16,26 27 15,-13 14-15,0-28 16,1-12-16,12 39 0,-13 13 16,1-39-16,-1 26 15,0-26-15,0 39 16,1-39-16,-14-1 0,13 1 16,0 66-16,0-53 15,-13-13-15,13 39 16,-13 0-16,0-39 15,14 0-15,-14 39 0,0-52 16,0 12-16,0-12 0,0 52 16,0-52-16,0-1 15,0 27-15,0-27 0,0-12 16,0-1-16,13 13 0,-13-12 16,0 12-16,0-13 15,0 0-15,0 1 16,0-1-16,0 0 31,0 0-15,0 1 31,0-1-16,13-13 47,-13 13-47,0-39 63,0 12-94,0 1 16,0-13-16,0 12 0</inkml:trace>
  <inkml:trace contextRef="#ctx0" brushRef="#br0" timeOffset="7682.67">7038 9604 0</inkml:trace>
  <inkml:trace contextRef="#ctx0" brushRef="#br0" timeOffset="9235.79">7144 9684 0,'0'26'16,"0"-13"-1,0 1 1</inkml:trace>
  <inkml:trace contextRef="#ctx0" brushRef="#br0" timeOffset="13089.59">15822 4524 0,'27'0'0,"-14"-13"0,0 13 15</inkml:trace>
  <inkml:trace contextRef="#ctx0" brushRef="#br0" timeOffset="19217.99">21021 4101 0,'27'-13'0,"-14"13"16,0 0-16,0 13 0,1 14 16,-28-14-1,14 0-15,-26 27 16,13-14-1,-14 1 1,27-14-16,-13-13 0,13 13 16,13 0-1,0-13 1,1 0-16,-1 13 16,13 1-1,-12-14-15,-1 13 0,-13 0 16,13 0-16,-13 1 15,-13-1-15,13 0 0,-13 0 16,-14 14-16,1-14 16,12 0-16,1 0 15,0-13-15,0 0 0,-1 14 0,1-14 16,0 0-16,0 0 16,0 0-16,-1 0 15</inkml:trace>
  <inkml:trace contextRef="#ctx0" brushRef="#br0" timeOffset="20369.98">21511 4128 0,'13'-14'15,"-40"14"17,1 14-17,13-14-15,-14 13 16,14-13-1,-13 13-15,26 0 16,-14-13-16,1 13 0,0 1 16,13-1-1,13 0 1,-13 0-16,13 1 0,1 12 31,12 0-31,-26-12 16,13-14-16,-13 13 0,0 0 0,0 0 15,0 1-15,0-1 16,-13 0-16,13 0 0,-26 1 16,12-1-16,14 0 0,-13-13 15,0 0 1,0-13 0,26-14-1,0 14-15,14-13 16,-27 12-16,13 1 15,0-13-15,0 26 0,0-14 16,-13 1-16,14 0 0,-14 0 16,0 0-16,0-1 0,0 1 15,0 0-15,-14 0 16,14-1-16,-13 14 0,13-13 16,-13 0-16,0 13 0,13-13 15,-13 13-15,-1-13 16,1 13-1,0 13 1,0 0-16,13 0 16</inkml:trace>
  <inkml:trace contextRef="#ctx0" brushRef="#br0" timeOffset="20709.77">21749 4299 0,'-13'0'15,"39"-13"-15,-13 13 0,0 0 0,1 0 16,-1 0-16,27-13 16,-1 13-16,-25-13 0,-1 13 15,0 0-15,0 0 0,0 0 16,-13-13-16,14 13 0</inkml:trace>
  <inkml:trace contextRef="#ctx0" brushRef="#br0" timeOffset="21367.56">22146 4035 0,'26'0'16,"-13"0"-16,-13 13 0,14-13 15,-14 13-15,13-13 0,-26 27 16,13-14-16,-14 0 16,14 1-16,-13-14 0,13 13 15,-13 0-15,13 0 16,-13-13-16,13 13 0,13 1 15,0-14 1,-13 13-16,13-13 0,1 0 16,-14 13-16,26 0 15,-13 1 1,-13-1-16,-13 0 16,0 0-16,-14 14 15,14-1 1,0-26-16,0 13 0,-1-13 0,1 14 15,0-14 17</inkml:trace>
  <inkml:trace contextRef="#ctx0" brushRef="#br0" timeOffset="21667.47">22529 4061 0,'13'0'0,"-39"14"15,13-1-15,-40 27 16,40-27-16,-14 13 16,14-13-16,0 1 15,13-1-15,-13 0 0,13 0 0,0 14 16,0-14-1,13 0-15,0-13 16,0 13-16,0-13 16,1 0-16,39-13 15,-14 13-15,-26-13 0,1 13 16,12-26-16,-13 26 0,1-14 16</inkml:trace>
  <inkml:trace contextRef="#ctx0" brushRef="#br0" timeOffset="21848.61">22622 4061 0,'0'0'16,"-27"27"0,14-1-16,0 14 0,0 26 31,-1-39-31,14-14 0,0 40 16,0-14-16,0 1 15,0-27-15,0 27 16,0-27-16,0 0 0,0 1 15,0-1-15,-13-13 0,13 13 0</inkml:trace>
  <inkml:trace contextRef="#ctx0" brushRef="#br0" timeOffset="22160">21259 4868 0,'133'-39'15,"-14"12"-15,-40 14 16,-13-14-16,93 1 15,-14 0-15,-78 12 0,65 1 16,-66 0-16,-26 13 0,13-13 16,-14 13-16,-12 0 0,12 0 15,-25 0-15,-1 0 0,0 13 16</inkml:trace>
  <inkml:trace contextRef="#ctx0" brushRef="#br0" timeOffset="22565.58">21921 4948 0,'26'0'15,"-13"0"-15,1 13 16,-14 13 0,-14-12-1,14-1-15,0 0 16,14-13-16,-14 13 15,0 1 1,0-1-16,0 0 0,-14 0 16,1 14-1,-26-14-15,25 0 0,1 0 16,0-13-16,0 14 0,-14-1 16,14-13-1,0 0-15</inkml:trace>
  <inkml:trace contextRef="#ctx0" brushRef="#br0" timeOffset="22870.53">22265 4908 0,'-40'40'15,"14"-14"1,12 1 0,1-14-16,13 0 15,0 0 1,0 1-16,27 12 16,-14-26-1,0 0-15,0 0 0,0 0 16,1-13-16,-1 13 0,13 0 15,-12-13-15,-1 13 0,13-27 16,-12 14-16,-14 0 16</inkml:trace>
  <inkml:trace contextRef="#ctx0" brushRef="#br0" timeOffset="23033.83">22251 4948 0,'-26'92'0,"26"-78"0,0 52 16,0-53 0,0 0-16,13 14 15,-13-14-15</inkml:trace>
  <inkml:trace contextRef="#ctx0" brushRef="#br0" timeOffset="23530.58">20809 3995 0,'-26'133'15,"13"-94"-15,13 14 0,0-13 16,0 13-16,39 145 15,-25-158-15,12 0 16,1-1-16,-14-12 0,13-1 16,54 14-16,131-27 15</inkml:trace>
  <inkml:trace contextRef="#ctx0" brushRef="#br0" timeOffset="23972.91">22595 3810 0,'40'40'0,"-40"-27"16,13 0-16,1 14 0,-1-1 0,13 53 16,-13-52-1,1 52-15,-14-52 0,0-1 16,0 27-16,0-13 16,0-14-16,-14-13 0,14 1 15,0-1-15,-13 13 0,0-12 16,0-1-1,0-26-15</inkml:trace>
  <inkml:trace contextRef="#ctx0" brushRef="#br0" timeOffset="24275.75">22900 3810 0,'26'26'0,"-26"-12"16,0-1-16,0 0 0,-13 0 15,13 14-15,-13-1 0,-1 1 0,14-1 16,-26 40 0,26-52-16,-13-1 15,13 13-15,26-12 16,-13-14-1,54 0 1,-41 0 0,14 0-16,39 13 31</inkml:trace>
  <inkml:trace contextRef="#ctx0" brushRef="#br0" timeOffset="24550.73">23693 4326 0,'0'198'31,"0"-131"-31,0-41 16,0-13-16,-13 0 16</inkml:trace>
  <inkml:trace contextRef="#ctx0" brushRef="#br0" timeOffset="24732.78">23561 4564 0,'278'-26'31,"-225"12"-31,-27 14 16</inkml:trace>
  <inkml:trace contextRef="#ctx0" brushRef="#br0" timeOffset="26563.56">20055 5940 0,'40'53'16,"-40"-40"-1,-13 0-15,13 0 16,-27 27 0,41-27-1,-1 1 1,13 12 15,-26-13-31,0 1 16,-39 25-1,25-12 1,1-27 0,0 0-16</inkml:trace>
  <inkml:trace contextRef="#ctx0" brushRef="#br0" timeOffset="26873.62">20201 6006 0,'-13'26'32,"-1"-12"-32,41-54 0,-54 106 15,67 0 16,-13-66-31,-14 0 16,27-39 31,-80-14-16,27 53-15,-1 0-1,1 0-15</inkml:trace>
  <inkml:trace contextRef="#ctx0" brushRef="#br0" timeOffset="27017.78">20479 6019 0,'39'-13'0,"-25"13"0,12 0 31</inkml:trace>
  <inkml:trace contextRef="#ctx0" brushRef="#br0" timeOffset="27379.94">20757 5874 0,'13'26'16,"-26"-26"-16,-1 27 15,14-14-15,-13 0 0,13 0 16,0 1-16,13-14 16,1 13-1,-1 0-15,-13 0 16,13 0-16,0-13 16,-13 14-1,0-1-15,0 0 0,-13 0 16,0 1-16,0-1 15,-1 0-15,14 0 16,-13 1-16,0-14 16</inkml:trace>
  <inkml:trace contextRef="#ctx0" brushRef="#br0" timeOffset="27667.05">20968 5887 0,'0'0'31,"-26"26"-31,26-12 0,-13-14 16,13 13-16,-14 0 0,14 0 15,0 1 1,0-1-16,0 0 15,14 0-15,-1-13 16,0 0-16,13 0 16,-12 0-16,-1 0 15,13-13-15,-12-13 16</inkml:trace>
  <inkml:trace contextRef="#ctx0" brushRef="#br0" timeOffset="27835.44">21061 5834 0,'-13'0'0,"-1"27"16,1-14 0,13 0-16,-13 13 0,13 14 15,0-27-15,0 27 16,13 13 0,0-13-1,-13-27-15,0 13 16,-13-12-16</inkml:trace>
  <inkml:trace contextRef="#ctx0" brushRef="#br0" timeOffset="28189.5">19857 5913 0,'-26'212'16,"39"-185"-1,-13-1-15,13 0 0,27 27 0,13-13 16,-14-27 0,1 1-16,-14-14 0,27 0 15,40-14-15</inkml:trace>
  <inkml:trace contextRef="#ctx0" brushRef="#br0" timeOffset="28501.51">21272 5675 0,'14'14'0,"12"12"15,-13-13 1,14 40-16,-1-13 16,-26 0-16,0-1 15,-13 41 1,13-54-1,-13-13-15,13 0 0,0 1 16,-13-14-16</inkml:trace>
  <inkml:trace contextRef="#ctx0" brushRef="#br0" timeOffset="28835.85">21471 5530 0,'40'13'15,"-14"0"-15,-92-39 0,132 65 16,-66-25 0,0 12-16,-13 14 15,-14 0-15,27-27 0,-13 13 16,0-13-16,13 1 15,-13-1-15,26 0 16,0-13-16,14 0 16,-14 0-1,0-13-15,14 13 0,-1 0 0,-13 0 16,0-13-16,14 13 0,-14 0 16,0 13-1,-13 0-15,0 0 16</inkml:trace>
  <inkml:trace contextRef="#ctx0" brushRef="#br0" timeOffset="29129.8">19936 6707 0,'252'-106'15,"26"14"1,-67 39-16,-92 26 16,-13 1-16,79-27 15,-13 27-15,-106 12 16,53-12-16,-39 13 15,-54 13-15,14 0 16</inkml:trace>
  <inkml:trace contextRef="#ctx0" brushRef="#br0" timeOffset="29533.91">20849 6668 0,'40'0'0,"-27"13"16,-26 0-1,13 0-15,0 0 0,0 27 32,0-27-32,13-13 15,-13 14-15,0-1 16,0 0-16,-13 13 15,13-12 1,-13-14-16,-1 13 0,1-13 16,0 26-16,0-26 15</inkml:trace>
  <inkml:trace contextRef="#ctx0" brushRef="#br0" timeOffset="29803.19">21233 6628 0,'-27'26'32,"14"1"-32,0-27 15,0 13-15,-1 0 0,1 0 0,13 1 16,0-1-1,0 0-15,0 0 16,13-13-16,1 0 16,-1 0-16,0 0 0,14 0 15,-14-13-15,0 13 0,27-13 16,-27-14-16,0 14 16,0 0-16</inkml:trace>
  <inkml:trace contextRef="#ctx0" brushRef="#br0" timeOffset="29977.84">21352 6575 0,'-27'53'31,"27"-13"-31,0-14 16,14-13-16,-14 14 0,0-14 16,13 40-16,-13-40 15,13 0-15,-13 0 0,13 14 16,1-27-16,-1 0 15,-66-291-15,119 582 0,-53-291 0,0 0 0</inkml:trace>
  <inkml:trace contextRef="#ctx0" brushRef="#br0" timeOffset="30322.27">22185 6032 0,'0'67'15,"0"-54"-15,0 13 0,14-12 16,-14 25-16,0-26 0,0 1 16,0 12-16,0-13 15,0 27-15,0-27 16</inkml:trace>
  <inkml:trace contextRef="#ctx0" brushRef="#br0" timeOffset="30504.86">22053 6218 0,'26'-14'0,"-26"1"16,14 13-16,-1 0 0,27-13 15,39-13 1,-53 26-16,-12-14 16,12 14-16</inkml:trace>
  <inkml:trace contextRef="#ctx0" brushRef="#br0" timeOffset="31581.07">22569 6032 0,'0'27'16,"-27"-1"-16,14 1 16,0-14-16,0 0 0,0 1 15,-1 25-15,1-26 0,0 27 16,0-40-16,13 13 15,0 1-15,0-1 16,13 0-16,0-13 16,27 0-1,-14 0-15,1 0 16,-1 0-16,14-13 0,0 13 16,-27-13-16,0 13 0,0 0 15,0-14-15,1 14 0,-1-13 16</inkml:trace>
  <inkml:trace contextRef="#ctx0" brushRef="#br0" timeOffset="31801.97">22648 6046 0,'0'13'15,"-13"0"-15,13 0 0,-13 1 16,13-1-16,0 0 0,0 14 15,0 39-15,0-27 16,-13 1 0,13-13-16,0-14 0,0 0 15,-14 13-15,14-12 0,0-1 0,0 0 16,0 0 0,0 1-16</inkml:trace>
  <inkml:trace contextRef="#ctx0" brushRef="#br0" timeOffset="32109.7">22860 6006 0,'-53'66'15,"53"-26"1,-13-27-16,13 0 0,0 1 15,13-1-15,-13 0 0,13 13 16,1-12-16,-14-1 0,13-13 16,0 13-16,0 0 0,-13-39 47,-13 26-32,13-13-15,-13 13 16,-14-14-1</inkml:trace>
  <inkml:trace contextRef="#ctx0" brushRef="#br0" timeOffset="32295.75">23072 6006 0,'13'53'0,"-13"-40"16,13 0-16,-13 1 0,0 12 15,0 1-15,0-14 16,0 0-16,0 0 0</inkml:trace>
  <inkml:trace contextRef="#ctx0" brushRef="#br0" timeOffset="32475.9">23032 6191 0,'0'-13'16,"13"0"-16,0 13 16,1 0-16,-1-13 15,27-1-15,-14 14 16,-13-13-16,14 13 0,-14-13 0,13 13 15,-12 0-15,25-13 16</inkml:trace>
  <inkml:trace contextRef="#ctx0" brushRef="#br0" timeOffset="32880.43">23416 5953 0,'13'-13'0,"0"13"15,0 0-15,1 13 16,-14 0-16,13 1 15,-13-1 1,0 0-16,0 0 16,0 0-16,0 1 15,0-1-15,13-13 0,-13 13 0,13 0 16,-13 1-16,0-1 16,0 13-1,-13-12-15,13-1 16,-13-13-16,13 13 0,-13 0 15,-1-13-15,14 13 0,-13-13 16</inkml:trace>
  <inkml:trace contextRef="#ctx0" brushRef="#br0" timeOffset="33592.6">23760 5953 0,'13'13'47,"-26"1"-31,13-1 0,-14-13-1,14 13-15,-13 0 31,13 0 32,-13-13 374,0 14-437</inkml:trace>
  <inkml:trace contextRef="#ctx0" brushRef="#br0" timeOffset="34758.04">23032 6112 0,'13'-13'0,"0"13"15,1 0-15,-1-14 0,0 14 16,14-13-16,-14 13 16,0 0-1,0-13-15,-39 26 31,-1 0-15,-12 1 0,25-14-1,14 13 1,14-13 0,-1 0-1,0 0-15,0 0 0,1-13 0,12 13 16,-13 13-1,-39 0 1,-14 0 0,27 1-16,0-14 15,-1 13-15,-12 0 16,13-13-16,0 13 0,26-13 47,40-13-32,-40 13-15,0-13 0,0 13 16,1 0-16,-1 0 0,0-13 16,14 13-1</inkml:trace>
  <inkml:trace contextRef="#ctx0" brushRef="#br0" timeOffset="35261.72">22371 5980 0,'-27'39'0,"14"239"31,26-238-31,0-14 15,14 1-15,-1-14 0,40 27 16,-13-27 0,-13-13-16,0 0 0,13-13 0,-14 13 15</inkml:trace>
  <inkml:trace contextRef="#ctx0" brushRef="#br0" timeOffset="35696.33">23601 5834 0,'40'53'0,"-40"-40"0,26 40 16,-26-26-16,0 12 16,0-26-16,0 14 15,-13-14-15,0 14 0,13-1 0,-14-13 16,1 14-16,0-14 0,0 0 16,-14 14-16,14-14 0,0-13 15,-1 0-15,1 0 0</inkml:trace>
  <inkml:trace contextRef="#ctx0" brushRef="#br0" timeOffset="36086.08">23693 5596 0,'40'26'0,"-40"-12"0,-13 52 31,13-53-31,-13 27 0,-1-14 0,1-13 15,0 14-15,13-14 0,-13 0 0,13 1 16,0-1-16,0 0 0,0 0 16,0 0-16,13-13 0,0 0 15,14 0 1,12 0-16,-25 0 0,-1 0 16,0 0-16,0 0 0,0 0 0,1 0 15,-1 0-15,0 14 0,0-1 16</inkml:trace>
  <inkml:trace contextRef="#ctx0" brushRef="#br0" timeOffset="36409.36">22701 6628 0,'80'-40'15,"-41"27"-15,1 0 0,13-14 0,13 14 16,53-13-16,0-14 15,-53 27-15,-13-1 0,0 14 16,40-26-16,-40 26 0,26-13 16,-39-1-1,-27 14-15,0 14 0,0-14 16</inkml:trace>
  <inkml:trace contextRef="#ctx0" brushRef="#br0" timeOffset="36856.79">23085 6773 0,'13'0'0,"0"0"0,1 0 16,-14 14-16,-27 25 31,14-26-31,13 1 0,-13-14 16,-1 26-1,14-13-15,14-13 16,-14 14-16,13-1 16,-13 0-1,13 0-15,-13 1 16,0-1-16,0 0 0,-13-13 16,13 13-16,-27 14 15,14-14-15,0-13 16,13-27-1</inkml:trace>
  <inkml:trace contextRef="#ctx0" brushRef="#br0" timeOffset="37095.83">23323 6760 0,'13'0'16,"-52"40"-1,39-27 1,-14 0-16,14 0 0,-13-13 0,0 27 16,13-1-1,0-12 1,0-1-16,13-13 0,-13 13 16,13-13-16,14 0 15,-14 0 1,0 0-16,0-13 0,1 13 0,-14-13 15,13 13-15,-13-14 0</inkml:trace>
  <inkml:trace contextRef="#ctx0" brushRef="#br0" timeOffset="37269.9">23376 6853 0,'0'106'31,"0"-93"-31,26 13 16,-12-13-16,25-26 15</inkml:trace>
  <inkml:trace contextRef="#ctx0" brushRef="#br0" timeOffset="37683.47">24355 6218 0,'0'39'32,"0"-12"-32,13 13 15,-13-1-15,0-26 0,13 1 16,-13 39 0,0-40-16,0 0 15</inkml:trace>
  <inkml:trace contextRef="#ctx0" brushRef="#br0" timeOffset="37859.58">24289 6363 0,'159'-26'0,"-107"13"16</inkml:trace>
  <inkml:trace contextRef="#ctx0" brushRef="#br0" timeOffset="40059.72">23310 7818 0,'-13'40'31,"-1"-40"-31,14 13 0,-13 1 16,13-1-16,-13-13 0,13 13 0,0 0 15,-13 1-15,13-1 0,0 0 16,0 0-16,0 0 15,0 1-15,13-1 16,13 0-16,-12 0 16,-1-13-16,0 0 15,0 0-15,0 0 0,1 0 16,-1 0-16,13 0 0,-12 0 16,-1-13-16</inkml:trace>
  <inkml:trace contextRef="#ctx0" brushRef="#br0" timeOffset="40273.6">23349 7845 0,'-39'66'0,"26"-53"0,13 1 16,0-1-16,0 0 0,0 0 0,-14 14 15,14-14-15,0 0 0,0 0 16,0 27 0,-13-27-16,13 0 0,13 1 15</inkml:trace>
  <inkml:trace contextRef="#ctx0" brushRef="#br0" timeOffset="40574.51">23654 7885 0,'-27'13'0,"1"13"15,13-12 1,-1-1-16,14 0 15,-13 0-15,13 14 16,0-14-16,13 0 16,-13 0-16,14-13 15,-14 14-15,13-14 16,0 0-16,0 13 0,14-26 16,-14 13-1,0 0-15,-13-14 0,13 14 16</inkml:trace>
  <inkml:trace contextRef="#ctx0" brushRef="#br0" timeOffset="40776.37">23693 7911 0,'-13'13'0,"0"1"0,13-1 15,0 0-15,-13 0 0,13 0 16,0 14-16,0-1 15,13-12-15,-13 12 16,0-13-16,13 14 0,-13-14 16,13-13-16,-13 13 15,14-13-15</inkml:trace>
  <inkml:trace contextRef="#ctx0" brushRef="#br0" timeOffset="40957.47">23918 8004 0,'40'-14'0,"-27"1"15,0 13 1,1-13-16</inkml:trace>
  <inkml:trace contextRef="#ctx0" brushRef="#br0" timeOffset="41432.44">24183 7845 0,'40'13'0,"-40"0"15,0 1-15,0 78 63,13-65-48,-13-14 1,0 0 0,-13 14-16,-1-27 15,14 13 1,-13-13-16</inkml:trace>
  <inkml:trace contextRef="#ctx0" brushRef="#br0" timeOffset="41700.54">24514 7911 0,'-27'13'15,"-12"14"16,39-14-31,-14-13 0,14 13 0,-13-13 16,13 13-16,-13 1 16,26-1-1,-13 0-15,13-13 16,1 13 0,-1-13-16,0-13 0,0 13 15</inkml:trace>
  <inkml:trace contextRef="#ctx0" brushRef="#br0" timeOffset="41868.22">24540 7951 0,'-26'79'15,"12"-66"-15,14 14 16,0-14-16,0 13 15,0 1-15,0-14 0</inkml:trace>
  <inkml:trace contextRef="#ctx0" brushRef="#br0" timeOffset="42432.96">23058 7858 0,'-39'132'15,"39"-105"-15,0-1 16,13 1-16,-13-1 0,13 14 0,27 13 16,-14-27-16,54 27 15,-41-53-15,41 13 16,-27-13-16,0-13 16,0 13-16,13-13 0,66-27 0</inkml:trace>
  <inkml:trace contextRef="#ctx0" brushRef="#br0" timeOffset="42921.18">24646 7673 0,'13'40'0,"0"-14"15,-13 1-15,0 39 16,0-53-16,0 40 15,-13-27-15,13 1 0,-13-14 16,0 13-16,13-12 0,-14-1 0,14 0 16,-13 0-16,0 1 0,0-1 15,0-13 1</inkml:trace>
  <inkml:trace contextRef="#ctx0" brushRef="#br0" timeOffset="43235.89">24805 7554 0,'13'53'31,"-26"-40"-31,13 0 0,-14 0 0,1 1 16,13-1-16,0 0 0,-13 0 15,13 1-15,0-1 16,0 13-16,13-26 0,-13 14 0,13-14 16,1 0-16,-1 13 0,13-13 15,-12 0-15,12 0 0,-13 0 16,1 0-16,12 13 15,14-13-15,-27 13 16</inkml:trace>
  <inkml:trace contextRef="#ctx0" brushRef="#br0" timeOffset="43587.55">23191 8572 0,'185'-39'0,"119"-14"16,-224 40 0,78-27-16,1 14 15,79-27-15,-172 39 16,14 1-16,-14 0 0,-13 13 16,39-27-16,-12 27 15,-41-13-15,-25 26 16,-1-13-16</inkml:trace>
  <inkml:trace contextRef="#ctx0" brushRef="#br0" timeOffset="44111.5">23773 8850 0,'39'14'15,"-39"12"1,-13 0-1,0-12-15,13-1 0,13 13 16,-13-12 0,13-14-16,-13 13 15,14-13-15,-14 13 0,13 0 16,-13 1-16,-13-1 0,13 0 16,-14-13-16,14 13 15,-13 0-15,0-13 0,13 14 0,-26-1 16,12-13-16</inkml:trace>
  <inkml:trace contextRef="#ctx0" brushRef="#br0" timeOffset="44400.5">24064 8877 0,'-13'13'16,"-1"0"-16,1 0 0,0 1 15,-14 12-15,1 1 32,26-14-32,-13 0 0,13 0 15,0 1 1,26-1-1,-13-13-15,1 0 16,-1 0-16,0 0 16,40-27-1,-40 27-15,-13-13 0,14 13 16,-14-13-16</inkml:trace>
  <inkml:trace contextRef="#ctx0" brushRef="#br0" timeOffset="44572.5">24130 8943 0,'-40'66'32,"40"-53"-32,0 14 0,-13-1 15,13-13-15,0 1 0,0 25 16,13-12-16,-13-14 0,0 0 16,0 14-16,0-14 15,0 0-15,-13 0 0</inkml:trace>
  <inkml:trace contextRef="#ctx0" brushRef="#br0" timeOffset="44824.77">23389 9538 0,'27'-13'0,"-1"13"0,1-13 0,105-14 32,-13 1-32,-66 13 0,0-1 15,0 1-15,0 13 0,-14-13 0,14 0 16,-13-1-16,0 14 0,26-26 16,-53 26-1,0-13-15</inkml:trace>
  <inkml:trace contextRef="#ctx0" brushRef="#br0" timeOffset="44996.88">23746 9512 0,'-39'26'0,"12"1"16,14-27-16,13 13 0,13 0 16,27-13-1,-14-13 1,14 0-16,0-1 0,-1 1 0,67-26 15,-53 12-15,0 1 0,-13-1 16,66-39-16,-67 26 16,14 1-16</inkml:trace>
  <inkml:trace contextRef="#ctx0" brushRef="#br0" timeOffset="46398.03">17873 7885 0,'132'-27'0,"-92"27"0,13-13 16,92 0-16,-105-1 15,13 14-15,-14 0 16,27-13-16,-39 13 0,-14 0 0,0 0 16,1 0-16,-1 0 0</inkml:trace>
  <inkml:trace contextRef="#ctx0" brushRef="#br0" timeOffset="47263.45">17515 8017 0,'27'0'0,"-1"0"0,1 0 15,26-13-15,145-1 16,-132 14-16,14-13 0,-1 0 16,80 0-16,-80 0 15,1-1-15,-1 1 0,-13 0 0,66 0 16,-66-1-16,-13 1 15,-13 0-15,13 13 0,13-13 16,-53-1-16,14 14 0,26-13 16,-40 13-16,0-13 15,0 13-15,1-13 0,-1 13 16,0-13-16,0 13 0,-13-14 16,14 1-16,12-13 0,-13 12 15,1 1-15,-1-13 0,0-1 16,13-52-16,-12 39 0,-14 0 0,26-105 15,-26 52 1,-13 27-16,13 0 0,0 13 16,-13 0-16,-1 0 0,14 14 15,-26-41-15,13 54 16,0-14-16,-14 0 0,27 27 16,-13 0-16,0 0 0,13 0 0,0-1 15,-14 14-15,14-13 0,-13 13 16,0-13-1,0 13-15,-1 0 0,1 0 16,0 0-16,0 13 16,-27-13-16,0 0 0,1 13 15,-1-13-15,-13 0 0,-13 14 16,0-14-16,-14 0 0,-92 0 16,-13 13-16,0-13 15,79 0-15,14 0 0,-14 0 16,13 0-16,-13 0 0,14 0 15,-1 13-15,14-13 0,-1 0 0,-39 13 16,66-13-16,27 0 0,-1 13 16,1-13-16,13 0 0,0 0 15,-1 14-15,1-14 0,0 26 16,13-13-16,0 1 16,0 12-16,0-13 15,13 14-15,-13 26 0,-13 105 31,13-91-31,-13-1 0,-14 66 16,14-53-16,0-13 0,0 14 0,-1-14 16,1 13-16,0-26 0,13 13 0,-13 40 15,13-13 1,0-67-16,0 1 0,13 26 16,-13-27-16,13 1 0,0-14 15,1 0-15,25 14 0,-12-27 16,52-14-16,0 14 0,67-26 15,-67-1-15,1 14 16,317-53 0,-305 40-16,27 12 0,-39 1 15</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0.685"/>
    </inkml:context>
    <inkml:brush xml:id="br0">
      <inkml:brushProperty name="width" value="0.025" units="cm"/>
      <inkml:brushProperty name="height" value="0.025" units="cm"/>
      <inkml:brushProperty name="ignorePressure" value="1"/>
    </inkml:brush>
  </inkml:definitions>
  <inkml:trace contextRef="#ctx0" brushRef="#br0">86 0,'-3'7,"-1"5,-4 4,0 2,-2 2,1 1,-2-4,2-1,2 0,-2-2,2-5</inkml:trace>
</inkml:ink>
</file>

<file path=ppt/ink/ink22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26:05.442"/>
    </inkml:context>
    <inkml:brush xml:id="br0">
      <inkml:brushProperty name="width" value="0.05292" units="cm"/>
      <inkml:brushProperty name="height" value="0.05292" units="cm"/>
      <inkml:brushProperty name="color" value="#0070C0"/>
    </inkml:brush>
  </inkml:definitions>
  <inkml:trace contextRef="#ctx0" brushRef="#br0">1931 4802 0,'27'0'15,"-14"0"-15,40 0 16,-26 0-16,-1 0 16,0 0-16,1 0 0,13 0 0,-14 13 0,27-13 15,-13 0-15,13 0 0,66 0 16,-66 0-1,-14 0-15,1 0 0,0 0 0,-1 0 0,1 0 16,0 0-16,-1 0 16,1 0-16,-13 0 0,-1-13 0,0 13 15,1 0-15,26 0 16,-40 0-16,0 0 0,14-13 16,-14 13-16,13 0 15,-12 0 1,-1-13-1,0-1 1,-13 1-16,0 0 16,0 0-16,0 0 0,0-1 15,0 1-15,0-13 0,0 12 0,0-12 16,-13 0-16,13-1 0,0 1 16,-13-1-16,13 1 0,-14-1 0,14-12 15,-13 25-15,13-12 0,0 13 0,0-14 16,-13 14-16,13 0 0,0-1 15,-13 1-15,13 0 0,0 0 0,-14 13 16,14-13-16,-13-1 16,13 1-16,-13 0 15,0 0 1,-27 13 0,27 0-1,0 0-15,-1-14 16,1 14-16,0 0 0,-13 0 0,-1 0 0,-13-13 15,14 13-15,-14 0 0,14 0 16,-1-13-16,-39 13 16,-40-13-1,53 13-15,0 0 0,1 0 0,-1 0 0,0 0 16,0 0-16,0 13 0,0-13 16,0 0-16,13 13 0,-13-13 0,14 13 15,-54 1-15,67-14 16,-14 0-16,14 13 0,-1-13 0,1 0 0,-1 13 15,14-13-15,-13 0 16,-1 13-16,14-13 16,0 0-16,13 14 0,-14-14 15,41 13-15,-14 0 16,40 0 0,-27-13-16</inkml:trace>
  <inkml:trace contextRef="#ctx0" brushRef="#br0" timeOffset="1293.88">3770 4815 0,'-13'0'0,"132"-26"15,-79 26-15,66 0 16,-40-13-16,66 13 0,-66 0 15,0 0-15,-13 0 0,13 0 16,-13-14-16,0 14 0,13 0 16,27 0-16,-53-13 15,-1 13-15,-12 0 0,-1 0 0,1 0 0,-14 0 16,13-13-16,-12 13 0,-1 0 16,0 0-16,0 0 0,1-13 0,-1 13 15,0-13-15,0-1 16,1-12-1,-14-1-15,0 14 16,0 0-16,0 0 0,0-14 0,0 14 16,0-13-16,-14-1 0,14 14 15,-13-14-15,0-25 16,13-1-16,0 26 0,0-13 16,0 14-16,0 0 0,0-1 0,0 1 15,0-14-15,0 14 0,0-27 16,0 39-16,0-12 0,0 13 15,0-1-15,0 1 0,0 0 0,0 0 16,0-14 0,-13 1-1,-14 13 1,14 13-16,0-14 0,-1 14 16,1 0-16,0 0 0,-13 0 0,-1 0 15,1 0-15,-1 0 0,-13 0 16,-12 0-16,12 0 0,-13 0 0,0 0 15,-40 0-15,41 14 16,-41-14-16,53 0 0,1 0 16,-1 0-16,0 0 0,1 13 15,12-13-15,-13 0 0,-13 0 16,14 0-16,12 13 0,1-13 0,13 0 16,-14 0-16,14 0 0,0 0 15,-14 13-15,14-13 0,0 0 16,0 0-16,-1 0 0,1 0 0,-13 14 15,12-14-15,1 0 16,0 0 0,0 0-16,-1 0 15,1 13 17,0-13-17,0-13 1,0 26 15,13 40-15,-14-40-1,14 13-15,0 1 0,-13 52 16,13-39-16,-13 0 0,13-1 16,-13 1-16,13 39 0,0 40 15,0-79 1,0 0-16,13-1 0,-13 1 0,13 0 15</inkml:trace>
  <inkml:trace contextRef="#ctx0" brushRef="#br0" timeOffset="2226.14">15346 7170 0,'13'-26'0,"0"52"16,-13 106 0,0-52-16,0-1 15,0 40-15,0 0 0,0 172 16,0-145-16,0 13 0,14-1 0,-1 1 16,26 344-16,-25-331 15,12-13-15,1 13 16,-1-27-16,1 1 0,-1-14 0,0 0 0,1-13 15,-1 0-15,-12-13 0,-1-26 0,0-14 16,0 0-16,0 0 0,-13-13 16,14-13-16,-14-14 0,-14 1 0,14-14 15,-13 13-15</inkml:trace>
  <inkml:trace contextRef="#ctx0" brushRef="#br0" timeOffset="2608.16">13758 10054 0,'199'-13'0,"-107"13"0,-12-13 16,26 13-16,26-14 0,0 1 0,14-13 15,12 13-15,-12-1 0,26-12 16,13 13-16,0-14 0,67 1 0,-1-1 16,0 1-16,27 13 0,-13-14 0,-1 1 15,1 12-15,13 1 0,198-13 16,0-1-16,-264 27 15,0-13-15,-14 13 0,-13-13 16,0 13-16,-13 0 0,-26 0 0,-1 0 16,-39 0-16,-13-13 0,-14 13 15,-13 0-15,-26 0 0,-27 0 0,14 0 16,-27-14-16</inkml:trace>
  <inkml:trace contextRef="#ctx0" brushRef="#br0" timeOffset="3703.88">15610 9525 0,'27'13'0,"13"-26"15,-1 0-15,-26 13 16,27-27-16,-13 14 0,-1 0 0,14 0 16,13-27-16,-14 13 15,14-12-15,-13 26 0,-14-14 16,27-26-16,-26 40 16,-1-13-16,27-27 0,-26 26 15,-14-13-15,13 14 0,-12 0 16,12-14-16,-13 0 0,14 14 0,-1-27 15,-13 13-15,40-53 0,-13 1 16,-27 39-16,14 0 0,-14 0 16,27-39-16,-14 52 15,1-13-15,12-13 16,-12 26-16,-1 0 0,14 1 0,-14-1 16,14 0-16,0 1 0,-1-1 15,14 14-15,-13-14 0,0 0 0,13 14 16,52-27-16,-65 26 0,13 1 0,79-27 31,-52 26-31,-41 27 0,1-13 16,-14 13-16,27 0 0,-26 0 15,-1 13-15,1-13 0,12 14 16,-12-1-16,66 53 16,-41-13-16,-12-13 0,-13-1 15,12-12-15,1 13 16,0-1-16,-1 1 0,1 0 0,92 92 15,-92-92-15,13 12 16,0-12-16,-13 13 0,12-13 0,1-1 16,13 1-16,-13 13 0,80 40 15,-1-27-15,-79-27 16,13 1-16,0 0 0,0-14 16,53 54-16,-52-54 0,-1 1 15,0-1-15,-13 1 0,13-1 0,-13-13 16,0 0-16,-14 1 0,1-1 15,0 0-15,-14-13 0,1 0 0,-1 13 16,14-13-16,-27-13 16</inkml:trace>
  <inkml:trace contextRef="#ctx0" brushRef="#br0" timeOffset="4206.92">19076 8705 0,'0'106'16,"0"-67"-16,0 14 15,0 0-15,0 13 0,14 0 0,-14 1 16,0 65-16,0-66 0,0 0 15,13-13-15,-13 0 0,13-13 16,-13-1-16,13 14 0,1-26 0,-14 12 16,13-12-16,-13-1 0</inkml:trace>
  <inkml:trace contextRef="#ctx0" brushRef="#br0" timeOffset="5426.04">18957 10094 0,'14'26'0,"-14"-12"16,0-1-16,0 0 0,0 0 16,0 0-16,0 27 15,0-27-15,0 1 0,0 12 16,0-13-16,0 1 0,0-1 0,-14 0 15,14 0-15</inkml:trace>
  <inkml:trace contextRef="#ctx0" brushRef="#br0" timeOffset="5754.18">19288 10107 0,'-40'13'16,"27"1"-16,-13 12 0,13-26 16,-1 13-16,14 0 0,0 1 15,14-14-15,-14 13 16,13 0-16,0 0 0,0 1 15,0-1-15,-13 0 16,14 0-16,-14 1 0,-14-1 16,14 0-1,-13 13-15,0-26 0,0 14 16,0-14-16,13 13 16,-14-13-16,1 0 0</inkml:trace>
  <inkml:trace contextRef="#ctx0" brushRef="#br0" timeOffset="5907.18">19381 10186 0</inkml:trace>
  <inkml:trace contextRef="#ctx0" brushRef="#br0" timeOffset="6269.07">19553 10067 0,'-27'40'0,"27"-27"16,-13 1-16,13-1 0,13 0 16,-13 0-16,13 0 15,1 1-15,-1-14 16,0 0-16,0 0 15,1 0-15,-1-27 16,-13 14 0,-27-27-1,14 27 1,13 0-16,-13 13 16,0-13-16,-1 13 15</inkml:trace>
  <inkml:trace contextRef="#ctx0" brushRef="#br0" timeOffset="6580.82">19698 10067 0,'13'53'15,"-13"-39"-15,0 12 16,0-13-16,0 0 15,27-13 17,-27-13-32,13 0 0,0-13 15,1 12 1,-14 1-16,0 0 0,0 0 16,0-1-16,-14 14 0,14-13 15,-13 0-15,0 0 16,0 13 15,-1 13-15,1-13-16</inkml:trace>
  <inkml:trace contextRef="#ctx0" brushRef="#br0" timeOffset="7430.32">19883 10001 0,'-13'13'15,"0"1"-15,0 12 16,0 1-16,13-14 0,-14 0 15,14 14-15,0-14 0,0 0 16,0 0-16,14 14 16,-1-27-16,-13 13 0,13-13 15,0 0 1,0-27 0,-26 27-1,0-13-15,-27 0 16,27 13-1,0 0-15</inkml:trace>
  <inkml:trace contextRef="#ctx0" brushRef="#br0" timeOffset="9439.03">20452 9565 0,'-13'26'16,"13"-13"-16,0 40 15,0-26-15,0-14 0,13 13 16,-13 1-16,0 13 0,0-27 16,14 13-16,-14-13 15,0 1-15,0-1 0,0 0 0,13 0 16,-13 1-16,-13-67 31,13 39-15,-27-78-1,1-1 1,26 80-16,0-13 0,-14 12 0,14 1 0,0 0 16,-13 13-16,13 13 31,0 0-31,0 27 0,0-13 16,0 25-16,13-12 0,1 39 15,-14-65 1,13 12-16,-13-13 0,0 1 0,13-1 15,-13 0-15,0 0 0,13 1 16,-26-54 15,-13-26-15,26 39-16,-14 1 0,14-1 0,-13 1 16,0-1-16,13 14 0,0-13 15,-13 13-15,13-1 0,0 1 0,0 0 16,26 39 15,-13-26-31,1 14 0</inkml:trace>
  <inkml:trace contextRef="#ctx0" brushRef="#br0" timeOffset="10108.08">20505 10279 0,'0'27'16,"0"-14"-16,0 13 0,0-13 15,0 1-15,0 12 16,0-13-16,0 27 0,0-27 16,-13 14-16,13-14 0,0 0 15,0 0-15,0 1 0,0-1 16</inkml:trace>
  <inkml:trace contextRef="#ctx0" brushRef="#br0" timeOffset="10480.08">20770 10319 0,'0'-13'0,"-40"26"16,27 0-1,-14 0-15,14-13 0,0 13 16,13 1-16,-13-14 0,13 13 16,0 0-1,13 0-15,0-13 16,0 14-16,-13-1 0,14-13 16,-1 0-16,-13 13 0,13 0 15,0-13-15,1 14 0,-14-1 16,-14 0-1,14 0 1,-13 0-16,0-13 0,0 14 16,-1-1-16,1-13 15</inkml:trace>
  <inkml:trace contextRef="#ctx0" brushRef="#br0" timeOffset="10618.12">20823 10464 0,'13'-13'0,"-13"0"31</inkml:trace>
  <inkml:trace contextRef="#ctx0" brushRef="#br0" timeOffset="10907.99">21034 10292 0,'-39'0'16,"25"14"-16,-12 12 31,13-26-31,13 13 16,13 0-1,13 1 17,-12-1-32,-1 0 15,-13 0 1,0 1-16,0-1 0,0 0 31,0 0-31,0 1 0,0-1 16</inkml:trace>
  <inkml:trace contextRef="#ctx0" brushRef="#br0" timeOffset="11185.93">21299 10279 0,'26'-13'0,"-12"26"16,-14 0-16,0 1 0,-14-1 16,14 0-16,-13 13 15,13-12-15,0-1 16,0 0-16,13-13 16,1 0-16,-1-13 15,0 13-15,40-66 16,-40 26-1,0 14-15,-13 12 0,0-12 16</inkml:trace>
  <inkml:trace contextRef="#ctx0" brushRef="#br0" timeOffset="12512.21">19963 9075 0,'-93'53'16,"40"0"-16,0-26 15,-26 52-15,39-39 0,1-1 16,12 1-16,-39 39 16,13-26-16,40-26 0,0-1 15,13-13-15,0 1 16,13-14-16,0 0 16,40-14-16,26-39 15,-39 27-15,13 0 0,-13-1 16,-1-13-16,28 1 15,-15-1-15,-25 27 0,-14 0 0,0-1 16,1 14-16,-14 14 16,0-1-16,0 0 15,-14 0-15,14 14 0,-39 26 16,39-27-16,-14 1 16,1-14-16,13 0 0,0 13 15,0-12-15,13-1 16,1-13-16,25-13 15,14-14-15,-13 14 0,26-27 16,-13 14 0,-27 26-16,1-13 0,-14 13 15,0 0-15,1 13 16,-14 0-16,13-13 16,-13 13-16,0 1 0,13-14 0,0 13 15,1 0 1,-1-13-16,26 0 0,-12 0 0,-1 0 15,133-26 1,-132 26-16,-1 0 0,-13 0 16,14 0-16,-1 0 15,1 0-15,-14 0 0,13 0 0,-12 0 16,12 0-16,0 0 0,-12 0 16,-1 0-16,0 0 15,0 13-15,1-13 0,-1 0 16,0 0-1,0 0 17,-39 0 61,13 0-61,-1 0-17,1 0 17,0 0-1,0 0-16,-1 13 1,1-13 0,0 0-1,0 0 17,13-13-32</inkml:trace>
  <inkml:trace contextRef="#ctx0" brushRef="#br0" timeOffset="14930.52">1654 6879 0,'13'0'16,"0"0"-1,66 0-15,1 13 16,132 1-1,-133-14-15,0 0 0,14 13 16,-1-13-16,1 0 0,13 0 0,0 0 16,26 0-16,14 0 0,-14 0 15,-26 0-15,26-13 0,0 13 16,1-14-16,-1 1 0,119 0 0,-132 0 16,0-1-16,0 1 0,-26 0 15,79-27-15,-93 27 0,1-13 16,-1 12-16,67-38 15,-80 25-15,0 1 0,0-1 16,-13 1-16,-13-1 0,13 1 0,-27-1 16,1 1-16,12 13 0,-26-27 15,27-13-15,-27 27 0,1-14 16,-1 13-16,0-12 0,-13-14 16,0 26-16,0-12 15,-26-80-15,12 79 16,-12 0-16,-1 1 0,-12-1 0,-1 0 15,14 0-15,-27 14 0,13 0 0,0-1 16,-13 1-16,14-1 0,-14 1 16,-27-1-16,27 1 0,1-1 15,12 14-15,-26 0 0,13 0 16,0-14-16,0 14 0,0 0 0,0 0 16,-66-14-16,53 14 0,0 13 15,0-13-15,13 13 0,-80-14 16,81 14-16,-28 0 15,1 0-15,-1 14 0,1-14 0,0 0 16,-1 13-16,-78 0 0,78-13 16,1 13-16,-1-13 0,1 14 15,-14-1-15,14-13 0,0 0 16,-1 13-16,1 0 0,0-13 0,-93 13 16,92 1-16,1-1 0,-1 0 15,1 0-15,0 1 0,-1-1 16,1 0-16,0 0 0,-14 14 0,-66-1 15,80 1-15,-1-14 0,-65 27 16,79-27-16,0 0 16,-1 13-16,1-12 0,27-1 0,-14 0 15,13 0-15,-13 1 0,13-1 0,-39 13 16,39-12-16,1 12 16,12 0-16,-12-12 0,-1 12 15,0 14-15,1-14 0,-1 14 0,0 0 0,0 13 16,1-14-16,-1 14 15,0 0-15,1 0 0,12 0 0</inkml:trace>
  <inkml:trace contextRef="#ctx0" brushRef="#br0" timeOffset="16541.22">16034 3532 0,'-27'13'0,"27"1"0,-13 12 15,0-13 1,13 1-16,0-1 0,-13 0 0,13 0 15,0 0-15,0 14 0,0-14 16,0 0-16,0 1 0,0-1 0,0 0 16,13 0-16,-13 1 0,13-14 15,-13 13-15,13-13 0,-13 13 16,14-13-16,-1 0 16,13 0-16,-26-13 15,27 13-15,-14 0 16,0-13-1</inkml:trace>
  <inkml:trace contextRef="#ctx0" brushRef="#br0" timeOffset="16820.48">16166 3731 0,'13'-27'0,"-13"14"0,0 0 15,0-1 1,0 1-16,-13 40 31,13-14-15,0 0-16,0 0 0,0 1 16,0-1-16,0 0 0,0 0 15,0 1-15,13-1 0,-13 0 16,13-13-16,-13 13 0,14-13 15,-14 13-15,26-13 0,1 0 16</inkml:trace>
  <inkml:trace contextRef="#ctx0" brushRef="#br0" timeOffset="18421.75">15081 4207 0,'146'13'0,"-93"-13"16,26 0-16,0 0 0,107 0 15,-94 0-15,41-13 0,-1 0 16,0 13-16,278-40 16,-277 14-16,-1 12 0,132-25 15,-131 25-15,-1-12 16,0-1-16,-13 14 0,14 0 0,-14-13 15,0 12-15,0 1 0,-27 0 0,1 0 16,66-14 0,-80 14-16,1 0 0,-1-1 0,-13 1 0,0 0 15,-13 0-15,0 0 0,0-1 16,-13 1-16,-1 0 0,1 0 0,0-1 16,-1 14-16,1-13 0,-13 0 0,-1 0 15,27-1-15,-27 1 16,1-13-16,13 13 15,-27-1-15,0 1 0,13 0 0,-12 0 16,-1-1-16,13 1 0,-12 0 16,12 0-16,-13-1 0,0 1 0,14 0 15,-14 0-15,14 0 0,-14-1 16,13-12-16,1 26 0,-14-13 16,0-1-16,0 1 0,-13 0 15,14 13-15,-1-13 0,-13 0 0,0-1 16,13 1-16,-13 0 0,-13 0 0,13-1 15,0-12-15,0 13 0,-13-14 16,-1 1-16,14 13 0,-13-27 0,-13 13 16,13 1-16,-14-1 0,14-12 0,-14 12 15,1 1-15,-14-14 0,1 14 16,-14-1-16,0-12 0,0 12 16,-93-13-16,80 14 0,-13 13 15,-14-14-15,14 14 0,-14 0 0,1 0 16,-14-1-16,13 14 0,1-13 15,-14 13-15,0 0 0,0-13 0,0 13 16,0 0-16,1 0 0,-28-13 16,27 13-16,-13 0 0,14 0 0,-134 13 15,107-13-15,13 0 0,13 13 16,0-13-16,-26 0 0,13 13 16,13-13-16,-26 14 0,-67-1 15,80 0-15,-105 0 0,131 1 16,0-1-16,1 0 0,12-13 15,-12 13-15,-1-13 0,-66 13 16,80 1-16,0-1 0,-1-13 16,14 13-16,0 0 0,-13 1 0,12-1 15,1 0-15,0 14 0,0-14 16,13 13-16,-66 27 0,66-26 16,13-1-16,-13 0 0,14 14 0,-1-13 15,0 12-15,1-12 0,-1 12 16,14 1-16,-14 0 0,0 52 15,14-52-15,-1 53 0,14-40 16,0 0-16,13-1 0,-13 1 16,13 14-16,-14-15 0,14 1 0,0 0 15,0-13-15,0 13 0,14-13 0,-14 13 16,13-14-16,13 14 16,-12-26-16,12 12 0,0 1 15,14 0-15,0-14 0,13 1 0,0-1 0,13 0 16,0-12-16,0-1 0,93 13 15,-67-26-15,-12 0 0,26 0 16,79 0-16,-79-13 16,13 13-16,13-13 0,-26-14 0,106 1 15,-93 13-15,0-14 0,-13 1 16,105-14-16,-118 14 16,-1-1-16,1 14 0,-14-13 0,14 12 15,-14 1-15,1 0 0,-14 0 16,0-1-16,0 1 0,27 0 15,-54 13-15</inkml:trace>
  <inkml:trace contextRef="#ctx0" brushRef="#br0" timeOffset="21137.45">15928 3651 0,'0'-26'16,"0"13"-16,0-1 0,13 1 16,-13 0-1,13 13-15,-13-13 0,14-1 0,-1-12 16,0 13-1,-13-1-15,13 1 0,1 0 16,-14 0 0,13 13-16,-13-13 0,13-1 15,-13 1 1,-26 26 31,-1 27-32,27-27-15,-13 0 16,0 1-16,13-1 0,-14 0 16,14 14-16,-13-14 0,13 0 15,-13 0-15,13 14 0,0-14 0,0 0 16,-13 14-16,13-14 0,0 0 16,13 0-16,-13 1 0,0-1 15,0 0-15,13-13 0,-13 13 16,13-13-16,1 14 0,-14-1 15,13-13-15,0 0 16,0 0-16,1 0 16,-1 0-16,0 0 15,0 0-15,0-13 16,1-1 0,-1 14-1,-13-13 1,13 13-16,-13-13 0,13 13 0,-13-13 15,0-1-15,14 14 16,-14-13-16,13 0 16,-13 0-1,0-1-15,0 1 0,13 0 16,-13 0-16,0 0 16,0-1-16,-13 1 15,13 0-15,0 0 0,0-1 16,0 1-1,-13 13-15,-1 13 32,14 1-32,-13 25 15,13-25 1,0-1-16,13 0 0,-13 0 0,0 0 16,0 1-16,0 12 0,14-13 15,-14 1-15,13-1 0,-13 0 0,13 0 16,0 1-16,0-1 0,14 0 15,-14 0-15,0-13 0,14 13 16,-14-13-16,0 0 0,1 0 16,-1 0-16,0 0 0,0 0 15,0 0-15,1-13 0,-1 13 0,0 0 16,0 0-16,1-13 0,-1 13 16,0 0-16,0 0 0,1 0 0,-1 0 15</inkml:trace>
  <inkml:trace contextRef="#ctx0" brushRef="#br0" timeOffset="22858.65">20016 3850 0,'-14'0'15,"28"-14"1,25-12-1,-12 26 1,-14-13-16,27 0 0,13-1 0,-14 1 16,54 0-16,-40 0 15,0-1-15,0 14 0,0-13 0,13 13 16,-13 0-16,0 0 0,52 0 16,-52 0-16,14 13 0,-15-13 15,15 27-15,-28-14 0,14 0 0,0 1 16,-13 12-16,39 27 15,-13 0-15,-39-27 16,-1 14-16,1-14 0,-14 14 0,13-13 16,1 39-16,-14-40 0,0 14 15,1-14-15,-14 1 0,13-14 16,-13 40-16,13-27 0,-13-12 16,0 12-16,-13 1 0,13-14 0,-13 26 15,-1-12-15,-12-1 0,-1 1 16,1-1-16,-27 27 0,13-40 15,1 14-15,-41 13 16,41-14-16,-1-13 0,13 0 0,-12 1 16,-1-1-16,14 13 0,-1-26 15,1 14-15,-1-1 0,-26 0 16,40 0-16,-13-13 16,12 14-16,1-14 0,0 13 0,0-13 15,-1 0-15,1 13 0,0-13 16,0 0-16,0 0 0,-1 13 15,1-13 1,0 0 0,13-13-1,0 0 1</inkml:trace>
  <inkml:trace contextRef="#ctx0" brushRef="#br0" timeOffset="23997.1">20717 4643 0,'-13'14'0,"-1"12"32,1 1-32,13-14 0,-13 26 15,0-25-15,0-1 0,13 13 16,-14-12-16,1 25 15,0-12-15,13-14 0,0 0 0,-13 0 16,13 1-16,0-1 16,0 0-16,0 0 0,0 1 15,13-1-15,-13 0 0,13-13 16,0 13-16,1 1 16,-1-14-16,0 13 0,0-13 15,14 0-15,-14 0 0,13 0 0,-12 0 16,12 0-16,0 0 0,27 0 15,-26 0-15,26 0 16,-27 0-16,1-13 0,-14 13 0,13 0 16,1 0-16,-14 0 15,0 0-15,14 0 0,-14 0 0,0 0 16,14 0 0,-14-14-1,0 14-15,0 0 31,1 0-15,-14 14 0,13-1 31,13-13 46,1-13-77,-14 13-16,27-14 16</inkml:trace>
  <inkml:trace contextRef="#ctx0" brushRef="#br0" timeOffset="118535.84">1601 4286 0,'-13'0'62,"13"27"-46,0-14-16,0 27 15,13-27-15,0 27 16,-13-14 0,13-13-16,-13 14 0,0 39 15,0-53 1,0 14-1,13-1-15,1 0 16,-14 1 0,0-1-1,0-12-15,0-1 0,0 0 16,0 0-16,0 0 16,13-13 46,13 0 79,27 0-126,-13 0-15,-27 0 16,14 0-16,-14 0 16,0 0-16,0 0 15,14 0-15,-14 0 16,0 0 46,-13 14 63,13-14-93,14 0-17,-14 13-15,0 0 16,1-13-1,-1 0 1</inkml:trace>
  <inkml:trace contextRef="#ctx0" brushRef="#br0" timeOffset="127452.51">6337 10173 0,'13'119'16,"-13"-79"-16,0-14 0,0 1 0,0-1 15,13 27 1,-13-13-16,0-27 15,0 14-15,0-14 0,0 0 0,0 0 16,0 1-16,0-1 16</inkml:trace>
  <inkml:trace contextRef="#ctx0" brushRef="#br0" timeOffset="127719.21">6575 10200 0,'13'13'0,"-13"0"16,13 27-16,-13-14 0,14 1 16,-14-14-16,0 13 0,13 1 0,-13-1 15,0 1-15,13 13 0,-13-27 16,0 13-16,13-13 15,-13 1-15,0-1 0,0 0 0,0 0 16,14 1-16,-14-1 0,0 0 16,0 0-1</inkml:trace>
  <inkml:trace contextRef="#ctx0" brushRef="#br0" timeOffset="127887.8">6787 10478 0,'0'-14'0</inkml:trace>
  <inkml:trace contextRef="#ctx0" brushRef="#br0" timeOffset="128649.67">7131 10200 0,'-27'13'0,"14"27"16,13-14-1,0-13-15,0 14 16,0-14-16,13 0 0,-13 14 16,0-14-16,27 27 0,-27-27 0,13 0 15,0 0-15,0-13 0,0 14 16,1-1-16,-1-13 0,0 0 16,14 0-16,-14 0 0,0 0 0,0-13 15,0 13-15,1-14 0,-1 1 0,0 0 16,0 0-16,1-1 0,-14 1 15,0 0-15,0-40 16,0 40-16,0 0 0,-14-1 16,1 1-16,0 0 0,0 0 15,-1-1-15,-12 1 0,-14 13 16,27 0-16,0 0 16,0 0-16,-1 13 0,-25 1 15,26-1-15,-1 0 0</inkml:trace>
  <inkml:trace contextRef="#ctx0" brushRef="#br0" timeOffset="129326.91">7527 10134 0,'-13'13'15,"26"0"-15,-13 0 16,0 0-16,14 1 0,-14-1 0,26 13 15,-13 27 1,-13-39-16,0 12 0,14 14 16,-14-27-1,0 0-15,-14 0 0,14 1 0,0-1 16,-13 0-16,0 0 16,0-13-1,13-13 1,13-13-1,-13 12-15,0 1 0,13-13 0,-13 12 16,13 1-16,-13-13 0,14 13 16,-14-14-16,13 14 0,0-27 15,-13 27-15,0-14 0,0 14 16,0 0-16,0 0 0,-13 0 16,13-1-16,0 1 0,-13 0 15,-1 13-15,14-13 0,-13 13 0,0-14 0,0 14 16,-1 0-16,-12 0 15,13 0-15,13 14 16</inkml:trace>
  <inkml:trace contextRef="#ctx0" brushRef="#br0" timeOffset="131100.34">8308 10028 0,'0'-14'0,"-13"41"32,-1-27-32,1 13 0,0 14 15,-27 26 1,14-27-16,-1 14 0,1-27 16,13 0-16,-1 0 0,1 1 0,0-1 15,0 0-15,0 0 16,-1 14-16,1-14 15,13 0 1,40 0 0,-27-13-16,0 0 0,0 14 15,1-14-15,-1 0 0,13 0 16,-12 0-16,-1 0 0,13 0 16,14 0-16,-27 0 0,14 0 15,-14 0-15,0 0 0,14 0 16,-14 0-16,0 0 0,14 0 15,-14 0 1,0 0-16,0 0 16,0-14-1</inkml:trace>
  <inkml:trace contextRef="#ctx0" brushRef="#br0" timeOffset="131884.12">9062 9975 0,'0'-13'0,"13"39"0,0-13 15,-13 0-15,0 14 0,14-14 0,-14 14 16,0-14-16,0 0 0,13 27 16,-13-14-16,0-13 0,0 1 15,0-1-15,13 0 0,-13 0 0,0 1 16,0-1-16,13-13 16,-13 13-16,14-13 0</inkml:trace>
  <inkml:trace contextRef="#ctx0" brushRef="#br0" timeOffset="133140.79">9499 9962 0,'39'-27'0,"-26"27"16,1-13-16,-41 26 31,14-13-16,0 0-15,-14 13 0,1 14 16,-1-14 0,14 0-16,0-13 15,13 13-15,-13 1 16,26-1 0,0 0-16,0-13 15,1 13-15,-1-13 0,0 14 16,0-14-16,1 13 0,-1-13 15,0 13-15,0 0 16,-13 1 0,-13 25-1,0-26-15,0-13 16,13 14-16,-14-14 0,1 13 16,0 0-1,0-13-15</inkml:trace>
  <inkml:trace contextRef="#ctx0" brushRef="#br0" timeOffset="133306.98">9671 10067 0,'0'-13'15</inkml:trace>
  <inkml:trace contextRef="#ctx0" brushRef="#br0" timeOffset="133663.95">9856 9935 0,'-27'13'0,"14"14"16,13-14-1,0 0-15,13 0 0,-13 1 16,13-1-16,1 0 16,-1 0-16,0-13 0,0 0 15,14 14-15,-14-28 0,0 14 16,1 0-16,-1 0 0,0-13 15,0 0-15,0 0 16,-13-1-16,0 1 16,0 0-16,-13 0 0,13 0 15,-13-1-15,0 14 0,13-13 16,-13 0-16,-1 0 0,1 13 0,0 0 16,0 0-16,-1 0 15,1 0-15,13 13 16</inkml:trace>
  <inkml:trace contextRef="#ctx0" brushRef="#br0" timeOffset="134231.75">10107 9776 0,'13'40'0,"1"-27"15,-1 0-15,0 1 0,0-1 16,0 0-16,1 0 0,-14 1 16,13-1-16,0 13 0,-13-12 15,0-1-15,0 0 0,0 0 16,0 0-16,-13 1 0,0 12 16,-1-13-1,1-13 1,0-13-1,13 0-15,0-14 16,13 14-16,-13 0 16,0 0-16,13-14 0,1 14 15,-14 0-15,13-14 0,-13 14 16,13 0-16,-13-27 0,0 27 16,0 0-16,0 0 0,0-1 15,-13 1-15,0 0 16,-1 13-16,1-13 15,0 13-15,-13 0 16,26 13-16,-14-13 0,1 0 16</inkml:trace>
  <inkml:trace contextRef="#ctx0" brushRef="#br0" timeOffset="134527.5">10319 9671 0,'0'52'0,"0"-38"0,0-1 0,13 0 16,-13 0-16,0 27 0,13-27 16,0 14-16,1-14 0,-1-13 15,0 13-15,0-13 0,1 0 16,-1 0-16,27-13 15,-27 13-15,-13-13 0,13 13 16,-13-14-16,0 1 0,0 0 16,0 0-16,-26 0 15,12 13-15,1 0 16,0 0-16,0-14 0,-1 28 0,-25-14 16,12 13-16,-12 0 0,-1 0 15,13 0-15,-12 14 0</inkml:trace>
  <inkml:trace contextRef="#ctx0" brushRef="#br0" timeOffset="135873.62">6615 11099 0,'-14'0'0,"41"0"16,-1-13-16,40 13 15,53-26-15,-39 26 16,-1-14-16,14 1 0,-1 0 16,1 0-16,26-1 0,278-25 15,-265 39-15,1-13 0,-1-1 16,13 1-16,-12 0 0,131-27 16,-118 27-16,-14-14 0,119-25 15,-132 25 1,-13 1-16,13-1 0,-13-13 0,-26 27 15,-14-13-15,13-1 0,-26 1 0,0 13 0,-13-14 16,-1 14-16,1 0 0,26-27 16,-39 27-16,12-27 15,1 14-15,-14-1 16,-12 1-16,12-1 0,1 1 0,-14-1 16,13 1-16,-12-1 0,12-12 15,14-14-15,-27 26 0,13 1 0,-12-14 16,-1 14-16,0-1 15,0 14-15,14-40 0,-14 40 16,-13-14-16,13 14 0,-13-13 0,13-1 16,-13 1-16,14 13 0,-14-40 15,0 26-15,0 1 0,-27-54 16,27 41-16,-13-1 16,-14 0-16,-25-39 15,25 26-15,-39-26 0,26 52 16,1-12-16,-1 12 0,13 1 15,-12-1-15,12 1 0,1 13 0,-54-27 16,41 27-16,-1-1 0,-53-12 16,41 13-16,-41-1 15,40 14-15,-26-13 0,13 13 16,-93 0-16,79 0 0,-78 0 16,78 0-16,1 13 15,-14 1-15,1-14 0,12 13 16,-12 0-16,-80 14 0,92-14 0,1 0 15,-212 53 1,212-53-16,-14 14 0,-13-1 16,-106 27-16,1 0 15,118-26-15,1-1 0,-1 1 16,14-1-16,-1 0 0,-12 14 0,-54 13 16,-13 13-16,80-26 15,13-14-15,0 14 0,-67 13 16,67-13-16,0-14 0,-40 40 15,67-39-15,-1-14 16,0 13-16,14 1 0,-27 13 16,26-14-16,14 0 15,0-12-15,0 12 0,-1-13 0,14 14 16,-13-14-16,0 14 0,0 12 16,0-12-16,13-1 0,-14-13 15,1 40-15,0-39 0,13 12 16,-13 0-16,13 1 0,0-1 15,-14 14-15,14 26 0,0-26 16,0 13-16,0-14 16,0 1-16,14 40 0,-14-41 15,26 41-15,-13-54 0,1 14 16,-1-14-16,13 14 0,27 13 16,13-14-16,-13-12 15,-13-14-15,145 27 16,-132-27-16,13-13 15,0 0-15,14 13 0,-27-13 0,13 0 16,79-13-16,-12 13 16,-67 0-16,-13 0 0,13 0 15,40 0-15,-1 0 16,-38 13-16,-41-13 0,0 0 16</inkml:trace>
</inkml:ink>
</file>

<file path=ppt/ink/ink22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26:58.076"/>
    </inkml:context>
    <inkml:brush xml:id="br0">
      <inkml:brushProperty name="width" value="0.05292" units="cm"/>
      <inkml:brushProperty name="height" value="0.05292" units="cm"/>
      <inkml:brushProperty name="color" value="#0070C0"/>
    </inkml:brush>
  </inkml:definitions>
  <inkml:trace contextRef="#ctx0" brushRef="#br0">21921 1019 0,'-53'26'0,"40"-13"16,-1-13 0,14 14-16,14-1 15,-1-13 1,0 13 0,0 0-16,1-13 0,-14 13 15,13-13-15,-13 14 0,13-14 16,-13 13-1,0 0-15,-13 0 16,0-13-16,13 14 0,-40 12 16,27-26-16,-1 0 0,1 13 15,-27 1 1,27-14-16,-13 13 16,13-13-16</inkml:trace>
  <inkml:trace contextRef="#ctx0" brushRef="#br0" timeOffset="699.89">22132 1138 0,'27'-14'31,"-1"14"-31,-12 0 15,12 0-15,27-13 16,-40 13-16,0 0 0,27-13 16</inkml:trace>
  <inkml:trace contextRef="#ctx0" brushRef="#br0" timeOffset="924.41">22304 1005 0,'14'0'0,"-1"0"16,-40 0-16,67 0 0,-27 0 0,1 0 15,-1 14-15,0-14 16,0 0-16,0 13 0,1-13 0,-1 26 16,-13-12-16,0 12 15,0-13-15,0 0 16,-13 14-16,-1-14 15,14 0-15,-13 1 0</inkml:trace>
  <inkml:trace contextRef="#ctx0" brushRef="#br0" timeOffset="1265.83">22648 913 0,'0'26'15,"0"1"-15,0-14 16,0 0-16,0 0 0,0 1 0,0-1 16,0 0-16,14 0 15,-14 1-15,13-14 31,0 0-15,0 0-16,-13 13 16,13-13-16,1 0 15,-1 13 1,0-13 0,-13 13-16,13-13 0,1 0 15</inkml:trace>
  <inkml:trace contextRef="#ctx0" brushRef="#br0" timeOffset="1593.1">22926 1019 0,'-13'-14'0,"13"28"16,-13-1 0,26 0-16,-13 0 31,13-13-31,-13 14 16,13-14-16,1 0 15,-1 0 1,0 0 15,0 0-15,1 0-1</inkml:trace>
  <inkml:trace contextRef="#ctx0" brushRef="#br0" timeOffset="6007.99">19963 3188 0,'79'0'0,"-66"-13"15,14 13-15</inkml:trace>
  <inkml:trace contextRef="#ctx0" brushRef="#br0" timeOffset="6204.84">20016 3307 0,'13'0'15,"13"0"1,-12 0 0,-1 0-16</inkml:trace>
  <inkml:trace contextRef="#ctx0" brushRef="#br0" timeOffset="6593.68">20042 3863 0,'66'-13'0,"-52"13"16,-1 0-16,0 13 0,0-13 15,0 0-15,1 0 16</inkml:trace>
  <inkml:trace contextRef="#ctx0" brushRef="#br0" timeOffset="6773.26">20069 4048 0,'26'-13'31,"-13"13"-31,1 0 0,-1 0 0,-13-13 16,13 13-16,13 0 0,1-14 15,-14 14-15,0 0 16</inkml:trace>
  <inkml:trace contextRef="#ctx0" brushRef="#br0" timeOffset="13357.82">21325 2990 0,'0'26'31,"0"-13"-31,0 1 0,0 12 0,0-13 16,0 1-16,0-1 0,0 0 15,0 0-15,0 1 0,-13-1 0,13 0 16,0 0-16,13 0 0</inkml:trace>
  <inkml:trace contextRef="#ctx0" brushRef="#br0" timeOffset="13724.82">21564 3016 0,'-27'13'31,"27"14"-16,-13-14-15,13 0 0,0 1 16,13-1-16,-13 0 0,13 0 16,27 1-1,-27-14-15,0 0 16,1 0-16,12-14 16,-13 1-1,1-13 1,-14-1-16,0 14 0,0 0 15,-14-1 1,1 1-16,0 13 16,0-13-1,-1 13 1</inkml:trace>
  <inkml:trace contextRef="#ctx0" brushRef="#br0" timeOffset="14010.22">21762 2977 0,'0'52'0,"13"-38"0,0-1 15,1 0-15,12 0 0,-13-13 16,1 0-16,-1 0 0,0 0 0,0 0 15,1 0-15,-1-13 0,0 0 16,0-27 0,-13 27-16,-13 0 15,0 0-15,-27-14 16,14 27 0,-1 0-16,-26 13 15,40-13-15</inkml:trace>
  <inkml:trace contextRef="#ctx0" brushRef="#br0" timeOffset="14672.67">21286 3334 0,'106'26'16,"-80"-13"-16,67-13 15,12 0-15,41-13 16,-93 13 0,40-13-16,-54 0 0,1 0 15,0-1-15,-1 1 0,-12 0 16,-1 0-16,14-14 0,-27 14 0,14 0 16,-14-1-16,0-12 0,0 13 0,0-14 15,-13 14-15,14-13 16,-14 12-16,13-12 0,-13 13 0,0-14 0,0 14 15,0-13-15,0-1 0,0 14 0,0-14 16,-13 1-16,-1-27 16,1 13-16,0 14 0,-13-1 15,12 1-15,-12 0 0,-27-14 16,13 27-16,1-14 0,-54 1 16,40 12-16,-79 1 15,66 0-15,-14 13 0,14 0 0,-13 0 16,-1 0-16,14 0 0,-13 13 15,13 0-15,0 1 0,-1 12 0,14 1 16,1-1-16,-1 1 0,13-1 16,0 14-16,14-14 0,13 14 0,-14 26 15,27-26-15,13 39 16,-13-39-16,27-1 0,-1 1 16,14 0-16,13-1 0,-13-12 15,12-1-15,1 1 0,53 13 16,-53-27-16,-13 0 0,-1 0 0,14-13 15,-26 0-15,-1 13 0,1-13 16</inkml:trace>
  <inkml:trace contextRef="#ctx0" brushRef="#br0" timeOffset="18483.8">6496 3294 0,'26'0'32,"-13"0"-32,0 13 0,14-13 15,-14 0-15,27 14 0,-27-14 16,40 0-16,-27 0 15,-12 0-15,12 0 0,1 0 0,-1 0 16,14-14-16,-1 14 0,-25-13 16,12 13-16,1-13 0,-14 0 15,13 13-15,-13-14 0,1 1 0,-1 0 16,0 0-16,0-1 0,1 1 16,-14 0-16,13 0 0,-13-14 0,0 14 15,0 0-15,13-14 0,-13 14 16,0-13-16,0 12 0,0-12 0,-13-14 15,0 14-15,-1 13 0,14-14 16,-13 14-16,-13-13 0,12-1 16,-25 1-16,26 12 0,-14 1 15,14 0-15,-40-14 0,26 14 16,1 13-16,0-13 0,-1 13 16,1-13-16,-40 13 0,39 0 15,-13 0-15,1 0 0,-1 0 16,0 0-16,-13 13 0,14-13 15,-41 26-15,41-12 16,12-1-16,1 0 0,-14 0 0,14 1 0,-27 25 16,39-12-16,-12-14 15,13 13-15,-1 1 0,1-1 0,-13 27 16,26 0-16,0 0 16,0-26-16,0 12 0,13-12 15,13 52-15,-12-52 16,25 25-16,-25-25 0,-1-14 15,0 0-15,0 1 0,1-1 16,12 0-16,-13 0 0,0 0 16,14 1-16,-14-1 15,14-13-15,-14 13 16,0-13-16,0 0 0</inkml:trace>
  <inkml:trace contextRef="#ctx0" brushRef="#br0" timeOffset="20796.15">8678 3321 0,'40'26'16,"13"14"-1,-40-27-15,0-13 0,1 13 16,12 0-16,1 1 15,-14-14-15,13 13 0,-13-13 0,1 0 0,12 0 16,1 13-16,12-26 16,-12 13-16,-1 0 0,1 0 15,26-13-15,-27-1 0,14 14 16,-14-13-16,27 0 0,-40 0 16,14 13-16,-1-14 0,1 1 0,-14 0 15,13 13-15,-12-13 0,-1 0 16,13-1-16,-12 1 15,-1 13-15,0-13 0,0 0 0,0-14 16,1 14 0,-14 0-16,0-1 0,0 1 0,0 0 15,13-13-15,-13 12 0,-13-12 0,13 13 16,-14-14-16,14 1 0,-13-1 16,0 1-16,-13-1 0,12 1 0,-12-1 15,-14-25-15,0 25 16,14 14-16,0-14 0,-1 14 0,1 0 15,-14 0-15,14-1 0,-1 1 16,1 0-16,-27 0 0,39 0 16,-12 13-16,0-14 0,-1 14 15,-39 0-15,39 0 16,1 0-16,0 0 0,-1 0 0,-13 14 16,1-14-16,-27 26 15,39-26-15,-13 13 0,14 0 16,13 1-16,-40 12 15,40-13-15,-1 1 0,1-14 16,0 13-16,0 0 0,13 0 0,-14 14 16,1 12-16,13-25 15,0-1-15,0 0 16,0 14-16,0-14 0,0 13 16,0 1-16,0-14 15,0 0-15,13 0 0,-13 1 0,0 12 16,0-13-16,14 1 0,-14-1 0,0 0 15,13 0-15,-13 0 0,13 1 16,0 25-16,-13-25 0,14-1 16,-1 0-16,-13 0 0,13 1 15,0-1-15,0 0 0,1 0 16,-14 0 0,13-13-16,-13 14 0,13-14 15,0 0 1,1-14-1</inkml:trace>
  <inkml:trace contextRef="#ctx0" brushRef="#br0" timeOffset="23004.15">11761 2897 0,'0'-13'0,"-13"0"0,13 0 16,-14-1 0,1 1-16,0 0 15,0 13-15,13-13 16,-14-1-16,1 14 0,-13-13 15,12 0-15,-12 0 0,13 13 16,0-14-16,-1 14 0,1-13 0,0 13 16,-14 0-16,14-13 0,0 13 0,-14 0 15,14 0-15,-26-13 16,-28 13 0,54 0-16,0 0 0,0 0 15,-14 13-15,14-13 0,-13 0 0,12 13 16,1-13-16,-13 13 0,-1-13 15,14 14-15,0-14 0,-14 13 0,14 0 16,0 0-16,-14-13 0,14 14 16,0-1-16,0 0 0,-1 0 0,1 1 15,0-1-15,0 0 0,13 0 16,-13 0-16,-1-13 0,1 40 16,0-27-16,13 1 0,-13-1 15,13 0-15,0 0 0,0 0 16,-14 1-16,14-1 0,0 0 15,0 0-15,0 1 0,0 12 0,0-13 16,0 1 0,0 12-16,0-13 0,14 0 15,-14 1-15,0-1 0,13 0 16,-13 0-16,13 1 16,-13-1-16,13 0 0,1 0 15,-1 1-15,0-1 0,-13 0 16,13-13-16,0 13 0,-13 0 15,14 1-15,-1-14 0,0 13 0,0 0 16,1-13-16,-1 13 16,0-13-16,0 14 0,0-14 15,1 13-15,-1-13 0,0 13 16,0-13-16,1 0 0,-1 0 0,0 0 16,0 13-16,1-13 15,-1 0-15,13 0 0,-13 0 0,1 0 16,-1 0-1,13 0-15,-12 0 16,-1 0-16,0 0 0,0 0 16,1 0-16,-1 0 15,0 0-15,0 0 16,0 0-16,1-13 0,-1 13 16,0 0-16,0 0 0,1 0 15,12-13-15,1 13 16,-14-13-16,0 13 15,0 0-15,27-14 16,-27 1-16,0 13 0,1 0 16,-1-13-16,0 13 15,-13-13-15,13 13 0,1 0 16,-14-14-16,13 1 0,0 13 16,0-13-16,0 0 15,1 0-15,-1-1 16,-13 1-16,13 13 15,-13-13-15,13 0 16,-13-1 0,0 1-16,0 0 15,14 13-15,-14-13 16,0-1-16,0 1 0,0 0 16,0 0-1,0 0-15,0-1 16,-14 1-1,14 0-15,0 0 16,0-1 0,0 1-1,-13 0-15,13 0 0,0-1 16,-13-12 0,0 13-1,13 0 1,-14-1-1,14 1-15,0 0 16,-13 0-16,13-1 16,-13 1-1,13 0-15,-13 13 16,13-13-16,-13 0 16,-1-1-1,1 1 1,0 13 15,0-13-31,-1 0 16,1 13-1,0 0-15,0-14 16,-1 14-16,14 14 16,-26-14-1</inkml:trace>
  <inkml:trace contextRef="#ctx0" brushRef="#br0" timeOffset="25220.91">13957 2844 0,'-13'-26'31,"13"13"-15,-14 13 0,14-14-16,-13 14 0,13-13 15,-13 13-15,0 0 0,13-13 16,-14 13-16,1-13 0,0 13 16,-14 0-16,14 0 0,0 0 15,-13 0-15,12 0 0,1 0 16,-13 0-16,-14 0 0,27 13 15,-14-13-15,1 0 0,13 13 0,-27 0 16,27-13-16,-1 14 16,-12-14-16,13 13 0,-14 13 15,14-26-15,0 14 0,13-1 0,-27 13 16,14 14 0,0-27-16,13 0 0,-13 27 15,-1-27-15,14 27 0,-13-27 16,13 14-16,0-14 15,0 0-15,0 0 0,0 14 0,13-14 16,-13 0-16,0 14 0,14-14 0,-14 0 16,13 0-16,-13 1 0,13-1 15,0 27-15,14-14 16,-1 0-16,-12-26 16,12 27-16,-13-27 0,27 13 15,-27 0-15,14-13 0,-14 0 16,0 0-16,0 14 0,27-14 15,-27 0-15,0 0 0,14 0 16,-14-14-16,0 14 0,14 0 0,-1 0 16,-13 0-16,14 0 0,-14-13 15,14 13-15,-14 0 0,27-13 16,-27 13-16,0 0 0,0 0 16,0-13-16,1 13 0,-1 0 15,13-14-15,-12 14 0,-1 0 16,0-13-16,0 13 0,1 0 0,-14-13 15,13 13-15,0 0 0,-13-13 16,13 13-16,0 0 0,-13-13 16,14-1-16,-1 14 0,-13-13 15,13 13-15,0-13 0,-13 0 16,14-1-16,-14 1 16,13 0-16,-13 0 15,0-1-15,0 1 16,0-13-1,0-1-15,-13 27 16,13-13-16,0 0 16,-14 0-16,14-1 15,0 1-15,-13 0 0,0 0 0,0-1 16,13-12 0,-14 26-16,14-13 0,-13 0 15,0-1-15,0 1 16,0 13-16,13-13 15,-14 13-15,14-13 0,-13 13 0,0-14 16,13 1-16,-13 13 0,-1-13 16,1 0-1,0 13-15,0-13 16,-1-1-16,1 14 16,0-13-16,0 13 15,0-13-15,-1 0 16,1 13-1,0-14-15,0 14 16,-1-13 0,1 13-16,0 0 15,0-13 1,-1 13-16,1 0 0,0-13 16,0 13-1,0 0 1,-1 0-16,1 0 31,0 0-15,13 13-1</inkml:trace>
  <inkml:trace contextRef="#ctx0" brushRef="#br0" timeOffset="27096.96">16457 2897 0,'13'0'0,"-13"-13"31,-13 0 0,13 0-15,-13 13-16,0-27 16,-1 14-1,-12-14 1,13 14-16,-1 13 0,1-13 16,0 0-16,-13-1 0,12 1 15,1 13-15,0-13 0,0 13 16,-1-13-16,-12 0 0,-14 13 15,27 0-15,0-14 16,0 14-16,-1 0 0,-12 0 0,13 0 16,-1 0-16,-12 0 0,-14 14 15,27-14-15,-13 13 0,-1-13 16,1 13-16,-14 0 0,14 0 16,-1 1-16,-26 25 15,0-12-15,27-14 16,13 0-16,-1 14 0,1-14 15,-13 27-15,12-27 0,1 0 16,0 27-16,13-14 0,0-13 16,0 54-16,0-41 15,0-13-15,13 14 0,-13-1 16,40 14-16,-27-14 0,0 1 16,14-1-16,-1-12 0,1 12 15,-1-13-15,14 0 0,-14 1 0,1-1 0,-1 0 16,40 0-1,-39-13-15,-1 0 0,1 0 0,-1 0 16,14 0-16,-14 0 0,67-13 16,-53 0-16,-14 0 15,14-1-15,-1 1 0,-12 0 16,-1 0-16,14 0 0,-27 13 0,14-14 0,-14 1 16,13 0-16,-12 13 15,-1-13-15,0-1 0,0 1 0,1 0 0,-1 0 16,0-1-16,0 1 0,-13 0 15,14 0-15,-14 0 0,13-1 16,-13-12-16,0 13 0,13-14 0,-13 14 16,0-14-16,0 14 0,0-13 0,0 13 15,0-14-15,-13 14 0,13-14 16,-13 14-16,-1 0 0,1-13 0,-40-14 16,27 27-16,12-1 0,-12 1 15,0 0-15,-27 0 16,13-1-16,13 14 0,14-13 15,-13 13-15,-1-13 0,14 13 16,40 13 15,-14-13-31</inkml:trace>
  <inkml:trace contextRef="#ctx0" brushRef="#br0" timeOffset="28131.93">18441 2686 0,'-52'-14'16,"38"14"-16,1 0 0,-13 0 15,12 0-15,-39 14 16,40-1-16,-13 0 0,-1 0 0,1 0 16,-1 14-16,1-14 0,0 14 15,-1-1-15,-39 67 16,26-27-16,27-40 16,-13 40-16,26-26 15,-14-13-15,14-1 0,0-13 0,0 14 0,14-1 16,12 27-16,0-13 15,-12-27-15,-1 0 16,13 14-16,-12-14 0,12-13 0,-13 13 16,14 0-16,52 1 15,-66-14-15,14 0 0,-1 0 16,1 0-16,12 0 0,-12 0 0,-1 0 16,1-14-16,12 14 0,1-13 15,-13 13-15,-1-13 0,1 13 0,12-13 16,-12 13-16,-1-14 0,40-12 15,-39 26-15,-14-13 0,13 13 16,-12-13-16,12-1 16,-13 14-16,1-13 0,-1 0 0,13-14 15,-13 14-15,1 0 0,-1 0 16,0-27-16,0 27 16,-13-14-16,0 14 0,0-13 0,0-41 15,-13 28-15,0 12 0,0-12 16,-1 12-16,-52-52 15,40 52-15,-1 1 0,1 13 16,-1-1-16,-12-12 0,-1 26 16,14-13-16,-14 0 0,0 13 15,1 0-15,-1-14 0,-26 14 0,39 14 16,-26-14-16,27 13 16,-1-13-16,1 13 0,-27-13 15</inkml:trace>
  <inkml:trace contextRef="#ctx0" brushRef="#br0" timeOffset="30116.05">1984 3175 0,'80'-13'16,"-54"0"-16,-13 13 16,14 0-16,-1-14 0,1 14 0,-1 0 15,1-13-15,-1 13 0,1 0 0,-1-13 16,1 0-16,-14 13 0,13-14 16,-13 14-16</inkml:trace>
  <inkml:trace contextRef="#ctx0" brushRef="#br0" timeOffset="30352.07">2500 2950 0,'-13'0'0,"26"13"47,-13 1-47,14-1 0,12 13 16,-13-13-16,0 1 15,-13 12 1,0-13-16,0 1 16,0-1-16,-13 27 15,13-27-15,-13 0 0,13 0 16,-13 0-16,13 1 0</inkml:trace>
  <inkml:trace contextRef="#ctx0" brushRef="#br0" timeOffset="30785.17">2236 4061 0,'66'-13'15,"-40"0"-15,1 13 0,-1 0 0,1-13 16,-1 13-16,1-14 0,-14 14 16,13-13-16,1 13 0,-1-13 0,-13 13 15,14-13-15,-14 0 0,0 13 0,1-14 16,-1 14-16,0-13 0,0 13 15</inkml:trace>
  <inkml:trace contextRef="#ctx0" brushRef="#br0" timeOffset="31003.38">2606 3770 0,'13'0'0,"1"14"0,25-1 16,-25 0-1,-1-13-15,13 13 0,-13 0 16,1 1-16,12-1 0,-13 0 0,1 0 0,-1 1 16,0-1-16,-13 0 15,13 0-15,-13 1 0,14 25 16,-14-26-16,0 14 0,-14-27 16,14 13-16,-13 14 15</inkml:trace>
  <inkml:trace contextRef="#ctx0" brushRef="#br0" timeOffset="35448.89">7011 3757 0,'0'-26'16,"-26"12"15,26 1-31,-13 0 0,0 0 16,-1-1-16,-12 1 0,13 0 15,-1 0-15,-25 0 0,-14-27 16,26 27-16,14-1 0,-13 1 15,-1 13-15,1-13 0,-1 0 0,1 13 16,-1-14-16,-26 14 0,1 0 16,25 14-16,1-14 0,-1 13 15,1 0-15,-40 14 16,39-14-16,-26 27 0,27-14 16,-1 0-16,1 1 0,13-1 15,-1 1-15,-12-1 0,13 14 16,-1-14-16,14 14 0,-13 26 15,13-13-15,0-26 16,13 12-16,1 1 0,-1-13 0,27 25 16,12 1-1,-25-26-15,13-14 0,65 27 16,-65-27-16,40 0 16,-41-13-16,-12 0 0,12-13 15,41 0-15,-1-1 16,0-12-16,-39 13 15,26-27-15,-26 14 16,66-67-16,-93 67 16,0-1-16,14-13 15,-27-12-15,-13-1 16,-14-53-16,1 79 16,12 1-16,-12-1 15,-27-26-15,0 27 16,13 0-16,-13 12 15,40 1-15,-13 13 0,-1 0 16,14 0-16,-27 0 0,14 0 16,13 13-16,0-13 0</inkml:trace>
  <inkml:trace contextRef="#ctx0" brushRef="#br0" timeOffset="38360.87">9631 3744 0,'13'0'0,"-13"-13"16,0-1 15,-13 1-15,0 0-1,13 0-15,-14-1 16,-12-12 0,13 13-16,-1 0 0,1 13 0,0-14 0,0 1 15,-14 0-15,14 13 16,0-13-16,-14-1 0,1 14 0,-1-13 15,14 13-15,-13-13 0,-14 13 0,14 0 16,-1 0-16,-26 0 16,27 0-16,-1 0 0,1 13 0,-1-13 15,1 13-15,0-13 0,-1 14 0,1-14 16,12 13-16,-12 0 0,13 0 16,-27 14-16,27-1 0,0-13 15,-1 1-15,1 12 0,0 1 16,13-1-16,-13 1 0,13-1 0,-14 0 15,14 1-15,0-1 0,0 1 16,0-1-16,14 1 0,-14-1 0,13 1 16,-13-1-16,13 1 0,0-14 15,-13 13-15,14-12 0,-1 12 0,0-13 16,-13 0-16,13-13 0,0 14 16</inkml:trace>
  <inkml:trace contextRef="#ctx0" brushRef="#br0" timeOffset="40222.1">11734 3691 0,'-13'-40'0,"0"27"15,0 0-15,-1 0 0,-12 13 16,13-14-16,-1 14 0,-38-13 16,-28 0-16,40 26 15,-12-13-15,-1 13 0,-14 1 16,-52 12-16,66 0 0,1 14 16,-1-13-16,13 12 0,0 1 0,1 13 15,-54 106 1,67-106-16,12 0 0,14-14 0,0 1 15,14 39-15,-1-39 0,0 0 16,13-14-16,14 14 0,0-14 16,0 1-16,-1-1 0,67 14 15,-66-27-15,13-13 0,-14 13 16</inkml:trace>
  <inkml:trace contextRef="#ctx0" brushRef="#br0" timeOffset="40946.92">13745 3426 0,'-159'14'0,"133"12"15,-53 27-15,-1 79 16,54-92-16,12 13 16,1 0-16,0 39 0,13-39 15,13 0-15,0 0 16,40 40-16,-26-54 0,13-12 15,-14-1-15,40 27 0,-26-40 16,13 1-16,-14-1 0,1-13 16,0 0-16,13 0 0,-14 0 0,54-27 15,-40 1-15,40-40 16,-54 26-16,1 1 0,-14-1 16,1-13-16,-1-26 0,-26-1 15,0 27-15,-13 27 16,-13-14-16,12 14 0,-12-14 0,-1 13 15,1 14-15,0-13 0,-1 13 16,-26-1-16,0 1 16,40 13-16</inkml:trace>
  <inkml:trace contextRef="#ctx0" brushRef="#br0" timeOffset="41830.01">16285 3413 0,'-119'-26'0,"93"26"15,-1 0-15,-13 13 0,-65 13 16,12 40 0,0 14-16,14 12 0,39-52 15,14 26-15,-1-13 0,14 13 16,-13-13-16,26 13 0,0-13 16,0-13-16,13 79 0,0-66 15,40 26-15,-13-39 0,-1-13 16,1 12-16,0-12 0,0-14 15,52 0-15,-39 0 16,0-13-16,40-13 0,-27 0 16,-13 0-16,13-1 0,0-12 0,-13-14 15,53-26-15,-53 40 0,-14-14 16,1-13-16,-14 13 0,1-12 16,-14 12-16,0-40 15,-13 1-15,-13 39 0,-13 1 16,-1-1-16,1 14 0,-54-27 15,41 39-15,12 1 0,-12 0 16,-1 0-16,0 13 0,27-14 0,-14 14 16,14 0-16,0 0 0,0 0 15</inkml:trace>
  <inkml:trace contextRef="#ctx0" brushRef="#br0" timeOffset="42649.82">18402 3466 0,'-93'40'16,"67"-14"-16,12 1 0,-12-1 15,13 14-15,-14-1 0,14 14 0,0 0 16,-14 66-16,14-13 15,13-66-15,0 13 0,13 0 16,1-14-16,-1 1 0,40 39 16,-27-52-16,1-1 0,-1 1 15,14-14-15,0 0 0,-14-13 16,40 0-16,-39 0 0,26-13 16,39-13-16,-52-1 15,13 1-15,-14-14 0,14 14 0,-13-27 16,0 13-16,-1-13 0,1 0 15,0-53-15,-27 53 0,0 0 16,-26 14-16,-13-67 0,-1 66 16,-39-39-16,26 39 15,-39 0-15,39 14 0,0 13 16,-39 0-16,13 13 16,40 0-16,-54 13 15,54 0-15,-1-13 0,1 13 16,13 0-16,-14 1 0</inkml:trace>
  <inkml:trace contextRef="#ctx0" brushRef="#br0" timeOffset="54252.71">3228 4710 0,'-53'39'16,"40"-26"-16,13 1 16,-13-1-16,13 0 0,-14 14 0,14-14 15,0 27-15,0-27 0,0 13 16,14-13-16,-14 1 0,13-1 0,-13 13 15,13-12-15,0-1 0,14 0 16,-27 0-16,13-13 16,0 14-16,0-14 0,1 0 0,-1 0 15,0-14-15,0 14 0,1-13 0,12 0 16,0-14 0,-12 1-16,-14 13 0,0-1 15,0 1-15,0 0 16,0 0-16,0 0 0,0-1 0,-14-12 0,14 13 15,-13-1-15,0 1 0,0 0 0,0 13 16,13-13-16,-14-1 0,1 14 16,0-13-16,0 13 0,13-13 0,-14 13 15,1 0-15,0 0 0,0 13 16,-1-13-16,14 13 16</inkml:trace>
  <inkml:trace contextRef="#ctx0" brushRef="#br0" timeOffset="54458.72">3651 4789 0,'27'-13'16,"-14"13"-16,27-14 16,-27 1-1</inkml:trace>
  <inkml:trace contextRef="#ctx0" brushRef="#br0" timeOffset="54799.79">4141 4577 0,'-27'14'31,"27"-1"-31,0 0 16,-13 0-16,0 14 0,0-14 16,13 0-16,-14 14 15,1-1-15,13-13 0,-13 0 0,13 1 16,-13-1-16,13 0 0,0 0 15,0 1 1,26-1 0,-13-13-1,1 0-15,25 0 0,-25 0 16,12 0-16,-13 0 0,0 0 16,27 0-16,0 0 15,-27 0-15,0 0 16,0 0-16,1-13 15,-1 13-15</inkml:trace>
  <inkml:trace contextRef="#ctx0" brushRef="#br0" timeOffset="54980.54">4128 4749 0,'-14'0'0,"41"-13"16,-14 13 0,0-13-16,0 13 0,1-13 15,-1 13-15,0-14 16,0 14-16</inkml:trace>
  <inkml:trace contextRef="#ctx0" brushRef="#br0" timeOffset="55167.54">4022 4591 0,'-14'0'0,"28"-14"16,12 1 0,-13 0-16,14 13 0,-14-13 15,27-1-15,-27 14 0,0 0 16,0 0-16,1-13 0,-1 26 15,0-13-15,0 0 0</inkml:trace>
  <inkml:trace contextRef="#ctx0" brushRef="#br0" timeOffset="56070.33">6337 4617 0,'0'-26'16,"13"12"-1,0 14-15,0-13 16,1 13-16,-1 0 0,0 0 0,0 0 16,1 0-16,-1 13 15,0-13-15,0 0 0,1 14 0,-14-1 16,0 13-16,0-13 15,0 1-15,-14-1 0,14 0 0,-13 0 16,0 14-16,0-14 16,-1 0-16,1 0 0,13 1 0,-13-14 15,13 13-15,-13-13 0,13 13 16,-14 0 0,41-13-1,-1 0 1,-12 0-16,-1 0 15,0 0-15,0-13 0,14 13 0,-14-13 16,0 13-16,14-13 0,-14 13 16,13-14-16</inkml:trace>
  <inkml:trace contextRef="#ctx0" brushRef="#br0" timeOffset="56385.99">6800 4577 0,'-40'27'0,"27"-27"16,13 13-16,-13 0 0,13 0 0,0 1 16,0-1-16,0 0 15,0 0-15,13 1 0,-13-1 16,13-13-16,0 13 0,1-13 16,-1 0-16,0 0 0,0 0 0,0 0 15,1 0-15,-1 0 0,0 0 16,-13-13-16,13 13 0,1-13 0,-14-1 15,13 14-15,-13-13 0,0 0 16,0 0-16,-13-1 0,13 1 0,-14 0 16,14 0-16,-13 0 0,0 13 15,0-14-15,-1 14 0,1 0 16,0 0-16,0 0 16,0 0-16,-1 14 15</inkml:trace>
  <inkml:trace contextRef="#ctx0" brushRef="#br0" timeOffset="57599.71">8797 4670 0,'-13'-27'0,"0"27"0,13-13 16,0 0 15,0 0 563,0 0-563</inkml:trace>
  <inkml:trace contextRef="#ctx0" brushRef="#br0" timeOffset="62094.64">22675 3863 0,'0'40'16,"-13"-27"-16,-1 13 0,-12 27 15,-1-26-15,1-1 0,13 1 0,-14 12 16,1-12-16,-1-14 16,1 13-16,-14 14 0,1-27 15,25 1-15,1-1 0,0-13 0,0 0 16,-1 0-16,1 0 15,0-13-15,0 13 0,13-14 0,-14 1 16,1 0-16,13 0 16,0-1-16,0 1 15,13 0-15,1 13 0,-14-13 16,26 26-16,-13-13 16,1 13-16,-1 0 15,13 1-15,-12-1 0,-1 0 0,13 0 0,-13 1 16,14-1-16,-1 13 0,-12-13 15,-1 1-15,0-1 16,13 0-16,-12 0 0,-1-13 16,0 0-16,0 0 0,1 0 15,-1-13-15,0 13 0</inkml:trace>
  <inkml:trace contextRef="#ctx0" brushRef="#br0" timeOffset="62302.59">22886 4061 0,'27'-26'0,"-14"26"15,27-13 1,-27 13-16,0 0 0,1 0 15,-1 13-15</inkml:trace>
  <inkml:trace contextRef="#ctx0" brushRef="#br0" timeOffset="62479.83">22886 4207 0,'0'13'15,"27"-26"16,-14 13-15,0-13 0,1 13-16,-1-14 0,13 14 0,-12-13 0,-1 13 15,13 0-15,1-13 16,-14 0-16,0 13 0</inkml:trace>
  <inkml:trace contextRef="#ctx0" brushRef="#br0" timeOffset="62852.78">23548 3942 0,'-93'40'15,"80"-27"1,-27 27-16,40-27 0,0 0 16,14-13-16,-1 14 0,0-1 15,0-13-15,1 13 0,-1 0 16,0-13-16,0 14 0,0-1 16,1 0-16,-1-13 0,-13 26 15,13-26-15,-26 14 0,13-1 16,0 0-16,-13 0 0,-14 1 15,14-1-15,-13 0 0,12 0 16,1 0-16,-13 1 0,12-1 16,1-13-16,-27 26 15,27-26-15</inkml:trace>
  <inkml:trace contextRef="#ctx0" brushRef="#br0" timeOffset="63092.81">23998 3889 0,'13'-13'0,"-26"26"16,26-13-16,-13 14 0,0-1 16,-13 0-16,-1 40 15,14-40-15,-13 27 0,0-27 0,-13 27 16,12-14-16,1 1 0,0-1 15,0-13-15,-1 14 0,1-14 0,0 14 16,0-14-16,-1 0 0,-12 0 16,26 0-16,-13-13 0,13 14 15,-13-14-15</inkml:trace>
  <inkml:trace contextRef="#ctx0" brushRef="#br0" timeOffset="63240.63">23720 4061 0,'0'-13'0,"0"0"0,13 13 16,14 0 0,-14 13-16</inkml:trace>
  <inkml:trace contextRef="#ctx0" brushRef="#br0" timeOffset="63363.71">24090 4128 0,'14'0'16,"-1"0"0,13-14-1,-52 28-15,39-28 0,-26 28 16,26-14-16,-26 0 0,-14 0 16</inkml:trace>
  <inkml:trace contextRef="#ctx0" brushRef="#br0" timeOffset="68367.64">2924 7183 0,'13'0'16,"-40"27"-1,27-14-15,-52 93 16,25-66-16,-66 118 15,67-105 1,0 0-16,-27 40 0,26-67 16,14 14-16,-14-14 0,14 1 15,0-1-15,0-12 0,0 12 16,13-13-16,-27 1 16</inkml:trace>
  <inkml:trace contextRef="#ctx0" brushRef="#br0" timeOffset="68573.42">2315 7620 0,'27'13'31,"-14"0"-31,0 1 0,13-1 0,-12 13 0,12 1 16,1-1-16,-1 1 0,1-1 15,-1 1-15,0-1 0,14-13 0,-13 14 16,-14-1-16,40 1 0,-40-14 15,0 0-15,14-13 0,-14 0 16,0 0-16,0 0 0,1 0 16,-1-13-16</inkml:trace>
  <inkml:trace contextRef="#ctx0" brushRef="#br0" timeOffset="68972.24">3228 6959 0,'79'-14'0,"-65"14"15,-14 14-15,13-14 0,-13 13 0,13 0 16,-13 53 0,-13-13-16,0-26 0,-1-1 15,-12 53-15,26-65 16,0-1-16,-13 13 16,-1-13-16,14 1 0,0-1 15,14-13 16,25 0-15,-39-13-16,27 13 0,-14 0 0,0-14 16,0 14-16,1 0 0,12 0 0,-13-13 15,1 13-15,-1 0 0,0 13 16</inkml:trace>
  <inkml:trace contextRef="#ctx0" brushRef="#br0" timeOffset="69237.77">4154 7660 0,'26'-14'31,"-12"14"-31,-1 0 0,0 0 0,0 0 16,1 0-16,-1 0 0</inkml:trace>
  <inkml:trace contextRef="#ctx0" brushRef="#br0" timeOffset="69411.87">4101 7898 0,'53'-13'16,"-40"-1"-16,14 14 0,-1-13 15,1 0-15,-14 13 0,13-13 16,1-1-16,26 1 0,-27 0 15,1 13-15</inkml:trace>
  <inkml:trace contextRef="#ctx0" brushRef="#br0" timeOffset="70551.85">5993 7435 0,'13'-27'16,"0"27"-16,0 0 0,1-13 0,12 13 15,-13 0 1,1 13-16,-1-13 0,0 14 0,0-14 15,-13 13-15,14-13 0,-14 13 0,0 13 16,0-12 0,-14-1-16,14 0 0,0 0 0,-13-13 15,13 14-15,0-1 16,0 0 0,13-13-16,1 13 15,-1-13-15,0 0 0,-13 14 16,40-1-1,-14 13 1,-26-13-16,0 1 16,-13-1-16,13 0 0,-13 0 0,-1 1 15,1-1-15,0 0 0,0 0 16,-14 1-16,14-14 0,-13 13 0,12-13 16,1 13-16,-13-13 0,12 13 15,1-13-15,0 0 0,0 0 16,0 0-16,-1 0 15</inkml:trace>
  <inkml:trace contextRef="#ctx0" brushRef="#br0" timeOffset="71524.89">6482 7422 0,'0'-14'16,"-13"14"0,0 27-1,0-1 1,13-13-16,0 14 0,-14-14 15,14 0-15,14 67 16,-14-67-16,26 27 16,-13-27-1,-13 0-15,14 0 0,-1-13 0,0 0 16,0 0-16,0 0 0,1 0 16,-1 0-16,0 0 0,0 0 0,1-13 15,-1 13-15,13-13 0,-26 0 16,0-1-16,14 14 0,-14-13 15,0 0-15,0 0 0,-14 0 16,1-1-16,13 1 0,-13 0 16,0 0-16,13-1 0,-14 1 0,1 0 15,0 13-15,0-13 0,-1 13 16,1-14-16,0 1 0,0 13 16,0 0-1,-1 0-15</inkml:trace>
  <inkml:trace contextRef="#ctx0" brushRef="#br0" timeOffset="73827">5424 2977 0,'0'26'16,"-13"-13"-1,13 0-15,0 1 0,-13-1 0,13 13 16,-14-12-16,1-1 0,13 13 0,-13-12 15,0-1-15,-1 0 0,14 0 16,-26 27-16,13-27 16,-1-13-16,14 13 0</inkml:trace>
  <inkml:trace contextRef="#ctx0" brushRef="#br0" timeOffset="73992.03">5252 3056 0</inkml:trace>
  <inkml:trace contextRef="#ctx0" brushRef="#br0" timeOffset="74130.71">5503 3162 0</inkml:trace>
  <inkml:trace contextRef="#ctx0" brushRef="#br0" timeOffset="75475.78">3294 4882 0,'-13'0'15,"0"13"-15,26 0 16,-13 13 0,13-26-16,0 0 0,1 14 15,-1-14-15,0 0 0,0 0 0,0 0 16,14-14-16,-1 14 0,-12-13 0,12 0 15,-13 0-15,14-14 16,-14 14-16,0 0 0,-13 0 16,0-1-16,0 1 0,0 0 0,-13 0 15,0-1-15,-27 14 16,0 0 0,27 14-16,0-14 0,-14 13 0,14 0 15,-13 27 1,13-27-16,13 14 15,0-14-15,13 0 0,13 0 16,-13-13-16,1 0 16,12 0-16,1 0 0,-14 0 0,13-13 0,1 13 15,12-13-15,-25 0 16,-1-1-16,0 1 0,0 13 16,-13-13-16,0 0 0,14-1 0,-28 1 15,14 0 1,-13 13-1,0 13-15,0-13 0,13 13 0,-14-13 16,14 27-16,0-14 16,0 0-16,14-13 15,-1 0-15,-13 14 0,13-14 0,0 0 16,1-14-16,-1 14 16,-13-26-1,-13 13-15,-1-1 16,1 1-16,0 13 0,0 0 15,-1-13-15,1 13 16,0 0-16,0 0 0,-1 0 16,1 0-16,40 13 31</inkml:trace>
  <inkml:trace contextRef="#ctx0" brushRef="#br0" timeOffset="76164.47">4101 4551 0,'13'-13'16,"-13"26"-1,0 0-15,0 14 16,0-14-16,0 13 0,0-13 16,-13 1-16,13 12 0,0-13 0,0 14 15,-13-14-15,13 0 0,0 27 16,-13-40-16,13 13 15,0 0-15,13 1 16,0-1 0,0-13-16,1 0 15,-1 0-15,0 0 16,0 0-16,0 0 0,1 0 0,-1-13 16,0 13-16,0 0 15,1 0-15,-1-14 16,0 14-16,0 0 15</inkml:trace>
  <inkml:trace contextRef="#ctx0" brushRef="#br0" timeOffset="76337.94">4128 4762 0,'26'-13'16,"0"0"0,-12 13-16,-1 0 0,-13-13 15,13 13-15,0 0 0</inkml:trace>
  <inkml:trace contextRef="#ctx0" brushRef="#br0" timeOffset="76548.91">4048 4577 0,'27'-13'0,"-14"13"16,53-26-1,-53 26-15,14 0 0,-14-14 16,0 14-16,14-13 15,-14 13-15,0 0 0</inkml:trace>
  <inkml:trace contextRef="#ctx0" brushRef="#br0" timeOffset="77344.57">4141 4564 0,'-13'27'16,"13"-1"-16,-14-13 16,14 0-16,0 1 0,0 12 0,0-13 15,-13 14-15,13-14 0,0 0 0,0 14 16,0-14-16,0 0 0,0 0 16,-13 1-16,13-1 0,0 0 15,13 0-15,-13 1 16,13-14-16,-13 13 0,14-13 15,-1 0-15,13 0 16,1-13 0,-14 13-16,0-14 0,0 14 15,1 0-15,-14-13 0,13 13 0</inkml:trace>
  <inkml:trace contextRef="#ctx0" brushRef="#br0" timeOffset="77517.92">4167 4749 0,'40'-13'15,"-27"13"-15,0-13 0,1 13 0,-1 0 16</inkml:trace>
  <inkml:trace contextRef="#ctx0" brushRef="#br0" timeOffset="77697.1">4167 4538 0,'27'0'0,"-54"0"0,67-14 16,-27 14-16,0 0 0,14-13 16,-14 13-16</inkml:trace>
  <inkml:trace contextRef="#ctx0" brushRef="#br0" timeOffset="78629.37">3175 4855 0,'-13'13'16,"0"-13"-16,13 14 0,26-41 0,-66 67 0,40-27 15,0 0-15,-13 0 0,13 1 16,13-1-16,-13 0 0,0 0 0,0 1 16,14-1-16,-1 0 0,13 0 15,-13-13 1,1 0-16,12 0 0,-13-13 0,1 0 15,12 0-15,-13-1 0,1 1 16,-14 0-16,13 0 0,-13-14 16,0 14-16,0-13 0,-13 12 0,13-12 15,-14 13-15,1-1 0,0 1 16,0 0-16,-1 13 0,-12-13 16,-1 26-16,14-13 0,0 13 15,13 0-15,-13 1 16,0-1-16,13 0 0,-14 0 0,14 27 15,0-27-15,0 0 0,14 1 16,-1-1-16,0 0 0,0 0 16,0 1-16,1-14 0,-1 0 0,13 0 15,1 0-15,-1-14 0,-12 14 16,12-13-16,-13 13 0,0-13 16,-13 0-16,0-1 0,14 1 0,-14 0 15,-14 0-15,1 0 0,13-1 16,-13 1-16,0 13 0,0-13 15,-1 13-15,1 0 0,0 13 0,-14 0 16,27 1-16,-13-1 16,0 0-16,0 13 0,13-12 0,0-1 15,0 0-15,0 0 0,26 14 16,-13-27-16,1 13 0,12-13 16,-13 0-16,40 0 15,-26-13-15,-14 13 0,13-13 0,1-1 16,-14 14-16,0-13 0,0 0 0,-13 0 15,14-1-15,-14 1 16,0 0-16,-14 0 0,14 0 0,-13-1 16,0 1-16,0 0 0,13 0 0,-27 13 15,14-14-15,0 14 0,0 0 16,-1 0-16,-12 0 16,26 14-16,0-1 15</inkml:trace>
  <inkml:trace contextRef="#ctx0" brushRef="#br0" timeOffset="79349.98">7422 2937 0,'-27'13'16,"27"0"-1,-13 1-15,0-1 0,13 0 0,-14 13 16,1 14-16,0-27 0,-14 27 16,27-27-16,-26 14 0,13-1 15,13-13-15,-13 1 0,13-1 0,-14-13 16</inkml:trace>
  <inkml:trace contextRef="#ctx0" brushRef="#br0" timeOffset="79490.05">7197 3056 0,'0'-27'16,"26"54"0</inkml:trace>
  <inkml:trace contextRef="#ctx0" brushRef="#br0" timeOffset="79607.58">7448 3149 0,'13'0'47</inkml:trace>
  <inkml:trace contextRef="#ctx0" brushRef="#br0" timeOffset="80114.44">9869 2897 0,'-27'27'16,"14"-1"0,13-13-16,-13 1 0,0 12 15,-14 0-15,14-12 0,0 12 16,0-13-16,13 1 0,-14-14 16,1 13-16</inkml:trace>
  <inkml:trace contextRef="#ctx0" brushRef="#br0" timeOffset="80232.63">9684 3003 0,'0'0'16</inkml:trace>
  <inkml:trace contextRef="#ctx0" brushRef="#br0" timeOffset="80364.78">9895 3135 0</inkml:trace>
  <inkml:trace contextRef="#ctx0" brushRef="#br0" timeOffset="80949.44">12250 2937 0,'-53'53'16,"40"-27"-16,-27 40 15,40-52-15,-13 12 0,0-13 16,-14 27-16,27-27 0,-13 0 16</inkml:trace>
  <inkml:trace contextRef="#ctx0" brushRef="#br0" timeOffset="81093.16">12065 3029 0,'-13'-13'32,"13"40"-17</inkml:trace>
  <inkml:trace contextRef="#ctx0" brushRef="#br0" timeOffset="81191.37">12277 3201 0</inkml:trace>
  <inkml:trace contextRef="#ctx0" brushRef="#br0" timeOffset="81815.6">14512 2924 0,'-39'66'16,"25"-53"-16,-12 27 0,13-27 15,0 13-15,-1 1 0,1-1 0,0-12 16,13-1-16,-13 0 0,-1 0 16</inkml:trace>
  <inkml:trace contextRef="#ctx0" brushRef="#br0" timeOffset="82041.71">14499 3175 0</inkml:trace>
  <inkml:trace contextRef="#ctx0" brushRef="#br0" timeOffset="82574.16">16973 2963 0,'-40'66'16,"27"-52"-16,-13 25 15,-1 1-15,14-13 16,0-14-16,-27 40 16,27-53-16</inkml:trace>
  <inkml:trace contextRef="#ctx0" brushRef="#br0" timeOffset="82691.75">16761 3096 0,'0'0'16</inkml:trace>
  <inkml:trace contextRef="#ctx0" brushRef="#br0" timeOffset="82821.88">17052 3228 0,'-13'-13'16</inkml:trace>
  <inkml:trace contextRef="#ctx0" brushRef="#br0" timeOffset="86420.39">11748 3678 0,'13'0'47,"0"13"-47,0 0 15,-13 0-15,0 1 0,13-1 16,1 27-1,-1-1-15,-13-26 0,0 14 16,13-1-16,-13-12 0,0 12 16,0 1-16,0-14 0,0 13 0,-13 1 15,13-1-15,0 1 0,-13-1 0,13-13 16,-14 14-16,1-14 0,0 13 16,0-12-16,0 12 0,-1-13 0,1 14 15,-40 12-15,27-25 16,12-1-16,-12 13 0,0-12 0,12-1 15,-12 0-15,-1 0 0,1-13 16</inkml:trace>
  <inkml:trace contextRef="#ctx0" brushRef="#br0" timeOffset="88710.26">20611 3876 0,'13'-13'16,"1"13"-16,-1 0 15,0 0 1,0 13-16,0 14 15,-26-14 1,13 0-16,-13 14 0,-40 12 16,27-12-16,12-14 0,-12 0 0,13 0 15,-1 1-15,1 12 0,0-26 16,0 13-16,0 1 16,13-1-1,0 0-15,13-13 16,0 0-16,0 0 0,14 0 15,-14 0-15,13 0 16,-12-13-16,-1 13 0,13 0 0,-12-13 16,-1 13-16,0-14 15,0 14-15,0-13 0</inkml:trace>
  <inkml:trace contextRef="#ctx0" brushRef="#br0" timeOffset="89025.87">20862 3889 0,'-13'0'0,"0"0"0,13 14 16,-13-1-16,-1 27 15,14-27 1,0 0-16,0 0 0,0 0 16,14-13-16,-1 14 0,0-14 15,0 0-15,1 13 0,-1-26 16,0 13-16,0 0 0,1 0 0,-1-14 15,0 14-15,-13-13 16,13 13-16,-13-13 16,0 0-16,-13 0 15,0-1-15,0 14 16,13-13-16,-14 13 16,1 0-16,13-13 15,13 0 1</inkml:trace>
  <inkml:trace contextRef="#ctx0" brushRef="#br0" timeOffset="89292.2">21061 3903 0,'13'26'15,"-13"-13"-15,13 1 0,14-1 16,-14 0-16,13-13 15,1 0-15,-1 0 16,1-13-16,-14 13 0,13-13 16,-12 13-16,-1-14 0,-13 1 15,13 13-15,-13-13 0,0 0 16,-13-1-16,0 1 16,-14 13-16,14 0 15,-13-13-15,-14 13 0,27 0 0,-1 0 16,-38 13-16,38-13 15,-39 0-15</inkml:trace>
  <inkml:trace contextRef="#ctx0" brushRef="#br0" timeOffset="101443.93">21497 3836 0,'-13'-13'0,"13"0"15,-13 0 1,0 13-1,13-13-15,-14-1 0,1 14 16,13-13-16,-13 13 0,0-13 0,0 0 16,-27-14-16,27 14 15,-14 13-15,-39-40 0,40 27 16,-41-13-16,28 12 0,12 1 16,1 0-16,-1 0 15,-26-1-15,27 14 0,-14 0 0,14 0 16,-1-13-16,-26 26 15,27-13-15,-14 14 0,1-14 0,-1 13 16,0 0-16,-39 27 0,39-27 16,-26 27-16,26-14 15,14 1-15,-27 26 16,13-1-16,14-12 0,13-13 16,-14 26-16,27-27 0,0 0 15,-13-12-15,13 12 0,26 40 16,-12-39-1,-1-1-15,13 1 0,1-1 0,12 1 16,-12-14-16,52 26 0,1 1 16,-1-13-1,-39-14-15,13 0 0,-14-13 0,1 13 16,-14-13-16,1 14 0,39-14 16,-39 0-16,-1 0 0,14-14 15,-14 14-15,14 0 0,0-13 16,-1 0-16,-12 13 0,-1-13 0,1 13 15,12-27-15,1 14 16,0 0-16,-27-1 0,0 14 16,14-13-16,-14 13 0,0-13 15,0 0-15,0 0 0,1-1 16,12 1-16,-13 0 16,-13 0-16,14 13 0,-1-14 0,-13 1 15,13 0-15,-13 0 0,13 0 16,-13-1-16,0 1 0,14 0 15,-14 0-15,0-14 16,0 14-16,0-14 0,0 14 0,0 0 16,0 0-16,0 0 0,-14-1 0,14 1 15,-13-13-15,0-1 16,-14 1-16,27 12 0,-53-25 16,40 26-16,0-1 15,0 1-15,0 0 0,-14 0 16,-13-1-16,14 14 15,13 0-15,-14 0 16,14 0-16,0 0 0,-14 0 16</inkml:trace>
  <inkml:trace contextRef="#ctx0" brushRef="#br0" timeOffset="102294.09">21312 4591 0,'13'-14'16,"14"28"-16,-14-1 0,0 0 15,14-13-15,-1 26 0,14-12 16,-14-1-16,14 0 0,-13 14 0,52-1 16,-39-13-16,-1 0 0,-12 1 15,12-1-15,-12 0 16,-14 0-16,14-13 0,-14 14 0,13-1 16,-12-13-16,-1 13 0,0-13 31,0-13-16</inkml:trace>
  <inkml:trace contextRef="#ctx0" brushRef="#br0" timeOffset="102544.17">21855 4657 0,'53'13'0,"-1"27"16,-38-27-1,-1 0-15,13 27 0,1-14 16,-14-13-16,-13 1 16,0 12-16,0-13 0,-26 27 15,12-14-15,-12 1 0,-14-14 0,1 27 16,-1-14-16,13-12 0,-12 12 15,-1 0-15,-13 1 0</inkml:trace>
  <inkml:trace contextRef="#ctx0" brushRef="#br0" timeOffset="105284.79">22397 5106 0,'-13'-13'0,"26"0"16,13 13-1,-12 13-15,-1-13 16,0 0-16,0 13 0,14 1 0,-14-1 16,0 0-16,-13 0 15,0 1-15,0-1 0,0 0 0,-13 0 16,0 1-16,13-1 0,-27 13 16,14-13-16,-13 14 15,12-27-15,1 13 16,0 0-16,0-13 15,13 14-15,-13-14 16,26 13 0,13-13-1,-13 0-15,14 0 16,-14 0-16,0 0 0,14-13 16,-1 13-16,1 0 0,-14-14 0,0 14 15,0 0-15,14-13 16,-14 13-16,0-13 0,1 13 0,12-13 15</inkml:trace>
  <inkml:trace contextRef="#ctx0" brushRef="#br0" timeOffset="105625.03">22781 5133 0,'-14'-13'0,"28"26"15,-41-26-15,14 26 16,0-13-16,13 13 0,-14-13 15,14 27-15,0-14 0,0 0 16,0 0-16,0 14 16,14-14-16,-1 0 15,-13 0-15,26 1 0,-12-14 16,-1 13-16,0-13 0,0 0 16,1 0-16,-1 0 0,0 0 0,0-13 15,0 13-15,-13-14 16,0 1-16,0-13 15,0 13-15,-13-14 0,0 14 16,0 0-16,13-1 16,-13 14-16,13-13 0,-14 13 0,1 0 15,0 0-15,0 0 16</inkml:trace>
  <inkml:trace contextRef="#ctx0" brushRef="#br0" timeOffset="105927.74">22979 5159 0,'0'53'0,"13"-39"15,-13-1-15,0 0 0,14-13 0,-1 13 16,-13 0-16,13-13 0,13 14 15,-12-14-15,-1 0 0,0 13 16,0-26-16,1 13 0,-1 0 0,13-14 16,-12 14-16,-14-13 15,13 13-15,-13-13 0,0-13 16,0 12-16,0 1 0,-13 0 16,13 0-16,-14-1 0,14 1 15,-13 13-15,13-13 0,-13 13 0,0-13 16,-1 13-16,1 0 0,0 0 15,-14 0-15,-12 13 16,26 0-16</inkml:trace>
  <inkml:trace contextRef="#ctx0" brushRef="#br0" timeOffset="107044.55">22662 5583 0,'224'13'16,"-184"-13"-16,13 0 0,0 0 16,0 0-16,-13-13 15,13 13-15,-14 0 0,14-14 0,-13 1 0,52 0 16,-65 13-16,13-13 15,-14 0-15,-13 13 0,40-27 16,-40 14-16,14 0 0,-14-1 0,0 1 16,1 0-16,-1 0 0,0 0 15,-13-1-15,0-12 0,13 13 16,-26-40-16,13 26 16,-26-12-16,12 25 0,1-12 15,0-1-15,-14 1 0,14 13 16,-13-14-16,-14-12 0,14 12 0,-1 14 15,1-14-15,-1 1 0,-13 13 16,14-1-16,0-12 0,-14 13 16,13 0-16,-12-14 0,-1 14 0,0 0 15,1 13-15,-1-14 0,0 1 16,-13 0-16,14 13 0,-1-13 0,0 13 16,1 0-16,-1 0 0,13 0 0,-12 0 15,-14 0-15,-13 13 16,26 0-16,14-13 0,-14 13 0,-26 14 15,39-14-15,-26 14 16,27-14-16,-1 0 16,-12 27-16,12-14 0,1-13 15,13 14-15,-1-14 0,1 27 16,0-27-16,0 13 0,-1-12 16,14 25-16,-13-12 0,13-14 15,0 0-15,0 14 0,0 12 16,0-25-16,0 12 0,13-13 15,-13 1-15,27 25 16,-14 1-16,27-14 0,-27-12 16,0-1-16,14 0 15,-14 0-15,13 1 0,27-1 16,-26 0-16,-1-13 0,-12 0 0,12 13 16,0-13-16,-12 0 0,-1 0 15,13 13-15,-12-13 0,-1 0 0,0 0 16,0 0-16,0 0 15,1 0-15,-1 0 0,0 0 16,0 0-16,1 0 31,-1 0-15,-13 14 0,13-14 15,0 0 31,-13-14 95</inkml:trace>
  <inkml:trace contextRef="#ctx0" brushRef="#br0" timeOffset="124195.65">8797 4710 0,'0'-14'16,"40"-12"-1,-27 26-15,1 0 0,-1 0 0,0 0 16,0 0-16,-13 13 16,13-13-16,-13 13 0,14-13 0,-14 14 15,-14 25-15,14-26 16,-26 27-1,-40 26-15,53-52 16,-1-1-16,1 0 0,-13 0 16,12 0-1,1 1-15,40-14 32,-1 0-32,1-14 15,-14 14-15,13 0 16,-12 0-16,65-26 15,-66 26-15,0 0 16,27-13-16,-27 13 0,1 0 16,-1 0-16,0-13 0</inkml:trace>
  <inkml:trace contextRef="#ctx0" brushRef="#br0" timeOffset="124603.65">9247 4710 0,'-39'-14'0,"25"28"16,14-1-1,-26 13 1,26-13-16,0 1 0,0-1 15,0 0-15,13 0 0,-13 1 16,13-1-16,1-13 0,12 26 16,-13-26-16,0 0 0,14 14 0,-1-14 15,14-14 1,-14 1 0,-26 0-16,14 0 0,-14-1 15,-14 14 1,1-53-16,0 40 0,0 0 15,0 0-15,13 0 16,-14 13-16,-12-14 0,13 1 16,-14 26-1,14-13-15,0 14 16</inkml:trace>
  <inkml:trace contextRef="#ctx0" brushRef="#br0" timeOffset="127640.8">11311 4829 0,'13'-14'15,"0"1"-15,1 13 16,-1 0-16,13 0 16,-12 13-16,-1 1 15,-13-1 1,0 0-16,0 0 0,0 1 15,-13-1-15,-14 13 16,27-13-16,-13-13 16,13 14-16,-13-1 15,26-13 1,0 0 0,0 0-16,1 0 0,-1 0 15,13 13 1,-26 0-1,0 1 1,-13-1-16,13 0 0,-40 14 16,27-27-1,-13 13-15,12-13 0,1 13 0,0-13 16,13 13-16,-13-13 0,-1 13 16,1-13-16,0 0 15</inkml:trace>
  <inkml:trace contextRef="#ctx0" brushRef="#br0" timeOffset="127985.63">11483 4934 0,'0'-13'0,"0"40"15,0-14 1,0 0-16,13 0 15,0 1-15,-13-1 0,14-13 16,-1 13-16,0-13 0,0 0 16,14 13-16,-14-13 0,13-13 15,-12 13-15,-1 0 0,13-13 0,-12 0 16,-1 13-16,0-27 16,-13 14-16,0 0 0,-26-40 31,12 40-31,-25-1 15,12 1-15,14 0 0,0 13 16,-14 0-16,14 0 0,-13 0 0,12 13 0,-12-13 16,13 13-16,-1-13 0,1 14 15,0-14-15,0 13 0,0 0 16,-1 0-16,14 0 0,-13-13 0,13 14 16</inkml:trace>
  <inkml:trace contextRef="#ctx0" brushRef="#br0" timeOffset="130693.64">13772 4736 0,'-27'26'32,"14"-12"-32,0-1 15,-14 0-15,14 0 16,-14 1-16,14-1 0,-26 13 15,25-12 1,1-14-16,13 13 0,0 0 16,13-13-1,-13 13-15,14-13 0,-1 0 16,26 0-16,-12 0 16,-14 13-16,53-26 0,-39 13 15,-1 0-15,27 0 0,-40 0 16,14-13-16,13 13 15,-14 0-15,-26-13 0,13 13 16,-13-13 0</inkml:trace>
  <inkml:trace contextRef="#ctx0" brushRef="#br0" timeOffset="130924.2">13824 4736 0,'-13'0'0,"0"0"16,13 13-16,0 0 15,-13 1-15,13 12 16,0 1-16,0-14 0,-13 0 16,13 14-16,0-14 0,-14 0 15,14 27-15,0-27 0,0 0 0,0 0 16,0 1-16,14-1 15,-1-13 1</inkml:trace>
  <inkml:trace contextRef="#ctx0" brushRef="#br0" timeOffset="131225.85">14102 4776 0,'-26'26'0,"26"-13"15,0 1-15,-13-1 0,26 0 16,-13 0-16,13 1 16,0 12-16,1-26 0,-1 0 15,13 13-15,-13-13 0,27 0 16,-13-13-16,12 0 16,-12 0-16,-27-1 15,13 1-15,-13 0 16,0-14-16,-26-12 15,12 25-15,1 1 0,0 13 0,-14-13 16,1 0-16,-1 13 0,14 0 16,-13 0-16,-1 0 0,1 0 15,13 13-15,-14-13 0,1 13 16,26 0-16</inkml:trace>
  <inkml:trace contextRef="#ctx0" brushRef="#br0" timeOffset="136293.2">16073 4815 0,'-13'-13'16,"-13"26"-16,13-13 0,13 14 15,-14-1-15,1 0 0,13 0 0,-13 1 16,0 12-16,-1 0 16,14-12-16,-13 12 0,13-13 0,0 14 15,0-14-15,0 0 0,13 1 16,-13-1-16,0 0 0,14 0 16,12 14-16,-26-14 0,13-13 15,1 13-15,-1-13 0,0 0 0,0 0 16,14 0-1,-27-13-15,13 0 0,-13-1 16,0 1-16,0 0 16,0 0-16,-13 13 15,13-13-15,-14-1 0,1 14 0,13-13 16,-13 13-16,0-13 0,0 13 16,-1 0-16,1 0 15,0 0 1,0 0-16</inkml:trace>
  <inkml:trace contextRef="#ctx0" brushRef="#br0" timeOffset="137351.41">16431 4895 0,'0'26'16,"-14"14"-1,14-27-15,0 0 0,0 1 16,0 12-16,14-13 0,-14 1 0,0-1 15,13 0-15,0 0 16,0-13-16,-13 13 0,40 1 16,-14-14-16,1 0 0,-14 0 15,0 0-15,14-14 0,-14 14 16,0-13-16,1 13 0,-1-13 0,0 0 16,-13 0-16,0-1 0,13 1 0,-13 0 15,0 0-15,-13-1 16,13 1-16,-13 0 0,13 0 0,-13-1 15,-1 1-15,-12 0 0,13 0 0,-1 0 16,-12 13-16,13-14 0,-1 14 16,1-13-16,-13 13 0,13 0 0,-1 0 15,1 0-15,0 13 0,0-13 0,-1 14 16</inkml:trace>
  <inkml:trace contextRef="#ctx0" brushRef="#br0" timeOffset="139034.92">18428 4776 0,'27'-14'0,"-14"14"16,0 0-16,14 14 15,-14-14-15,0 13 0,0-13 16,1 13-16,-1 0 0,-13 14 16,-13-14-1,13 14-15,-14-27 16,1 13-16,13 0 0,-13-13 16,13 13-16,0 0 15,26-13 1,-12 0-1,-1 14-15,0-14 0,13 13 16,-26 0 0,0 0-16,0 1 15,-13 12 1,0-26-16,0 13 0,-14 1 0,1-1 16,-1 0-16,14-13 15,0 0-15,0 0 0,-1 0 16,1 0-16</inkml:trace>
  <inkml:trace contextRef="#ctx0" brushRef="#br0" timeOffset="139353.51">18746 4802 0,'-14'40'15,"14"13"1,14-27 0,12 1-1,-13-14-15,1-13 0,-1 0 0,40 13 16,-40-26 0,0 13-16,0-40 15,-13 27 1,0-13-16,-13 12 0,13 1 0,-13 0 15,-13 0-15,12-1 0,1 1 16,0 0-16,-14 0 0,14 13 0,0-14 16,-14 14-16,14 0 0,0 0 0,-13 0 15,12 0-15,1 14 0,0-14 16,0 0-16,-1 0 0</inkml:trace>
  <inkml:trace contextRef="#ctx0" brushRef="#br0" timeOffset="140624.85">4471 4696 0,'-13'27'16,"13"-14"-16,-13 13 16,13-12-16,0 12 15,-13-13-15,13 1 0,0-1 0,0 0 16,-13 14-16,13-14 0,0 0 16,-14 0-16,14 0 0</inkml:trace>
  <inkml:trace contextRef="#ctx0" brushRef="#br0" timeOffset="140830.59">4326 4829 0,'0'-14'0,"26"28"31,-26-1-15,14-13-16,-1 13 0,0 0 15,0-13-15,1 14 0,-1-14 16,0 13-16,13 0 0,-12-13 16,-1 0-16,0 0 0,0 0 15</inkml:trace>
  <inkml:trace contextRef="#ctx0" brushRef="#br0" timeOffset="141332.78">4643 4630 0,'-13'40'31,"13"-27"-31,0 0 16,0 14-16,13-14 0,-13 13 0,0 1 15,14-1-15,-14 1 0,0 13 0,13-14 16,-13 0-16,13 1 0,-13-14 16,13 14-16,-13-14 0,14 0 0,-14 0 15,0 1-15,0-1 0,0 0 16,-14-26 15,1 0-31,13-1 0,-13 1 16,13-13-16,0 12 0,-13-12 0,13 13 15,0-14-15,0 14 0,13 0 16,-13 0-16,0-1 0,13 1 0,0 0 16,1 13-1,-1 13 1,-13 0-1,0 1-15,0-1 16,0 0 0,0 0-16</inkml:trace>
  <inkml:trace contextRef="#ctx0" brushRef="#br0" timeOffset="141658.16">4829 4882 0,'26'-40'0,"-26"27"16,0-1-1,0 1 1,0 40 31,0-14-47,0 13 31,13-12-31,-13-1 16,14-13-16,-1 0 15,0 0 1,0 0-1</inkml:trace>
  <inkml:trace contextRef="#ctx0" brushRef="#br0" timeOffset="142092.76">5040 4815 0,'-26'14'16,"26"-1"0,0 13-1,0-12 1,13-1 0,0-13-1,1 0-15,-1 0 16,-13-13-16,13 13 0,-13-14 15,13 14-15,0-26 16,-13 13-16,0-1 0,0 1 0,0 0 0,0-14 16,0 14-16,0-13 0,0 13 15,0-1-15,0 1 0,0 0 16,0 0-16,0-1 16,0 41 15,0 13-31,0-27 15,0 0-15,0 13 0,0-12 16,0-1-16,0 0 0,0 0 16,14 1-16,-14-1 0,0 0 0,0 0 15,13-13-15</inkml:trace>
  <inkml:trace contextRef="#ctx0" brushRef="#br0" timeOffset="142238.39">5120 4855 0,'0'-26'0,"0"12"16,13 14-16,0-13 0,0 13 15,1-13-15,-1 0 0,13 13 16,-12 0-16,-1-14 0,0 14 16</inkml:trace>
  <inkml:trace contextRef="#ctx0" brushRef="#br0" timeOffset="142752.42">5411 4749 0,'-13'0'15,"-1"0"16,1 13-15,13 1-16,-13-14 16,13 13-1,13-13 17,0 0-17,1 0 1,-1 0-1,0 13 1,0 0 0,0-13-1,14-13 1,-27 0-16,13 13 16,-13-13-16,13-1 0,-13 1 15,0 0-15,14 0 0,-14 0 0,0-1 16,0 1-16,13 0 0,-26 39 47,13-12-47,0 25 15,0-26 1,0 1-16,0 12 0,0-13 0,0 14 16</inkml:trace>
  <inkml:trace contextRef="#ctx0" brushRef="#br0" timeOffset="143644.97">2540 3982 0,'13'0'15,"0"-13"1,40 0 0,-26-1-16,39 1 15,-53 0 1,0 13-16,1 0 0,12-13 16,-13 13-16,1 0 0,-1-14 15</inkml:trace>
  <inkml:trace contextRef="#ctx0" brushRef="#br0" timeOffset="144135.54">2619 3784 0,'-13'0'0,"40"13"31,-14 0-31,0-13 0,0 0 16,14 13-16,-14-13 0,13 0 0,1 13 15,-1-13-15,1 0 0,-14 14 0,14-14 16,-1 0-16,0 13 0,1-13 15,-14 0-15,27 13 0,-27-13 16,0 0-16,0 13 0,1-13 16,-1 14-16,-13-1 0,0 0 15,13-13-15,-26 27 0,0-1 0,-1 14 16,1-14-16,-13 1 0,-27 39 16,26-27-16,-12 1 15,-27 39-15</inkml:trace>
  <inkml:trace contextRef="#ctx0" brushRef="#br0" timeOffset="144964.23">19897 5027 0,'66'-26'15,"-40"12"-15,-13 14 16,14 0-16,-14 0 0,14 0 0,-14 0 0,0-13 16,0 13-16,1 13 0,-1-13 15</inkml:trace>
  <inkml:trace contextRef="#ctx0" brushRef="#br0" timeOffset="145112.89">19963 5186 0,'-13'13'16,"39"-13"-16,-13 0 15,0-13-15,1 13 0,25 0 16,-12-13-16,-1 13 16,-12 0-16</inkml:trace>
  <inkml:trace contextRef="#ctx0" brushRef="#br0" timeOffset="145727.71">20545 4921 0,'26'-13'0,"1"26"16,-14 0 0,-13 1-16,0-1 0,-40 40 31,27-40-31,0 14 16,0-14-16,-1 0 0,14 0 15,-13-13-15,13 13 0,-13-13 16,13 14-16,13-14 15,0 0 1,14 0-16,13-14 16,-1 1-16,-12 0 0,-1 0 15,-13 0-15,1-1 0,12 14 16,-13-13-16,-13 0 0,14 13 0,-1-13 16,0-1-1,-26 41 32,26-14-31,0 0-1,0-13-15,1 0 0,-1 0 16,0 0-16,0 0 16,1 0-16,-1-13 15,-13 0-15,0 0 16,0-1-16,-13 1 15,13 0-15,-14 13 0,1-13 16,0 13-16,13-14 0,-13 14 16,-1 0-16</inkml:trace>
  <inkml:trace contextRef="#ctx0" brushRef="#br0" timeOffset="145975.84">20929 4934 0,'0'40'15,"13"-40"-15,0 13 16,0 1 0,0-14-16,1 0 0,-1-14 15,0-12 16,-13 13-31,13-1 0,-13 1 16,-13 0 15,-27 39-15,27-12-16</inkml:trace>
  <inkml:trace contextRef="#ctx0" brushRef="#br0" timeOffset="149691.78">14248 5278 0,'383'106'0,"-303"-106"0,-14 14 16,13-1-16,1 0 0,65 0 15,-65 0-15,-1-13 0,-13 0 16,14 0-16,-28 14 0,81-28 16,-80 14-16,13 0 0,-13 0 15,0 0-15,0 0 0,-14-13 16,14 13-16,13 0 0,-52 0 16,12 0-16,0 0 0,-12-13 15,-1 13-15,0 0 0,0 0 16,1 0-16,-1 0 15,-13 13 1</inkml:trace>
  <inkml:trace contextRef="#ctx0" brushRef="#br0" timeOffset="152996.72">20320 3400 0,'291'-40'16,"-225"40"-16,-13 0 0,79-13 15,-26 13-15,-40 0 16,-13-13-16,40 13 0,-67 0 15,14 0-15,39 13 16,-52-13-16,-1 0 0,-12 0 16,-1 0-16,26 0 0,-25 0 15,-1 0-15,0 0 16,0 0-16,1 13 0,-1-13 16,-13 13-16,13-13 15,-13 27-15,13-1 16,-13 1-16,14-1 0,-14 1 15,0-1-15,0 1 0,13 12 16,-13-12-16,13 12 0,-13 1 16,0 40-16,13 12 0,0 1 15,-13-54-15,14 14 16,-14 0-16,13 0 0,0 13 16,0 14-16,1-14 0,-1-26 15,0-1-15,-13 14 0,13 0 16,1 40-16,-14-54 0,0 1 15,13 0-15,-13-1 0,13 54 16,-13-53-16,0-14 16,0 27-16,0-26 0,0-1 0,-13 0 15,13 1-15,0-1 0,0 14 16,0-13-16,-13-14 0,13 0 16,0 40-1,0-40-15,0 0 0,-14 1 16,14-1-16,0 0 15,0 0 1,0 1-16,0-1 16,0 0 15,-26-26 0,13 13-31,-14 0 16,1 13-16,-1-13 0,-12 0 15,-14 13-15,0-13 0,-27 13 0,14-13 16,0 14-16,0-14 0,13 13 16,-53-13-16,53 0 0,0 0 15,0 0-15,0 0 0,14 0 16,-54-27-16,40 14 16,14-13-16,-1-1 0,0-12 0</inkml:trace>
  <inkml:trace contextRef="#ctx0" brushRef="#br0" timeOffset="154058.62">20452 3347 0,'-211'26'16,"171"-12"-16,-145 25 15,145-25-15,14-1 16,12-13-16,-12 13 15,13 0-15,-14 0 0,1 14 16,-1 13-16,14-27 16,-13 53-1,12-40-15,-12 41 0,13 12 16,13-39-16,-14 13 0,14-14 16,0 54-16,0 0 15,0 12-15,0-52 0,14 0 16,-14 13-16,13-13 15,0 66-15,-13-13 16,13-66-16,-13 52 0,14 14 16,-14-66-16,13 53 15,-13-54-15,0 1 16,0 26-16,0-39 0,13-1 16,-13 27-16,0-27 15,0 1-15,0-14 0,0 14 0,13 12 16,-13-26-16,0 14 0,0-14 0,0 14 15,0-14 1,0 0-16,0 0 0,0 0 16,0 1-16,0 12 15,0-13 1,0 1-16,0-1 16,0 0-16,0 0 31,14 1-16,-1-14-15,0 0 0,13 0 16,27 13 0,-26-13-16,12 13 0,1-13 15,92 13-15,-26-13 16,-66 0-16,-14 0 0,14 0 16,26 0-16,-13 0 15,-40 0-15,1-13 0,12 13 0,-13 0 16,1 0-16,-1 13 15,0-13-15,0 0 0</inkml:trace>
  <inkml:trace contextRef="#ctx0" brushRef="#br0" timeOffset="165003.82">4617 4405 0,'-13'-13'15,"13"0"1,-13 0-1,-1 13 1,1-14-16,-13 1 16,12 13-1,1 0-15,0-13 0,-14 13 0,1 0 16,-14-13-16,1 13 0,12 0 16,-52 0-16,39 13 15,-13-13-15,-26 13 0,26-13 16,-26 27-16,39-27 0,0 13 15,14 0-15,-1-13 0,1 13 16,-1 1-16,-39-1 16,26 13-16,14 1 0,0-14 15,-1 13-15,1 1 0,12-14 16,-25 40-16,25-27 0,1 14 16,0-13-16,0-1 0,13 0 0,-13 1 15,13-1-15,-14 1 0,14-1 16,0 1-16,0-1 0,0 1 0,0 26 15,0-27-15,0 1 0,0-1 16,0 0-16,0 1 0,14-14 16,-1 40-16,0-40 15,0 27-15,0-14 0,1-12 16,-1 12-16,0-13 0,0 1 0,27 25 16,-27-25-16,14-1 0,-14 0 15,13 0-15,14 0 0,-13 1 16,12 12-16,-12-26 0,12 13 15,-12-13-15,52 14 16,-52-1-16,12-13 0,-12 0 0,13 0 16,-14 0-16,14 0 0,-1 0 15,54 0-15,-53 0 16,26 0-16,-26 0 0,-1 0 0,-12 0 16,12 0-16,28 0 15,-28 0-15,1 0 0,0-13 0,-14 13 16,14-14-16,-1 14 0,14 0 15,-26-13-15,12 13 0,1-13 0,40 0 16,-41-1-16,-12 14 16,26-13-16,-14 0 0,1 0 15,-14 0-15,41-14 16,-14 14-16,-40 0 16,13-1-16,-13 1 0,14 0 0,-14 0 15,0-1-15,14 1 0,-14 0 16,0 0-16,0 0 0,1-1 0,25-25 15,-25 25 1,-1 1-16,0 0 0,0 0 16,1-1-16,-1-12 0,0 13 15,-13 0-15,13-1 0,-13 1 0,13 0 16,-13 0-16,14-1 16,-14 1-16,0 0 0,13 13 0,-13-27 15,0 14-15,13 0 16,-13 0-16,0 0 15,0-1-15,0 1 0,0 0 16,0 0-16,0-1 16,0 1-16,0-13 15,0 12-15,0-12 0,-13 13 16,13 0-16,0-14 16,-13 14-16,13 0 0,-27-53 31,14 52-31,0 1 0,0 0 0,-1 0 15,1-1-15,-13 1 0,-1-13 16,-26-14 0,40 27-16,-13 0 0,-1-1 15,-26-12-15,27 13 0,-1-14 16,1 14-16,-1 0 0,-12-1 16,12 1-16,-12 0 0,12 0 15,-26-14-15,13 27 0,-26-13 16,-13 0-16,0 0 15,39 13-15,-13 0 16,0 0-16,-53 13 0,53-13 16,-79 26-16,66-26 15,13 14-15,0-1 0,13 0 16,-39 13-16,13 1 16,39-14-16,1 14 0,26-14 15</inkml:trace>
  <inkml:trace contextRef="#ctx0" brushRef="#br0" timeOffset="168539.19">5252 3096 0</inkml:trace>
  <inkml:trace contextRef="#ctx0" brushRef="#br0" timeOffset="168993.59">5503 3215 0</inkml:trace>
  <inkml:trace contextRef="#ctx0" brushRef="#br0" timeOffset="171573.86">6601 3294 0,'-26'0'47,"13"0"-47,-1 13 16,1-13 0,-13 14-16,13-14 15,-1 0-15,1 0 0,0 13 0,0-13 16,-14 0-16,1 0 15,12 0-15,1 13 0,0-13 0,-13 0 16,-1 0-16,1 0 16,12 0-16,1 0 0,-13 0 15,12 0-15,1 0 0,0 0 0,0 0 0,0 0 16,-1 0-16,1 0 0,0 0 16,0 0-16,-1 0 15,1 0 1,0 0-1,0 13 1,39-13 234,-13 0-234</inkml:trace>
  <inkml:trace contextRef="#ctx0" brushRef="#br0" timeOffset="179352.46">2725 3942 0,'40'0'31,"-14"0"-15,-12 0 0,-14-13-16,13 13 0,0 0 15,0 0-15,1 0 0</inkml:trace>
  <inkml:trace contextRef="#ctx0" brushRef="#br0" timeOffset="179775.52">2725 3797 0,'-13'0'16,"39"13"-1,-12-13 1,25 13-16,-25-13 16,-1 13-16,13-13 15,1 0-15,-14 14 0,13-14 16,-12 0-16,-14 13 0,13-13 15,0 0-15,0 13 16,1-13 0,-14 13-16,0 1 15,0-1-15,0 0 16,-14 0-16,1 14 16,0 12-16,13-25 0,-13 12 15,-1-13-15,1 14 0,0 13 16,0-27-16</inkml:trace>
  <inkml:trace contextRef="#ctx0" brushRef="#br0" timeOffset="188526.62">21616 3929 0,'27'0'15,"-14"0"-15,0 0 16,1-13-16,12 13 16,-13 0-16,1 0 15,-1 0 1,0 0-16</inkml:trace>
  <inkml:trace contextRef="#ctx0" brushRef="#br0" timeOffset="188724.32">21616 4022 0,'14'13'16,"-1"-13"-16,27-13 15,-27 13-15,0 0 16</inkml:trace>
  <inkml:trace contextRef="#ctx0" brushRef="#br0" timeOffset="189428.76">21868 3836 0,'40'14'0,"-40"-1"16,0 0-16,0 0 16,-14 1-16,14-1 0,-13 0 15,0-13-15,13 13 0,-13 1 0,-1-1 16,14 0-16,-13 0 16,13 0-1,0 1 1,13-14-16,14-14 15,-14 14-15,0-13 0,1 13 16,-1-13-16,0 0 0,0 13 0,0-13 16,1-1-16,-1 14 0,0-13 15,-13 0-15,13 13 0,-13-13 16,-13 26 31,26 0-32,1-13 17,-1 0-32,0 0 15,-13-13-15,13 13 16,-13-13 0,13-14-1,-13 14 1,0 0-1</inkml:trace>
  <inkml:trace contextRef="#ctx0" brushRef="#br0" timeOffset="189620.74">22119 3863 0,'0'13'0,"0"0"0,27-26 47,-27 0-47,13 0 16,-13-1-1,-13 28 17</inkml:trace>
  <inkml:trace contextRef="#ctx0" brushRef="#br0" timeOffset="190068.5">21894 4114 0,'106'-39'0,"-93"25"0,14 1 0,-1 0 16,-13 0-16,27-14 15,-27 14-15,1 0 0,12-14 0,-13 14 16,1-27-16,-1 27 0,0-13 16,-13 12-16,13-38 15,-13 25-15,0 1 0,0-1 16,0 1-16,-13-14 0,0 14 16,-14-1-16,14 14 0,-13-14 15,-1 14-15,14 0 0,-14 13 16,1 0-16,-14 0 0,1 0 15,-1 13-15,0 0 0,1 1 0,-14 12 16,13 1-16,0 12 0,1 1 16,-1-14-16,27 1 0,-27 39 15,27-40-15,13 1 0,-13-14 16,13 14-16,13 12 0,-13-25 16,13 12-16,0-13 0,0 0 0,1 1 15,12 12-15,1-26 16,-14 13-16,0-13 0,0 0 0,1 14 15,-1-14-15,0 0 0,0 0 0,0 0 16,1-14-16,-1 14 0,0 0 16</inkml:trace>
  <inkml:trace contextRef="#ctx0" brushRef="#br0" timeOffset="191080.74">21749 3876 0,'-27'-26'0,"14"12"16,-27-12-1,27 13-15,0 0 0,-14-1 0,-12-12 0,12 13 16,-12-14-16,12 14 0,-79-40 15,53 27-15,-52-27 16,52 26-16,0 1 16,0-1-16,0 14 0,-13-13 0,13 12 15,-53-12-15,40 13 0,13-1 16,13 1-16,-13 0 0,0 13 0,14-13 16,-54 0-16,53-1 0,14 14 15,-14 0-15,14-13 0,13 13 16,-14 0-16,1 0 0,12-13 15,-25 13-15,26 0 0,-14 0 16,14-13-16,0 13 0,-1 0 16,1 0-16,0 0 0,0 0 15,-14-14-15,14 14 16,0 0 0,-14 0-16,14 0 15,0 0 1,0 0-16,-1-13 0,1 13 15,0 0-15,0 0 16,0 0-16,-1 0 16,1 0-16,0 0 0,0 0 15,-27 0-15,27 0 16,-1 0 0,1 0-16,0 0 15,0 0 16,26 13-15</inkml:trace>
  <inkml:trace contextRef="#ctx0" brushRef="#br0" timeOffset="192441.85">19963 3188 0,'-40'0'16,"27"0"0,-27 13-1,27-13-15,0 0 0,-14 0 0,1 14 16,13-14-16,-1 13 0,-12-13 16,13 0-16,-14 13 15,14-13-15,0 13 0,0-13 0,-1 0 16,1 0-16,0 14 0,0-14 15,-1 0 1,1 13-16,0-13 31,0 0-15,13 13 0,0 0 46,13 1-46,0-14-16,0 0 15,-13 13-15,14-13 0,-1 0 16,0 0-16,0 13 0,27 0 16,-27-13-1,0 13-15,1-13 0,-1 14 0,0-14 16,0 0-16,1 13 0,-1-13 15,-13 13-15,13-13 16,0 0-16,1 13 16,-1-13 15,0 14 0,-26-1 469,0-13-484,13 13-16,-14-13 0,-25 26 15,25-12 1,1-14 0</inkml:trace>
  <inkml:trace contextRef="#ctx0" brushRef="#br0" timeOffset="193819.69">6879 5054 0,'66'-14'0,"-52"14"0,-1 0 16</inkml:trace>
  <inkml:trace contextRef="#ctx0" brushRef="#br0" timeOffset="194179.63">8837 5146 0,'66'13'15,"-26"-13"-15,-27 0 16,14 0-16</inkml:trace>
  <inkml:trace contextRef="#ctx0" brushRef="#br0" timeOffset="194594.36">11298 5080 0,'79'0'0</inkml:trace>
  <inkml:trace contextRef="#ctx0" brushRef="#br0" timeOffset="195005.45">13560 5014 0,'212'-13'16,"-160"13"-16,-25 0 0,26-14 15,0 14-15</inkml:trace>
  <inkml:trace contextRef="#ctx0" brushRef="#br0" timeOffset="195668.44">16457 5278 0,'93'0'0,"-67"0"0,1 0 16,12 0-16,1 0 0,0-13 15,13 13-15,52-13 0,14 0 16,-66 13-16,14 0 15,-15-13-15</inkml:trace>
  <inkml:trace contextRef="#ctx0" brushRef="#br0" timeOffset="201877.16">7038 7620 0,'66'13'16,"-53"-13"-16,1 0 0,-1 0 0,0 0 15,0 0-15,0 0 0,1 0 0,-1 0 16,13-13-16,-12 13 16,-1 0-16,0 0 0,0 0 0,0 0 15,1 0-15,-1 0 0,0 0 16,14 0 0,-14 0-16,0-13 15</inkml:trace>
  <inkml:trace contextRef="#ctx0" brushRef="#br0" timeOffset="204277.47">7673 7567 0,'40'0'16,"-27"0"-16,13 13 15,1 14 1,-40 12 0,13-25-16,0-1 0,-14 0 15,14 0-15,-13 1 0,0-1 16,0 0-16,-1 14 15,1-14 1,13 0 0,13-13-1,1 0-15,-1 0 16,0 0-16,14 0 16,-14 0-16,13 0 0,-13-13 0,14 13 15,39-13 1,-39-1-16,-14 14 0</inkml:trace>
  <inkml:trace contextRef="#ctx0" brushRef="#br0" timeOffset="204528.54">8123 7673 0,'-27'26'16,"27"-12"-16,-13-1 0,13 0 15,13 0-15,0-13 16,1 14-1,-1-14-15,0-14 16,0 14-16,1-13 0,-1-13 16,-13 12-16,0 1 15,0 0-15,0-14 16,-13 27-16,13-13 0,-14 0 0,14 0 16,-13 0-16,0 13 0,0-14 15,-1 14-15,-12 0 0,13 0 0,-14 0 16,1 0-16,-1 14 0,1-14 0</inkml:trace>
  <inkml:trace contextRef="#ctx0" brushRef="#br0" timeOffset="204827.29">6218 8083 0,'79'-13'0,"133"0"15,-133-1-15,27 14 0,26-13 16,14 0-16,-14 0 0,0 13 0,1-14 16,-1 1-16,0 13 0,-39-13 15,-1 13-15,1-13 0,-14 13 0,1-13 16,-14 13-16,-13-14 0,0 14 15,-14 0-15,-12 0 0,-1-13 16,-12 13-16,-1 0 0,0 0 0,0 0 16,1 13-16</inkml:trace>
  <inkml:trace contextRef="#ctx0" brushRef="#br0" timeOffset="206039.68">7369 8215 0,'53'0'15,"-40"14"-15,0-14 16,0 13-16,0 0 15,-13 0-15,-13 14 16,13-14-16,-13 0 0,0 0 16,0 1-16,-1-1 0,1 0 15,0 0-15,0 1 0,-1-1 0,1 0 16,0-13-16,13 13 16,-13-13-16,13 13 15,26-26 16,-13 13-31,14-13 16,-14 13-16,0 0 0,14-13 0,12 0 16,-25 13-16,-1-14 15,0 14-15,0 0 0,14-13 16,-14 26-16,0-13 16,1 14-16,-1-1 31,0 0-31,0 0 0,0-13 15,1 0-15,-14 13 0,26-26 16,-13 13 0,1 0-16,-1-13 0,-13 0 15,0-14 1,-13 27-16,-1-13 16,1 0-16,0 13 0,0-13 15,-1 13-15,14-14 16,14 1-1</inkml:trace>
  <inkml:trace contextRef="#ctx0" brushRef="#br0" timeOffset="206406.03">9075 7792 0,'13'26'16,"1"-12"-16,-1 12 16,-13-13-16,0 1 0,0-1 0,13 13 15,-13-12-15,0-1 0,0 0 0,0 13 16,-13 1-16,13-14 15</inkml:trace>
  <inkml:trace contextRef="#ctx0" brushRef="#br0" timeOffset="206605.81">8943 8017 0,'53'-27'16,"-40"27"-16,14-13 0,-1 13 0,0 0 16,1 0-16,-1-13 0,1 13 0,26 0 15,0 0 1,-40 0-16,13 0 0</inkml:trace>
  <inkml:trace contextRef="#ctx0" brushRef="#br0" timeOffset="207269.71">10438 7660 0,'0'26'16,"-13"-13"-16,13 1 0,0-1 15,0 0-15,0 0 0,-14 14 0,14-14 16,0 0-16,0 0 0,-13 14 16,13-14-16,0 0 0,0 1 0,0-1 15,0 0-15</inkml:trace>
  <inkml:trace contextRef="#ctx0" brushRef="#br0" timeOffset="207554.06">10835 7686 0,'13'0'0,"-26"0"0,-1 0 16,-12 13-16,13-13 15,-27 14-15,27-1 16,-14 0-16,14 0 0,0-13 16,13 14-16,-13-1 0,-1-13 0,14 13 15,0 0-15,0 0 16,14 1-16,-1-14 0,0 13 16,14 0-16,-1-13 0,-13 13 15,14-13-15,-14 0 0,0 0 16,14 0-16,-14 0 0,0 0 0,0 0 15,14-13-15,-14 13 0,0-13 16,1 0-16</inkml:trace>
  <inkml:trace contextRef="#ctx0" brushRef="#br0" timeOffset="207730.72">10901 7633 0,'0'-13'15,"-13"39"1,-1-12-16,14-1 15,0 0-15,0 14 0,-13-14 16,13 13-16,0 1 0,0-1 0,-13 27 16,13-40-16,0 14 15,0-14-15,0 0 0,0 1 16,0 12-16,13-13 0</inkml:trace>
  <inkml:trace contextRef="#ctx0" brushRef="#br0" timeOffset="207907.15">11126 7858 0,'26'0'15,"-13"-13"-15,1 13 16,-1 0-16,0 0 15</inkml:trace>
  <inkml:trace contextRef="#ctx0" brushRef="#br0" timeOffset="208405.76">11549 7580 0,'0'14'0,"13"-14"15,-39 0-15,39-14 0,14 41 0,-27-14 0,0 0 16,-14 0-16,14 14 16,-13-14-16,0 0 0,0 1 0,-1 12 15,1-13-15,13 1 0,-26-1 16,26 13-16,0-13 15,13-13 1,0 0-16,0 0 16,14 0-16,-14-13 0,14 13 15,12-13-15,-26 13 0,14 0 0,-1 0 16,-12 0-16,-1 0 16,0 0-16,0 0 0,1 0 15,-1 0-15,0 13 0,13-26 16,-12 13-1,-1 0-15,-13-13 16,13 13-16,-13-13 0,13-1 0,-13 1 0,0 0 16,0 0-16,-13-1 15,13-12-15,-13 26 16,13-13-16,-13-1 0,-1 14 16,1 0-16,0 0 0,0 14 15,0-1-15,-14 0 0,14 0 16,-14 1-16,14-1 0</inkml:trace>
  <inkml:trace contextRef="#ctx0" brushRef="#br0" timeOffset="208666.48">10557 8215 0,'251'-53'15,"-118"40"-15,-67 13 16,0-13-16,13 0 0,-13 13 16,146-27-16,-119 14 15,-40 13-15,-14 0 0,14-13 16,-26 13-16,-14 0 15,0 0-15,0 0 0</inkml:trace>
  <inkml:trace contextRef="#ctx0" brushRef="#br0" timeOffset="209470.59">11086 8295 0,'93'-27'0,"-80"40"15,0-13-15,14 27 16,-27-14-16,-14 0 16,14 1-16,-13-1 0,13 0 15,-13 0-15,0 1 0,-14-1 16,14 0-16,0 13 0,-1-12 16,1-14-1,13 13-15,13 0 31,1-13-31,12 0 0,14-13 16,-27 13 0,14-13-16,12 13 0,-12-14 0,-1 1 0,14 0 15,0 0-15,12 0 0,-25-1 16,-14 1-16,0 0 0,1 13 16,-1-13-16,0 13 0,-13-14 15,0 41 32,0-1-31,13-12-16,1-14 15,-14 13-15,39-13 16,-26 0-16,14 0 0,13 0 16,-27 0-16,13-13 15,-26-1-15,0 1 16,0 0-16,-13 0 15,0-1-15,0 14 16,-1 0-16,1-13 0,-13 13 16,12 0-16</inkml:trace>
  <inkml:trace contextRef="#ctx0" brushRef="#br0" timeOffset="209808.14">12726 7885 0,'0'26'32,"0"-13"-32,0 1 15,14 52-15,-14-53 16,13 13-16,-13-12 15,0-1-15,13 13 0,-13-13 0,0 1 16,0-1-16</inkml:trace>
  <inkml:trace contextRef="#ctx0" brushRef="#br0" timeOffset="209992.39">12621 8096 0,'198'-26'15,"-158"26"-15,-14 0 0,1-13 16,-1 13-16,1-14 0,-1 14 16,-26-13-16</inkml:trace>
  <inkml:trace contextRef="#ctx0" brushRef="#br0" timeOffset="210644.02">10213 7488 0,'-40'145'0,"27"-105"15,13 0-15,0 39 16,0-39-16,13-1 0,14 41 16,-14-54-16,13 14 0,1-14 15,13-12-15,-14 12 0,67 0 16</inkml:trace>
  <inkml:trace contextRef="#ctx0" brushRef="#br0" timeOffset="211144.39">11840 7461 0,'40'106'15,"-27"-66"-15,-13-27 0,0 13 0,0 1 16,0-14-16,-13 27 16,0-14-16,13 1 15,-14-14-15,1 0 0</inkml:trace>
  <inkml:trace contextRef="#ctx0" brushRef="#br0" timeOffset="211412.39">12118 7329 0,'0'79'15,"13"-65"-15,0-1 16,-13 0-16,14 0 0,-1-13 16,-13 13-16,13-13 0,0 0 15,1 0 1,-1 0-16,0 0 15</inkml:trace>
  <inkml:trace contextRef="#ctx0" brushRef="#br0" timeOffset="212034.53">5794 7316 0,'-79'185'15,"66"-145"-15,13 65 16,13-25 0,0-40-16,0-1 0,40 27 15,40-26-15,13-13 16,-40-14-16</inkml:trace>
  <inkml:trace contextRef="#ctx0" brushRef="#br0" timeOffset="212521.47">8202 7342 0,'40'53'16,"-27"-40"-16,-13 1 0,13 12 0,-13-13 15,13 14-15,-13-1 0,0 1 16,0 39-16,-13-40 16,13-13-16,0 14 0,-13-14 0,13 0 15,0 1-15,-13-1 0,13 0 16</inkml:trace>
  <inkml:trace contextRef="#ctx0" brushRef="#br0" timeOffset="212869.67">8533 7144 0,'0'26'15,"0"1"-15,0-14 0,0 0 16,-13 0-16,13 1 0,-14 12 16,14-13-16,-13 27 0,0-27 15,13 14-15,0-14 16,0 0-16,13 0 15,0 1-15,1-14 0,-1 0 16,0 13-16,0-13 16,0 0-16,1 0 0,25 0 15,-12 0-15,-1 0 16,-12 0-16,-1 0 0,0 0 16</inkml:trace>
  <inkml:trace contextRef="#ctx0" brushRef="#br0" timeOffset="214171.53">14063 7580 0,'-40'53'0,"27"-26"0,-1-1 0,1 14 16,-13-14-16,13 14 0,-1 0 0,1-1 15,13 1-15,-13 0 0,13-14 0,0 1 0,0-1 16,0 1-16,13-14 16,0 13-16,14 1 0,-14-14 0,0 0 0,14 0 15,-14 1-15,40-1 16,-27-13-16,1 0 0,-1 0 15,14-13-15,-14 13 0,1 0 0</inkml:trace>
  <inkml:trace contextRef="#ctx0" brushRef="#br0" timeOffset="-214523.31">14579 7699 0,'39'0'15,"-39"14"-15,0-1 16,-13 0-1,0 14-15,0-14 16,-1 13-16,1-13 16,0 1-1,39-1 1,-12 0 0,-1-13-16,0 13 0,-13 1 15,13-14-15,-13 13 16,0 0-16,-13 0 15,13 1-15,-13-14 0,0 13 16,-1 0-16,-12 0 0,13-13 16,-1 13-1</inkml:trace>
  <inkml:trace contextRef="#ctx0" brushRef="#br0" timeOffset="-214220.11">14896 7739 0,'13'0'0,"-26"13"16,0-13 0,13 14-16,-13-14 0,-1 13 0,14 0 0,-13-13 15,0 13-15,13 0 16,-13-13-16,13 14 0,0-1 0,-14 0 15,28 0 1,-14 1-16,13-14 0,-13 13 16,13-13-16,0 13 0,1-13 15,-1 0-15,0 13 0,0-13 0,27 0 16,-14 0-16,-12 0 16,-1 0-16,0 0 0,0 0 0,1 0 0,-1-13 15,0 13 1,-13-13-16</inkml:trace>
  <inkml:trace contextRef="#ctx0" brushRef="#br0" timeOffset="-214012.33">14962 7792 0,'-53'26'16,"53"-12"-16,0-1 0,-13 13 15,13-12-15,0-1 16,0 0-16,0 0 0,-13 1 0,13-1 16,0 13-16,0-13 15,13 1-15,-13-1 0,13 0 16,0-13-16,1 13 0</inkml:trace>
  <inkml:trace contextRef="#ctx0" brushRef="#br0" timeOffset="-213811.67">15333 7845 0,'13'-27'16,"0"27"-16,0 0 0,14 0 15,-14 0 1,13-13-16</inkml:trace>
  <inkml:trace contextRef="#ctx0" brushRef="#br0" timeOffset="-212632.48">15901 7660 0,'53'13'0,"-39"-13"16,-14 13-16,13-13 0,-13 13 15,0 1-15,0-1 16,-13-13-16,13 13 16,-14 0-16,1 1 0,13-1 15,0 0 1,13-13-16,-13 13 16,14-13-16,-14 13 0,13-13 15,0 14-15,0 12 16,-13-13-1,-13 1-15,0-1 16,0 0-16,-1 0 16,-12 1-16,-1-1 15,14-13-15</inkml:trace>
  <inkml:trace contextRef="#ctx0" brushRef="#br0" timeOffset="-212352.38">16100 7752 0,'-13'53'16,"13"-26"0,13-14-16,-13 0 0,26-13 15,14 13-15,-14-13 16,-12 0-16,-1 0 15,0 0-15,0-13 0,1 13 16,-1 0-16,-26-13 0,26 13 0,-13-13 16,-13-1-16,13 1 15,-14 0-15,1 0 0,0 13 16,0 0-16,-1-13 16,-12-1-16,0 1 15,12 13-15</inkml:trace>
  <inkml:trace contextRef="#ctx0" brushRef="#br0" timeOffset="-212139.04">16325 7527 0,'39'14'0,"81"158"15,-120-146-15,13 1 16,-26 39-16,-1-13 16,-12 0-16,13-40 15,-1 13-15,-12 1 0,-27 12 16,13-25-16,14-1 0</inkml:trace>
  <inkml:trace contextRef="#ctx0" brushRef="#br0" timeOffset="-211745.16">14235 8268 0,'66'-26'0,"-27"26"16,120-27-16,-423 80 0,608-119 15,-146 53-15,53 0 16,14-14-16,13 14 15,-146 13-15,-13 0 0,-106-13 0,384 13 32,-159-14-32,-119 14 15,-92 0-15,-1 0 16,-12 14 0,-28-1-16</inkml:trace>
  <inkml:trace contextRef="#ctx0" brushRef="#br0" timeOffset="-209868.16">15266 8572 0,'14'0'0,"-1"0"16,0 14-16,-13-1 0,-13 0 31,13 0-31,-13-13 16,13 14-16,13-14 15,-13 13 1,13-13-16,0 13 15,-13 0 1,0 1 0,-13-1-16,0-13 15,0 13-15,-14 0 0,14-13 16,-13 13 0</inkml:trace>
  <inkml:trace contextRef="#ctx0" brushRef="#br0" timeOffset="-209619.35">15438 8625 0,'0'40'15,"14"-27"-15,-1-13 0,0 0 16,0 0-16,1 0 15,-1 0-15,-13-13 0,13 13 16,-13-13-16,0 0 16,-13-1-1,0 14-15,-1-13 0,1 13 16,0-13 0,0 13-16</inkml:trace>
  <inkml:trace contextRef="#ctx0" brushRef="#br0" timeOffset="-208824.94">16722 7422 0,'26'13'15,"-26"0"-15,0 0 16,-13-13-16,0 27 0,13-14 15,-14-13-15,14 13 0,-13 0 0,13 1 16,-13-14-16,13 13 16,0 0-16,0 0 15,13-13 1,-13 14-16,13-14 0,1 0 16,12 13-16,-13-13 15,1 0-15,-1 0 0,0 0 16,0 0-16,1 13 0,12-13 15,0 0-15,-12 0 0,-1 0 16</inkml:trace>
  <inkml:trace contextRef="#ctx0" brushRef="#br0" timeOffset="-208532.23">17515 7713 0,'0'13'15,"0"0"-15,0 0 0,0 14 16,0-14-1,-13 13-15,13-12 0,0-1 16,0 0-16,0 0 16,-13 1-16,0-1 0,-14 0 15,27 0-15</inkml:trace>
  <inkml:trace contextRef="#ctx0" brushRef="#br0" timeOffset="-208385.73">17423 7924 0,'39'-13'16,"-25"13"-16,-67 13 0,119-26 0,-40 13 15,-12 0-15,12-13 0,-13 13 0,14 0 16,12-13-16</inkml:trace>
  <inkml:trace contextRef="#ctx0" brushRef="#br0" timeOffset="-206463.38">18508 7766 0,'-106'66'0,"93"-53"0,-1-13 16,-12 26-16,26-12 16,-13-14-16,13 13 0,0 0 15,13-13-15,0 13 16,14 1-16,12-1 16,-26-13-16,14 0 0,26 13 15,-27-13-15,-12 0 16,-1 0-16,0 0 0,0 0 15</inkml:trace>
  <inkml:trace contextRef="#ctx0" brushRef="#br0" timeOffset="-206268.81">18574 7752 0,'-13'27'31,"13"-14"-31,0 13 0,0 1 16,0-14-16,0 14 0,-14-14 0,14 0 16,0 0-16,0 14 0,0-14 15,0 0-15,0 14 0,0-14 16,0 0-16</inkml:trace>
  <inkml:trace contextRef="#ctx0" brushRef="#br0" timeOffset="-205868.54">18904 7752 0,'-39'14'0,"26"-14"0,-14 13 16,14 0-16,13 0 16,0 0-1,13 1-15,0-1 16,1 0-1,-1 0-15,-13 1 16,0-1-16,0 0 16,-13 0-16,-1 1 15,1-14-15,13 13 0,-13-13 0,-14 13 16,14-13-16,0 13 16,0-13-16</inkml:trace>
  <inkml:trace contextRef="#ctx0" brushRef="#br0" timeOffset="-203054.21">19288 7885 0,'27'0'16,"-14"0"-16,13 0 0,-12 0 15,-1 0-15,0 0 16,13 0-16,-12 0 15,-1 0-15,0 0 0,0 0 16,1 0-16,-1 0 16</inkml:trace>
  <inkml:trace contextRef="#ctx0" brushRef="#br0" timeOffset="-202720.82">19791 7779 0,'-40'26'31,"27"-13"-31,0 1 16,-40 25-1,26-12 1,14-14-16,13 0 15,0 1-15,0-1 16,13-13-16,1 13 0,-1-13 16,13 0-16,-13 13 0,14-13 15,-1 0-15,-12 13 0,12-13 0,1 0 16,-14 0-16,13 14 0,-13-14 0,1 0 16,-1 0-16,0 0 0,0 0 15,-13-14-15,14 14 16,-1 0-16,-13-13 0</inkml:trace>
  <inkml:trace contextRef="#ctx0" brushRef="#br0" timeOffset="-202520.22">19883 7805 0,'-26'13'15,"26"1"-15,-13-1 0,13 0 16,-13 0-16,13 1 0,0-1 15,-14 13-15,14-12 0,0-1 16,-13 0-16,13 0 0,0 0 0,0 1 16,0-1-16,0 0 0,0 0 15,13-13-15,1 0 16</inkml:trace>
  <inkml:trace contextRef="#ctx0" brushRef="#br0" timeOffset="-202248.26">20002 7911 0,'0'13'16,"0"-26"0,-13 13-16,0 27 15,13-14-15,0 0 0,0 0 16,0 0 0,13 1-16,0-1 0,1-13 15,-1 0-15,13-13 16,-12 13-16,-1-14 15,0 1-15,-13 0 0,0-13 16,0 12-16,0 1 0,0 0 16,-13 0-16,0-1 0,-1 1 15,14 0-15,-53 0 16,27 13-16,0-14 0,-14 14 0,0 0 16,1 0-16,12 0 0</inkml:trace>
  <inkml:trace contextRef="#ctx0" brushRef="#br0" timeOffset="-201793.44">18309 7699 0,'-92'172'15,"92"-145"-15,0-14 0,13 14 16,0-1-16,0 14 0,14-14 0,12 1 15,14-1-15,0 0 0,53 1 16,-27-14-16,-12-13 0,12 0 16,14 13-16,-14-26 0,14 13 0</inkml:trace>
  <inkml:trace contextRef="#ctx0" brushRef="#br0" timeOffset="-201347.46">20399 7660 0,'53'119'16,"-53"-106"-1,-13 66-15,13-52 0,-13-14 0,0 14 16,-1-14-16,-12 26 16,13-39-16,13 14 15,-14-14-15,1 13 0,0-13 16</inkml:trace>
  <inkml:trace contextRef="#ctx0" brushRef="#br0" timeOffset="-201007.16">20611 7527 0,'27'53'15,"-27"-39"-15,0-1 0,-14 13 16,14-13-16,-13 1 0,0 39 16,13-40-16,0 0 0,0 0 15,0 1 1,13-1-16,0-13 0,1 0 15,12 0-15,-13 0 16,0 0-16,1 0 0,-1-13 16,0 13-16,0 0 0,-39 13 31,-27 13-15</inkml:trace>
  <inkml:trace contextRef="#ctx0" brushRef="#br0" timeOffset="-200577.43">18732 8387 0,'53'14'16,"-26"-14"-16,79 0 0,39 0 15,-65 0-15,12-14 0,199 1 16,-198 13 0,-1-13-16,14 13 0,-13 0 15,-14-13-15,93-1 0,-92 14 16,-14-13-16,-13 13 0,0 0 0,-27-13 16,1 13-16,-14 0 0,13 0 15,-13 0-15,-52 0 31,12 0-31</inkml:trace>
  <inkml:trace contextRef="#ctx0" brushRef="#br0" timeOffset="-200015.12">19420 8771 0,'-13'13'0,"13"0"0,-13-13 0,0 14 0,0-1 16,-1-13-16,-12 13 16,13 0-16,-1 1 0,1-14 0,0 13 15,0 0-15,-1-13 0,1 13 0,0 0 16,13 1 0,0-1-16,13-13 15,27 26-15,-27-26 16,14 0-16,-14 14 0,66-14 15,-26 0 1,-26 0-16,-1 0 0,0 0 16,-12 0-16,12-14 0,-13 14 0,1 0 15,-1-13-15,0 13 0,0-13 16</inkml:trace>
  <inkml:trace contextRef="#ctx0" brushRef="#br0" timeOffset="-199796.85">19487 8744 0,'-14'0'0,"1"0"0,0 27 15,13-14 1,-13 0-16,13 14 16,-14-14-16,14 0 0,0 14 15,-13-14-15,13 13 0,0-12 0,0-1 16,0 13-16,-13-12 0,13 25 15,0-12 1,13-27-16,0 13 16,1-13-16</inkml:trace>
  <inkml:trace contextRef="#ctx0" brushRef="#br0" timeOffset="-199513.13">19711 8877 0,'0'0'0,"-39"26"15,26-13 1,-1 1-16,1-1 0,13 0 16,0 0-16,0 1 15,13-14-15,14 13 16,-1-13-16,-13 0 16,14 0-16,13-13 0,-27 13 15,0-14-15,14 14 0,-14-39 16,-13 25-16,0 1 15,0 0-15,-13 0 0,-1 0 16,1-1-16,0 1 0,0 13 0,-1-13 0,-25 0 16,39-1-16,-14 14 15,1 0-15,0 0 16</inkml:trace>
  <inkml:trace contextRef="#ctx0" brushRef="#br0" timeOffset="-199096.3">21180 8096 0,'13'40'0,"0"-27"15,-13 0-15,0 14 0,0-1 0,0 1 16,14-1-16,-14 1 0,0-14 0,0 13 16,13 1-16,-13-14 0,0 14 15,0-14-15,0 0 0,13 13 16,-13-12-16,0-1 0</inkml:trace>
  <inkml:trace contextRef="#ctx0" brushRef="#br0" timeOffset="-198882.41">20995 8361 0,'66'-13'0,"-53"13"0,14 0 16,12 0-16,14-14 16,-26 14-16,-1 0 0,0 0 0,1-13 15,-1 13-15,-12 0 0,-1 0 16,27-13-16,-27 13 0,0 0 0,0 0 16</inkml:trace>
  <inkml:trace contextRef="#ctx0" brushRef="#br0" timeOffset="-196376.42">22437 7990 0,'13'0'0,"0"0"0,0 0 16,1 0-1,-1 0 1,-53 0 15,-13 27-15,40-27-16,0 0 15,0 13-15,-14-13 16,14 13-16,0-13 0,13 14 0,-14-14 16,14 13-1,27 13 1,-1-13-16,1-13 0,-14 14 16,13 12-16,-12-26 15,-1 13-15,0 1 0,0-1 0,1-13 16,-14 13-16,0 0 15,0 1-15,0-1 0,-14 0 16,1 0-16,0 0 0,0 1 0,-1-14 16,1 13-16,-26 0 15,-14 0 1,39-13-16,1 0 0,0 0 16</inkml:trace>
  <inkml:trace contextRef="#ctx0" brushRef="#br0" timeOffset="-196104.58">22728 7977 0,'13'0'0,"0"13"0,-39-26 0,52 40 0,-13-14 16,-13 0-16,0 0 0,0 1 15,14 12-15,-14-13 0,0 14 16,0-14-16,0 0 0,0 14 0,0-14 16,-14 0-16,14 0 0,0 1 0,0 12 15,0-13 1</inkml:trace>
  <inkml:trace contextRef="#ctx0" brushRef="#br0" timeOffset="-195919.32">22675 8202 0,'26'-13'0,"-13"13"15,14 0-15,-14 0 16,14 0-16,-14 0 0,0 0 16,14 0-16,-14 0 0,0 0 0</inkml:trace>
  <inkml:trace contextRef="#ctx0" brushRef="#br0" timeOffset="-195740.22">23085 8149 0,'53'-13'31,"-40"0"-31</inkml:trace>
  <inkml:trace contextRef="#ctx0" brushRef="#br0" timeOffset="-195189.53">23561 8004 0,'27'0'0,"-14"13"15,-13 0 1,0 0-1,0 1 1,13-1 0,-13 0-16,0 0 0,13-13 0,-13 13 15,0 1-15,14-14 16,-14 13-16,-14 0 0,14 0 16,0 1-16,-13-14 0,13 13 15,-13-13-15,0 13 16,-1 0-16,1 1 0,0-14 15</inkml:trace>
  <inkml:trace contextRef="#ctx0" brushRef="#br0" timeOffset="-194920.03">23786 8043 0,'0'0'16,"0"14"-16,0-1 0,13 0 16,0-13-16,-13 13 15,14-13-15,-1 0 0,0 0 16,0 0-16,1 0 0,-1 0 16,-13-13-1,0 0-15,0-14 16,-13 14-16,-1 0 15,1 13-15,-27-13 16,27 26-16,0-13 16,-13 0-16,-1 0 0,-13 13 0,1 0 0</inkml:trace>
  <inkml:trace contextRef="#ctx0" brushRef="#br0" timeOffset="-194588.07">22304 8586 0,'622'-27'0,"-516"27"0,92 0 16,-105-13 0,13 13-16,-14 0 0,-12-13 0,-1 13 15,1 0-15,12-13 0,-52-1 16,-27 14-16,14 0 0,-14-13 16,0 13-16,0-13 0,-26 0 15,0-1-15,-14 14 0,-12-13 16,-14 0-16,0-13 15</inkml:trace>
  <inkml:trace contextRef="#ctx0" brushRef="#br0" timeOffset="-194133.74">21987 7951 0,'-27'158'0,"27"-131"0,0 13 16,27 26-16,65 40 16,-52-80-16,13 1 15,146 25-15,-133-52 16,13 0-16,106 0 16</inkml:trace>
  <inkml:trace contextRef="#ctx0" brushRef="#br0" timeOffset="-193640.34">24077 7805 0,'13'53'31,"1"-40"-31,-14 133 16,-14-93 0,-12 13-16,13-53 15,13 0-15,-14-13 0,14 14 0,-13-14 16,13 13-16,-13-13 0</inkml:trace>
  <inkml:trace contextRef="#ctx0" brushRef="#br0" timeOffset="-193354.86">24342 7699 0,'13'53'15,"-26"-39"-15,13-1 0,-14 26 16,1-25-16,0 12 15,13-13-15,0 1 16,0-1-16,13 0 0,-13 0 0,13-13 16,1 14-16,-1-14 15,13 0-15,-12 0 0,-1 0 0,0-14 16,14 14-16,-14 0 0,0 0 16,0 0-16,0 0 0,1 0 0,-1 0 15</inkml:trace>
  <inkml:trace contextRef="#ctx0" brushRef="#br0" timeOffset="-192588.21">22992 9009 0,'-53'27'31,"53"-14"-31,-13 0 0,0 0 0,0 0 16,13 1-16,-14-1 0,14 13 0,-13 1 16,13-14-16,0 0 0,0 1 15,0-1-15,0 0 0,0 0 0,13-13 16,1 13-16,-14 1 15,13-14-15,0 0 16,0 0-16,1 0 16,-14-14-16,0 1 15,0 0 1,-14 0 0,1 13-1,0 0 1,0 0-16</inkml:trace>
  <inkml:trace contextRef="#ctx0" brushRef="#br0" timeOffset="-192297.37">23058 9181 0,'-13'40'15,"26"-27"-15,1 13 16,-1-26 0,0 0-16,0 14 0,1-14 15,-1 0-15,0 0 0,0-14 32,-13 1-32,0-13 15,-13 26-15,13-13 0,-13 13 16,13-14-16,-13 14 0,-1-13 15,1 0 1</inkml:trace>
  <inkml:trace contextRef="#ctx0" brushRef="#br0" timeOffset="-191910.89">24633 8401 0,'0'26'15,"-14"-13"-15,14 14 16,-13-14-16,13 27 0,-13-1 15,13-12-15,0-14 0,-13 13 16,0 14-16,-1-27 0,14 14 16,-13-14-16,13 0 0,-13 0 0,13 1 15</inkml:trace>
  <inkml:trace contextRef="#ctx0" brushRef="#br0" timeOffset="-191756.49">24500 8625 0,'14'0'0,"12"0"0,-13 0 15,-66 0-15,146 0 0,-40-13 0,-13 26 16,-14-26-16,14 13 0,-14 0 16</inkml:trace>
  <inkml:trace contextRef="#ctx0" brushRef="#br0" timeOffset="-190328.3">9419 9948 0,'66'0'16,"-52"14"-16,-14-1 15,13 0-15,-13 13 0,-13 1 16,-1-14-16,14 14 0,-13-1 15,0-13-15,0 14 0,-14-1 16,14-13-16,0 1 0,13-1 16,-14 0-16,14 0 0,-13-13 0,13 14 15,0-1-15,0 0 16,13-13 0,14 0-1,-14 0-15,0 0 0,1-13 0,-1 13 16,0 0-16,27-13 0,-27-1 15,0 14-15,14-13 0</inkml:trace>
  <inkml:trace contextRef="#ctx0" brushRef="#br0" timeOffset="-190059.34">9723 10054 0,'-26'13'16,"13"1"-1,13-1-15,0 0 0,-13 0 16,26 1-1,-13-1-15,39-106 0,-78 199 0,52-106 0,0 13 16,0-13-16,14 0 16,-14 0-16,0 0 0,1-13 15,-1 13-15,0-13 0,-13 0 16,0-1 0,-13-12-16,-14 13 15,14-1-15,0 14 16,0-13-16,-1 13 15</inkml:trace>
  <inkml:trace contextRef="#ctx0" brushRef="#br0" timeOffset="-189881.04">10067 10094 0,'27'0'16,"-14"0"-16,0 0 15,1-13 1,-1 13-16,13-14 16</inkml:trace>
  <inkml:trace contextRef="#ctx0" brushRef="#br0" timeOffset="-189690.66">10319 9909 0,'-27'39'16,"27"-25"-16,0-1 0,0 13 15,-13-13-15,13 1 0,0-1 16,0 13-16,0-12 0,0-1 0,0 0 15,0 0-15,0 1 0,0-1 16</inkml:trace>
  <inkml:trace contextRef="#ctx0" brushRef="#br0" timeOffset="-189347.17">10676 9909 0,'-40'13'16,"27"-13"-16,0 13 16,0-13-16,13 13 15,0 1 1,0-1-1,13-13-15,-13 13 0,13 0 16,-13 0-16,0 1 16,0-1-16,0 0 15,0 0-15,-13 1 0,0-1 16,-14 13-16,14-26 0,0 14 16,-14-1-16,1 0 0,13 0 0,-14-13 15,1 0-15,-14 13 0,13-13 16,-25 0-16</inkml:trace>
  <inkml:trace contextRef="#ctx0" brushRef="#br0" timeOffset="-188996.24">9234 9829 0,'-26'53'0,"-41"146"16,54-160-16,13 1 0,0 0 16,0-14-16,13 14 0,67 92 15,-54-105 1,14-14-16,0 0 0,-1 0 16,54 1-16,-40-14 15,0-14-15</inkml:trace>
  <inkml:trace contextRef="#ctx0" brushRef="#br0" timeOffset="-188636.51">11020 9565 0,'26'13'0,"1"0"16,-27 0-16,13-13 0,0 40 15,0 0-15,1-14 16,-14 1-16,0-1 0,0 1 0,-14 12 16,1 14-16,-13 0 15,13-40-15,13 14 0,-14-14 16,1 0-16</inkml:trace>
  <inkml:trace contextRef="#ctx0" brushRef="#br0" timeOffset="-188322.65">11311 9472 0,'26'40'15,"-26"-27"-15,0 0 0,0 27 16,-13 0-16,0-14 15,13-13-15,0 1 0,-13-1 0,13 0 16,0 13-16,13-12 16,0-1-16,0-13 0,14 0 15,-1 0-15,-12 0 16,12-13-16,0 13 0,1-14 0,13 14 16,-1-13-16,1 0 15,-14 13-15,-12 13 16,-41 14-1,-12-1-15,-14 14 16</inkml:trace>
  <inkml:trace contextRef="#ctx0" brushRef="#br0" timeOffset="-187984.11">9036 10835 0,'423'-40'0,"-331"27"16,41 0-16,-14-1 0,0 1 0,132-13 15,-13-14 1,-145 27-16,0-1 0,79-25 16,0 12-16,-93 14 15,185-53 1,-184 40-16,-54 12 16,-12 1-16,12 0 0,-13 13 15</inkml:trace>
  <inkml:trace contextRef="#ctx0" brushRef="#br0" timeOffset="-187220.27">10147 10914 0,'39'-13'15,"-25"26"-15,-1-13 16,0 13-16,-13 1 0,0 25 31,0-26-31,0 1 0,0 12 16,-13-13-1,26 1 1,0-14-16,1 0 16,12 13-16,-13-13 15,1 13-15,-1-13 0,0 0 16,13 26-16,-12-12 15,-14-1-15,0 13 16,-14-12-16,1-14 16,13 13-16,-13 0 0,-27 14 15,27-27-15,-40 13 16,40 0-16,-14-13 16,14-13-16,0 0 15,0 13 1</inkml:trace>
  <inkml:trace contextRef="#ctx0" brushRef="#br0" timeOffset="-186427.21">10570 11073 0,'-40'79'0,"40"-66"16,0 1-16,14 12 0,-1-13 15,0-13-15,0 14 16,14-1-16,-14-13 0,27 0 16,-14 0-16,1-13 0,-14 13 15,13-14-15,1-12 16,-14 13-16,0-14 16,-13 1-16,-13 12 0,0 1 15,-27-13-15,-26-1 16,39 14-16,-39-13 15,53 26-15,-27 0 16,-12 0 0,38 13-16</inkml:trace>
  <inkml:trace contextRef="#ctx0" brushRef="#br0" timeOffset="-185611.01">4366 12488 0,'92'0'16,"-65"0"-16,-14 0 16,13 0-16,-12 0 0</inkml:trace>
  <inkml:trace contextRef="#ctx0" brushRef="#br0" timeOffset="-185416.22">4299 12700 0,'27'0'16,"-14"0"-16,0 0 0,14-13 0,-1 13 15,1-13-15,52-1 0,-39 14 16,-14-13-16,40 0 16,-39 13-16,-1-13 0,1 13 15</inkml:trace>
  <inkml:trace contextRef="#ctx0" brushRef="#br0" timeOffset="-179691.22">5014 12409 0,'13'13'32,"-13"0"-32,0 1 0,0-1 15,0 13-15,-13 14 16,13-27-16,0 14 0,0-1 16,-13-13-16,13 14 0,0-14 0,-14 14 15,14-14-15,0 13 16,0-13-16,-13-13 15,26 14-15</inkml:trace>
  <inkml:trace contextRef="#ctx0" brushRef="#br0" timeOffset="-179356.98">5226 12528 0,'0'13'0,"0"-26"0,0 0 0,-14 13 16,1 13-1,0 0 1,26 14 0,-13-14-16,13 0 15,1 0-15,-1-13 0,0 14 16,0-14-16,0 13 0,1-13 16,-1 0-16,0 0 0,0 0 15,1 0-15,-14-13 16,13-1-16,-26-12 15,-1 26 1,14-13-16,-26-1 16,13 1-16,-1 13 15,1 0 1</inkml:trace>
  <inkml:trace contextRef="#ctx0" brushRef="#br0" timeOffset="-179111.29">5464 12515 0,'13'39'16,"0"-39"-16,0 27 0,1-14 15,-1-13-15,0-13 16,13 0-1,-26-1-15,0 1 0,0 0 16,0 0 0,0 0-16,0-1 0,-13 1 15,13 0-15,-13 13 16,0 0-16,0 0 16,13 13-16,-14 0 0,-12 1 15,-1-1-15,1 13 0,0 1 0</inkml:trace>
  <inkml:trace contextRef="#ctx0" brushRef="#br0" timeOffset="-178836.36">4829 13004 0,'79'-26'16,"14"13"-16,-54 13 15,14 0-15,0-14 0,0 14 16,-13-13-16,13 13 0,-14-13 16,1 13-16,13 0 0,-27-13 15,-12 13-15,12 0 0,-13 0 16,1 13-16,-1-13 15</inkml:trace>
  <inkml:trace contextRef="#ctx0" brushRef="#br0" timeOffset="-178148.32">5027 13137 0,'0'-14'0,"27"1"16,-14 0-16,13 13 16,1-13-16,-14 13 15,0 0-15,0 13 16,1-13-16,-1 13 0,-13 0 15,-13 14-15,-1-1 16,1-13-16,0 14 16,-14-14-16,14 0 0,0 1 15,0-1-15,0 0 16,-1 0-16,28 1 31,-1-14-31,0 0 16,13 0-16,-12 0 0,-1 0 15,13 0-15,-12 0 0,25-14 16,-12 14-16,26-26 0,-40 26 16,13-13-16,27-14 15,0 1-15,-40 12 16,14 1-16,-27 0 0,26 0 16,-26 26 30,-13 0-30,13 0-16,0 1 16,13-1-16,1-13 15,-1 0 1,13 0-16,-13 0 16,1-13-16,-1 13 15,-13-14-15,0 1 16,0-13-16,-27 13 15,14 13 1,0 0-16,0-14 0,0 14 16,-1 0-16,1 0 15,13-13-15</inkml:trace>
  <inkml:trace contextRef="#ctx0" brushRef="#br0" timeOffset="-177855.2">6271 12541 0,'-27'13'16,"27"14"-16,-13-1 15,26 1-15,-13 65 16,0-65-16,13-1 16,-13 14-16,0 0 15,0-14-15,0-13 0</inkml:trace>
  <inkml:trace contextRef="#ctx0" brushRef="#br0" timeOffset="-177635.65">5940 12806 0,'26'-13'0,"-52"26"0,79-26 15,-27 13-15,1 0 0,-1 0 16,1 0-16,12 0 0,41-14 16,-41 14-16,-12 0 15,-1 0-15,27 0 0,0 0 16,-13-13-16,-27 13 16</inkml:trace>
  <inkml:trace contextRef="#ctx0" brushRef="#br0" timeOffset="-165906.83">6800 12502 0,'26'-14'16,"-13"14"-16,14 14 16,-14-14-16,-13 13 15,13 13-15,-13-13 16,-13 1-16,13-1 0,0 0 15,-13 0-15,0 1 16,13-1-16,-14-13 0,14 13 16,0 0-1,14-13 1,-1 14-16,0-1 16,-26 13-1,0-13 1,-1 1-16,14-1 0,-13 0 15,0-13-15,0 13 0,0 1 0,-1-14 16,1 13-16,0-13 0,13-13 31</inkml:trace>
  <inkml:trace contextRef="#ctx0" brushRef="#br0" timeOffset="-165635.37">7104 12502 0,'13'13'0,"-13"0"0,-13 13 16,13 14-1,13-13-15,1-14 16,-14 0-16,13 0 0,0 1 0,0-1 16,0-13-1,1 0-15,-1 0 0,-13-13 16,0-1-16,0 1 15,-13 13-15,-1-13 16,-25 0 0,26 13-16,-1 13 0,1-13 0,0 0 15,0 13-15,-27 14 16,27-14-16,-14 0 0</inkml:trace>
  <inkml:trace contextRef="#ctx0" brushRef="#br0" timeOffset="-165304.92">6509 13031 0,'39'-27'16,"-12"27"-16,-1 0 0,1 0 0,-1-13 15,27 13-15,-13 0 0,13 0 0,0 0 16,0-13-16,0 13 16,-1 0-16,1 0 0,0 0 0,-13-13 0,0 13 15,-14 0-15,-13 0 0,27 0 16,-14 0-16,-12 0 15,-1 0 1,-26 26 0</inkml:trace>
  <inkml:trace contextRef="#ctx0" brushRef="#br0" timeOffset="-164223.2">6628 13269 0,'13'-27'16,"0"27"-16,1-13 0,-1 13 0,13 0 15,-26 13 1,13-13-16,1 14 0,-14-1 0,13 0 15,-26 0-15,13 1 0,0-1 16,-14 13-16,1-13 0,-13 27 16,26-27-16,-13 1 15,13-1-15,-14 0 0,14 0 16,-13-13-16,13 14 16,13-14 15,1 0-31,12 0 0,-13-14 0,14 1 15,-1 0-15,1 13 0,-14-13 0,13-1 16,-13 1-16,1 13 0,12-13 16,-13 13-16,1 0 0,-1 0 15,0 0-15,0 0 0,1 0 16,-14 13-16,13-13 16,0 13-16,0-13 0,0 0 15,40 14 1,-39-14-16,12-14 15,-26 1 1,0 0 0,-13 0-16,0 13 0,13-14 0,-14 14 15,1-13-15,0 13 0,0-13 16,-1 13-16,1-13 0,13 0 31,13-1-31,1 14 16,-1-13-16,0 13 0</inkml:trace>
  <inkml:trace contextRef="#ctx0" brushRef="#br0" timeOffset="-163980.55">7885 12700 0,'0'26'0,"0"1"0,0-14 0,0 40 15,0-40-15,0 14 16,0-14-16,0 13 0,-14-12 0,14-1 16,0 0-16,0 0 15,-13 1-15,13-1 0,0 0 16</inkml:trace>
  <inkml:trace contextRef="#ctx0" brushRef="#br0" timeOffset="-163795.62">7673 12912 0,'26'0'31,"-12"0"-31,-1 0 15,0 0-15,14 0 0,-14 0 0,40 0 16,-27 0-16,-13 0 16,14 0-16,-14 0 0,0-14 0</inkml:trace>
  <inkml:trace contextRef="#ctx0" brushRef="#br0" timeOffset="-163275.48">8864 12607 0,'-14'53'16,"14"-39"-1,0 12-15,-13-13 0,13 14 16,0-1-16,-13 1 0,13-1 0,-13 14 15,-1-14-15,14-13 0,-13 14 16,13-14-16,0 0 0,-13 14 16,13-14-1,13 0-15,0-13 16</inkml:trace>
  <inkml:trace contextRef="#ctx0" brushRef="#br0" timeOffset="-162992.14">9128 12621 0,'13'-27'16,"-26"67"-1,13-27-15,0 0 0,-13 14 16,13 12-16,0-25 16,13-1-16,-13 13 0,13-12 0,1-1 15,-14 0-15,13 0 0,0-13 0,0 14 16,1-14-16,-1 0 15,0 0 1,-13-14 0,0 1-16,-13 0 0,-14 13 15,1 0 1,13 0-16,-1 0 0,1 13 0,0-13 16,-14 13-16,14 1 15,-26-1-15</inkml:trace>
  <inkml:trace contextRef="#ctx0" brushRef="#br0" timeOffset="-162786.9">8678 13097 0,'93'13'16,"-67"-13"-16,14 0 0,13 0 0,0 0 15,13 0-15,13 0 16,120 0-16,-146 0 15,0 0-15,-14 0 0,-12 0 0,13 0 16,-14 0-16,-13 0 0,14 0 16,-14 13-16,0-13 0</inkml:trace>
  <inkml:trace contextRef="#ctx0" brushRef="#br0" timeOffset="-161956.45">8784 13388 0,'13'-13'16,"14"13"0,-14 0-16,0 0 0,1 13 15,-1 0-15,0 0 16,-13 1-16,0-1 0,0 0 16,-13 0-16,13 1 15,-13-1-15,13 0 0,-14 0 0,1 0 16,13 1-16,-13-1 0,0 0 15,13 0-15,-14-13 16,14 14-16,14-14 31,25 13-15,-25-13-16,-1 0 16,0 0-16,0 0 0,0 0 15,1 13-15,-1-13 0,0 0 0,0 13 16,1-13-16,-1 13 0,-13 1 15,0-1 1,-13 0-16,-1 0 0,1 1 16,0-14-16,0 13 0,-1 0 0,-12-13 15,13 13-15,0-13 16,-27 0-16,27 14 0,-14-14 0,14 0 16,0 0-16,-1 0 15,1 0-15,40-14 31</inkml:trace>
  <inkml:trace contextRef="#ctx0" brushRef="#br0" timeOffset="-161642.78">9168 13520 0,'-27'27'15,"14"-14"-15,13 0 16,-13 0-16,13 1 0,0-1 16,13 0-16,0 0 15,1 0-15,-1-13 0,27 14 16,-27-28-16,0 14 0,13 0 16,1-13-16,-14 13 15,0 0-15,1-13 0,-14 0 0,-14 0 16,14-1-1,-13 1-15,-27-13 16,27 26-16,-26-27 0,25 27 16,1-13-16,0 13 15,13-13-15,0 0 16</inkml:trace>
  <inkml:trace contextRef="#ctx0" brushRef="#br0" timeOffset="-161111.2">10345 12753 0,'-13'53'16,"13"-40"0,0 14-16,0-14 0,0 40 0,0-40 15,13 13-15,-13 1 0,0-14 16,13 27-16,-13-14 0,0-13 16,0 1-16,0-1 0,0 0 0,0 0 15</inkml:trace>
  <inkml:trace contextRef="#ctx0" brushRef="#br0" timeOffset="-160908.39">10239 12951 0,'-13'-13'0,"40"13"31,12 0-16,41 13-15,-41-13 16,28 0-16,-28-13 0,-12 13 16,39 0-1,-40 0-15,1-13 0</inkml:trace>
  <inkml:trace contextRef="#ctx0" brushRef="#br0" timeOffset="-158995.34">11258 12660 0,'53'-39'0,"-27"39"0,-12 13 16,-1-13-16,0 13 15,0 0-15,-13 1 0,0 25 16,-13-12-16,0-14 16,-27 53-1,27-53-15,0 1 0,13-1 16,-14 0-16,1-13 0,13 13 0,-13 0 16,0-13-16,13 14 15,0-1-15,13-13 16,27 0 15,-27 0-31,0 0 0,0 0 16,14 0-16,-14 0 0,0 0 0,1-13 0,-1 13 15,0 0-15,0 0 0,0 0 16,14-14-16,-14 14 16,0-13-16,1 13 0,12-13 0</inkml:trace>
  <inkml:trace contextRef="#ctx0" brushRef="#br0" timeOffset="-158723.04">11919 12594 0,'-39'-13'0,"26"13"0,-1 0 16,1 0-1,0 13-15,0 0 16,13 1-16,13-1 15,-13 0-15,0 0 0,0 1 16,13 12-16,-13-13 16,0 0-16,0 1 0,-13-1 0,13 0 15,0 0-15,-13 1 0,13-1 16,-14 0-16,1-13 0,0 13 0,0 1 16,0-1-16,-1 0 0,1 0 15,0 0-15,-14 1 0,-26 12 16</inkml:trace>
  <inkml:trace contextRef="#ctx0" brushRef="#br0" timeOffset="-158492.48">11020 13150 0,'40'0'0,"26"0"16,13-13-1,-26 13-15,0 0 0,40 0 16,12-14-16,-65 14 16,0 0-16,26-13 15,-53 13-15,14 0 0,-14 0 0,13 0 16,-12 0-16,-14 13 16,0 1-1</inkml:trace>
  <inkml:trace contextRef="#ctx0" brushRef="#br0" timeOffset="-158148.89">11377 13322 0,'-53'13'15,"40"-13"-15,0 13 16,-14 0-16,14-13 0,-13 14 0,12-1 16,-12 0-16,13 0 0,-14 1 15,14-14-15,0 13 0,-1 0 0,14 0 16,-26 1-16,13-1 16,26 13-1,0-26-15,-13 13 0,27 1 16,-14-1-16,13-13 15,-12 13-15,12-13 0,1 13 16,-14-13-16,13 0 0,-13 0 0,1 0 0,-1 0 16,0-13-16,0 13 0,1 0 15,-1-13-15</inkml:trace>
  <inkml:trace contextRef="#ctx0" brushRef="#br0" timeOffset="-157967.39">11364 13414 0,'-53'53'16,"40"-39"-16,-1-1 0,14 0 0,-13 0 15,0 40 1,0-26-16,13-14 0,0 13 16,-13-13-16,13 1 0,0-1 0,0 0 15,0 0-15,0 1 0,13-14 16,-13 13-16,13 0 0</inkml:trace>
  <inkml:trace contextRef="#ctx0" brushRef="#br0" timeOffset="-157676.37">11509 13547 0,'-26'13'16,"13"0"-16,13 0 15,0 1-15,0-1 0,13 0 16,0 0-16,27 0 16,-27-13-16,0 0 0,1 0 15,25 0-15,-26-13 0,14 0 16,-14 13-16,-13-13 16,13 0-16,-26-1 15,13 1-15,-13 0 0,0 13 0,-1-13 0,1-1 16,0 1-16,0 13 0,13-13 15,-13 13-15,-1-13 0,14 0 16,0-1-16,0 1 0,0 0 16</inkml:trace>
  <inkml:trace contextRef="#ctx0" brushRef="#br0" timeOffset="-157404.14">12316 12846 0,'14'39'0,"-1"-26"0,-13 1 15,0 12-15,13-13 0,-13 1 16,0-1-16,0 13 0,0-12 0,0 12 16,0-13-16,0 0 0,-13 1 15,13 12-15</inkml:trace>
  <inkml:trace contextRef="#ctx0" brushRef="#br0" timeOffset="-157221.2">12250 13070 0,'13'0'0,"-13"-13"15,27 13-15,-1 0 16,1-13-16,-14 13 16,40 0-16,-27 0 0,1 0 15,-14-13-15,14 13 0,-1 0 0,0 0 16,-12 0-16</inkml:trace>
  <inkml:trace contextRef="#ctx0" brushRef="#br0" timeOffset="-156681.22">13692 12607 0,'-119'14'0,"79"12"16,14-26-16,13 13 0,0 1 15,-1-1-15,1 0 0,13 0 0,0 0 31,13-13-31,1 0 0,38 0 16,-38-13-16,12 13 0,1-13 0,-1 0 16,0 13-16,-12-13 0,-1 13 15,0-14-15,0 14 0,1 0 16,-1 14-16,0-1 0,0 0 16,-13 0-16,0 0 15,0 1-15,0 12 0,0-13 0,0 1 16,0 12-16,0-13 0,0 14 15,0-14-15,-13 13 0,13-12 0,0 12 16,-13-13-16,0 27 16</inkml:trace>
  <inkml:trace contextRef="#ctx0" brushRef="#br0" timeOffset="-156456.35">13335 13216 0,'0'0'16,"26"-13"-16,1 13 15,26 0-15,-13-14 0,-1 14 16,14 0-16,0 0 0,0 0 0,-13-13 16,39 13-16,-26 0 15,-27 0-15,-12 0 0,12 13 16,-13-13-16,-13 14 15</inkml:trace>
  <inkml:trace contextRef="#ctx0" brushRef="#br0" timeOffset="-156075.2">13322 13560 0,'-13'13'0,"-1"0"16,14 1-16,-13-1 0,0 0 16,0 0-16,-1 0 0,1 14 15,-13-1-15,-1 14 16,14-27-16,-13 14 0,26-14 16,-14 0-16,1 0 0,0 1 15,13-1-15,-13-13 16</inkml:trace>
  <inkml:trace contextRef="#ctx0" brushRef="#br0" timeOffset="-155520.54">13070 13864 0,'-13'13'16,"13"1"-1,0-1 1,13 0-1,1 0-15,-1-13 16,27 14 0,-27-14-1,13 0-15,-13 0 0,14 0 0,-14 0 0,14 0 16,-1-14-16,-13 14 0,14-13 16,-1 13-16,-13-13 0,1 13 15,-1-13-15,-13-1 0,0 1 16,0 0-1,-13 13-15,-1 0 0,1-13 16,0 13-16,0 0 0,0 0 0,-14 0 16,14 0-16,0 0 0,-1 0 15,-12 0-15,13 13 16,-1-13-16</inkml:trace>
  <inkml:trace contextRef="#ctx0" brushRef="#br0" timeOffset="-155192.45">13666 13692 0,'-93'53'16,"80"-40"-16,13 1 0,-13-1 0,26 0 15,-13 0-15,13-13 16,-13 13-16,13-13 0,14 0 0,-14 0 16,0 0-16,14-13 15,-14 0-15,0 13 0,-13-13 16,0 0-16,0-1 0,0 1 16,-13 0-16,13 0 0,-13-1 15,-1-12-15,1 26 16,0-27-16,0 27 0,13-13 0,-13 13 15,13-13-15,0 0 16</inkml:trace>
  <inkml:trace contextRef="#ctx0" brushRef="#br0" timeOffset="-154808.45">15161 12779 0,'13'40'0,"-13"-27"16,-13 14-16,13 12 15,0-12-15,0-14 0,0 14 0,0-14 16,-14 13-16,14-12 0,0 25 15,0-26-15,0 14 0,0-14 16,0 0-16,-13 1 0</inkml:trace>
  <inkml:trace contextRef="#ctx0" brushRef="#br0" timeOffset="-154599.49">15002 13018 0,'26'-14'0,"-12"14"0,-1 0 15,0 0-15,0 0 0,14 0 16,-1 0-16,1 0 0,12 0 16,1-13-16,-14 13 0,1 0 15,-14 0-15,0 0 0,14 0 16</inkml:trace>
  <inkml:trace contextRef="#ctx0" brushRef="#br0" timeOffset="-153647.28">16060 12660 0,'0'27'15,"0"-14"-15,0 13 16,-26 54-1,26-54-15,-13 27 16,13-40-16,-14 14 0,14-14 16,-13 14-16,13-14 0,0 0 15,0 14-15,0-14 16</inkml:trace>
  <inkml:trace contextRef="#ctx0" brushRef="#br0" timeOffset="-153312.33">16338 12766 0,'-26'40'16,"26"-27"-16,-14 0 0,28 14 15,-14-14 1,13 0-16,-13 0 0,13 1 0,0-1 15,14 0-15,-14-13 0,0 13 16,0-13-16,1 0 0,-1 0 16,0-13-16,0 13 15,-13-13-15,0 0 0,0-1 16,-13 1-16,13 0 16,-13 0-16,13 0 0,-13 13 15,-1-14-15,14 1 16,-13 13-16,0-13 15,0 26 1</inkml:trace>
  <inkml:trace contextRef="#ctx0" brushRef="#br0" timeOffset="-148197.45">10186 9948 0,'14'-13'78,"-1"0"-62,13 13 0,1-13-1,-14 13-15,0 0 0,1 26 16,-14-13 0,-14 14-1,1-14 1,-13 27-16,12-27 15,1 0 1,0 0-16,0 1 16,26-14 15,13 13-15,-12-13-16,-1 13 15,0-13-15,0 13 0,14 14 16,-27-14-1,0 0-15,0 0 0,0 1 16,0-1-16,-27 27 16,1-14-1,-1-26-15,14 13 0,-27 14 16,27-14-16,0-13 16,0 0-16,0 13 0,-1-13 15,1-13-15,0 13 16,26-13-1,-13 0-15,13 13 0,-13-14 16</inkml:trace>
  <inkml:trace contextRef="#ctx0" brushRef="#br0" timeOffset="-147549.79">10716 9975 0,'-53'0'16,"0"39"-1,40-25-15,-1-1 0,1 0 0,13 14 16,-40 12-1,27 1-15,13-27 0,0 0 16,0 1-16,0-1 0,0 0 0,0 0 16,13-13-16,-13 14 0,14-1 15,-1 0-15,0-13 0,0 13 0,1-13 16,-1 0-16,0 0 0,0 0 0,0 0 16,14 0-16,-14 0 0,0 0 15,1-13-15,12 13 0,-13-13 16,1 0-16,-1 13 0,0-14 0,-13 1 15,13 0-15,-13 0 0,13-1 16,-13 1-16,0 0 0,0 0 0,0-14 16,-13 14-1,13 0-15,-13 0 0,0 13 0,0-14 16,-1 1-16,1 0 0,0 13 0,-14-13 16,1 13-16,-1-14 15,1 14-15,13 0 0,0 0 16,-1 0-16,-12 0 0,13 0 0,-1 14 15,-12-14-15,13 13 16,0 0-16,-1 0 16</inkml:trace>
  <inkml:trace contextRef="#ctx0" brushRef="#br0" timeOffset="-146661.18">16933 12779 0,'-39'53'31,"39"-39"-31,0 12 0,0-13 16,-14 0-16,14 14 0,0-14 0,14 0 15,-14 14-15,13-14 0,-13 0 0,13 1 16,0-1-16,1 0 0,-1 0 16,13-13-16,-13 13 0,14-13 15,-14-13-15,0 13 0,1 0 16,-1-13-16,-13 0 0,13 0 0,-13-1 16,13-12-16,-13 13 0,0-54 15,0 54-15,-13-13 16,13 13-16,-13-1 0,13 1 15,-13 0-15,-1 13 0,1-13 0,0 13 16,0 0-16,-1 0 16,-12 13-16,13-13 0,-27 26 15,27-12-15</inkml:trace>
  <inkml:trace contextRef="#ctx0" brushRef="#br0" timeOffset="-146311.04">15941 13348 0,'93'0'15,"-40"13"-15,0-13 0,-1 0 16,107 0-16,-79 0 0,92 0 16,-80 0-16,107 0 15,-107-13-15,1 13 0,105 0 16,-105 0-16,13-13 0,-27 13 16,14 0-16,-14 0 0,-13 0 15,-13 0-15,66 13 16,-92-13-16,-14 0 0,0 13 15,-13 1 1,-13-1-16</inkml:trace>
  <inkml:trace contextRef="#ctx0" brushRef="#br0" timeOffset="-145165.98">16841 13811 0,'0'-13'0,"0"0"15,13 13-15,0 0 0,0 0 16,1 0-16,-1 0 0,27 0 16,-27 0-16,0 13 15,0-13-15,0 13 0,1 0 16,-1 1-16,-13-1 16,0 0-16,-13 0 0,13 1 15,0-1-15,-27 13 16,27-12-16,-13-1 15,26 0 1,0 0 0,14 0-1,-27 1 1,13-14-16,-13 13 16,-13 13-16,13-12 15,-13-1-15,-14 13 16,14-12-1,0-1-15,0-13 16,26-13 15</inkml:trace>
  <inkml:trace contextRef="#ctx0" brushRef="#br0" timeOffset="-144891.93">17251 13877 0,'13'80'16,"0"-67"-16,-39-106 0,66 199 15,-27-106-15,0 13 0,0-13 16,-13 14-16,13-14 0,1 0 0,-1 0 0,13 0 31,-26-14-31,14 1 0,-14 0 16,0 0-16,-14 13 15,14-13-15,-13 13 0,0-14 16,0 1-16,-1 13 0,1 0 16,0-13-16,0 13 15,13-13-15,-13 13 16,13-14-16</inkml:trace>
  <inkml:trace contextRef="#ctx0" brushRef="#br0" timeOffset="-144540.39">18746 13189 0,'53'14'0,"-27"-14"0,-13 0 16,1 0-16,-1 0 0,13 0 0</inkml:trace>
  <inkml:trace contextRef="#ctx0" brushRef="#br0" timeOffset="-144352.92">18825 13375 0,'13'13'15,"14"-13"1,-14 0-16,13-13 16,-12 13-16,-1 0 0,0 0 0,0 0 15,1 0-15,-1 0 0</inkml:trace>
  <inkml:trace contextRef="#ctx0" brushRef="#br0" timeOffset="-132805.16">19659 13057 0,'0'-13'15,"0"0"-15,0 0 16,0 39 15,0-13-31,0 27 16,-27 79 0,27-93-1,-13 54-15,13-54 0,0-13 16,0 27-1,0 0 1,13-27 0</inkml:trace>
  <inkml:trace contextRef="#ctx0" brushRef="#br0" timeOffset="-132600.59">19936 12965 0,'0'-14'0,"14"41"31,-14 26-15,0-40-16,0 13 15,0 1-15,0-1 0,0 1 0,0-1 0,-14 54 16,14-54 0,0 40-1,0-53-15,0 1 0,0-1 0,0 0 16</inkml:trace>
  <inkml:trace contextRef="#ctx0" brushRef="#br0" timeOffset="-132417.74">20201 13256 0,'13'-14'16,"-26"14"-16</inkml:trace>
  <inkml:trace contextRef="#ctx0" brushRef="#br0" timeOffset="-131967.11">20743 12991 0,'-26'40'0,"13"-27"0,-1 0 0,-12 0 0,-40 54 16,39-41-1,14-13-15,0 0 0,0 1 0,-1-1 16,14 0-16,-13 0 0,13 14 15,13-14 1,1 0-16,-1-13 0,0 14 0,0-1 16,1-13-16,52 13 15,-40-13-15,14 0 16,-14 0-16,1 0 0,-14 0 16,40-13-1,-40 13-15,-13-13 0,13 13 0,1-14 16</inkml:trace>
  <inkml:trace contextRef="#ctx0" brushRef="#br0" timeOffset="-131755.5">20770 13018 0,'-40'66'0,"27"-13"16,0-14-16,-1-12 0,14 12 16,-13 1-16,0-13 0,0 12 0,13-12 15,-13 12-15,-1-12 0,14-1 16,-13 1-16,13-14 0,0 13 16</inkml:trace>
  <inkml:trace contextRef="#ctx0" brushRef="#br0" timeOffset="-131427.95">21206 13044 0,'-26'13'16,"13"-13"-1,-1 13-15,1 1 0,-13-1 0,13 0 16,-14 14-16,14-14 0,-14 13 0,14-13 16,0 1-16,0-1 0,-14 13 15,14-12-15,13-1 16,-13 0-16,13 0 0,0 1 16,13-1-16,13 13 15,-12-26-15,-1 13 16,0-13-16,0 0 15,1 14-15,-1-14 0,0 0 0,0-14 0,1 14 16,12-13-16,-13 0 16,0 0-16</inkml:trace>
  <inkml:trace contextRef="#ctx0" brushRef="#br0" timeOffset="-131231.31">21220 13070 0,'-14'0'0,"1"14"0,40-28 0,-67 41 15,27-14-15,-1 0 0,1 1 16,0 12-16,-13 14 0,-1 26 16,14-26-16,0-1 0,-1 1 15,-12 13-15,13-13 0,-1-1 0,1 1 16,0-14-16,13 14 0,-13 0 16,13-14-16,0 1 0,0-14 0,0 0 15,0 0-15</inkml:trace>
  <inkml:trace contextRef="#ctx0" brushRef="#br0" timeOffset="-131033.4">21669 13137 0,'-132'105'31,"92"-65"-31,-224 198 16,224-198-16,14-14 0,-14 14 15,40-27-15,-13 0 0</inkml:trace>
  <inkml:trace contextRef="#ctx0" brushRef="#br0" timeOffset="-130887.56">21788 13295 0,'-198'225'15,"-120"106"1,199-199 0</inkml:trace>
  <inkml:trace contextRef="#ctx0" brushRef="#br0" timeOffset="-106352.39">265 10808 0,'13'40'15,"0"-27"-15,-13 0 0,13 14 0,-13-1 16,14 1-16,-1-1 0,13 40 16,-13-39-16,1 12 15,-1 41 1,0-67-16,-13 14 0,0-14 0,13 0 16,-13 0-16,0 0 0,14-13 15,-14 14-15</inkml:trace>
  <inkml:trace contextRef="#ctx0" brushRef="#br0" timeOffset="-106131.64">450 10769 0,'-13'-40'0,"39"199"16,-39-278-16,0 66 0,26 92 15,-13-25 1,13-1-16,0 13 0,0 14 0,14-14 15,-14 1-15,40 65 16,-40-65-16,14-1 16,-14 1-16,0-14 0,0 13 0,1-12 15,-1 12-15,13 1 16,-26-14-16,14-13 0,-14 13 0,13 0 16</inkml:trace>
  <inkml:trace contextRef="#ctx0" brushRef="#br0" timeOffset="-105905.33">437 11179 0,'-14'-14'0,"28"14"16,-1-13 0,0 0-16,0 0 0,0-1 0,14 1 15,-1 0-15,1 0 0,-14-14 0</inkml:trace>
  <inkml:trace contextRef="#ctx0" brushRef="#br0" timeOffset="-105650.73">781 10941 0,'0'52'47,"0"-38"-47,0-1 16,0 0-16,13-13 0,-13 13 0,-13-118 0,39 210 15,-13-91-15,14-14 16,-14 13-16,13-26 16,-12 13-16,-14-14 15,0 1-15,0 0 16,-14 0-16,1-1 0,0 1 15,0 0-15,-1 13 0,1-13 16,0 13-16,0 0 0,0 13 16,-1-13-16,1 13 0,13 0 15,-13 14-15,13-14 0,-13 14 16</inkml:trace>
  <inkml:trace contextRef="#ctx0" brushRef="#br0" timeOffset="-105295.54">463 11800 0,'0'0'15,"13"27"1,0-14 0,-13 0-16,14 14 0,-1-1 0,13 1 15,-12-1-15,-1 14 0,0-14 16,0 14-16,1-14 0,-1 1 0,0-1 15,0-12-15,0 12 0,-13-13 0,14 14 16,-1-14-16,-13 0 16,13-13-1</inkml:trace>
  <inkml:trace contextRef="#ctx0" brushRef="#br0" timeOffset="-105086.52">714 11814 0,'-13'-40'31,"26"80"-15,-13-40-16,14 13 0,-14 13 15,26 1-15,-13-1 0,1 1 0,12 12 16,-13-12-16,27 26 0,-27-27 16,0-13-16,1 14 15,-1-14-15,0 0 0,0 1 0,0 12 16,-13-13-16,0 1 15</inkml:trace>
  <inkml:trace contextRef="#ctx0" brushRef="#br0" timeOffset="-104879.33">661 12197 0,'0'-13'0,"14"-13"31,-1 26-31,0-14 0,0 1 0,1 13 16,-14-13-16,13 0 0,0 13 0,0-14 15,1 14-15,-1-13 16,13 0-16,-13 0 0,1 13 0,-1-13 0,27-14 16</inkml:trace>
  <inkml:trace contextRef="#ctx0" brushRef="#br0" timeOffset="-104568.4">1138 11840 0,'-53'40'0,"26"-14"16,14-13 0,0 1-1,13-1-15,0 0 0,13-13 16,14 0-1,-14-13-15,0 0 16,0 13-16,14-14 31,-14 1-31,0 26 0,0-13 16,1 14-16,-1-14 16,0 13-16,0-13 0,1 13 15,-1-13-15,-13 13 0,13-13 16,0 0-16,0-13 15,1 0-15,-1 0 16,-13-1-16</inkml:trace>
  <inkml:trace contextRef="#ctx0" brushRef="#br0" timeOffset="-104244.46">1058 10702 0,'27'-13'0,"-14"0"16,0 13-16,0 0 0,14-13 0,-14 13 15,0 0-15,1 0 16,-1-14-16,13 14 0,-26 14 0,14-1 16,-14 0-16</inkml:trace>
  <inkml:trace contextRef="#ctx0" brushRef="#br0" timeOffset="-104104.43">1204 10835 0,'40'-27'31,"-27"14"-31,0 13 16,13-26-16,-12 26 0,-120 66 0,238-132 15,-92 52 1</inkml:trace>
  <inkml:trace contextRef="#ctx0" brushRef="#br0" timeOffset="-103738.33">1759 11853 0,'53'-13'16,"-26"0"0,-27 0-16,13 13 15,0 0-15</inkml:trace>
  <inkml:trace contextRef="#ctx0" brushRef="#br0" timeOffset="-103581.52">1892 11972 0,'26'0'16,"1"-13"-1,-14 0-15,13 0 0,-12-1 0,25 1 16,-184 79-16,317-145 0,-146 66 0,1-14 15,-1 14-15,-13 0 0</inkml:trace>
  <inkml:trace contextRef="#ctx0" brushRef="#br0" timeOffset="-93609.28">2275 2977 0,'-13'26'0</inkml:trace>
  <inkml:trace contextRef="#ctx0" brushRef="#br0" timeOffset="-93093.1">2051 3162 0,'-40'0'15,"66"-13"17,-12-1-32,12 14 0,27-13 15,-27 0-15,14 13 0,26-27 16,-26 27-16,39-13 15,-52 0-15,26 13 16,-14-13-16,-12 13 0,-1 0 16,-13 0-16,14 0 15,-1 0-15,-12 0 16,-14-14-16,13 14 31</inkml:trace>
  <inkml:trace contextRef="#ctx0" brushRef="#br0" timeOffset="-92677.37">2355 2924 0,'-13'0'0,"52"13"16,1 0 0,-27-13-1,14 13-15,-14-13 0,27 14 16,-14-1-1,0-13 1,14 26-16,-40-13 16,0 14-16,0-1 15,-13 1 1,-27 52 0,27-66-16,-13 27 0,12-27 15,1 1-15,13-1 31,-26 27-31,26-27 16,-27 13 0,27-13-16</inkml:trace>
  <inkml:trace contextRef="#ctx0" brushRef="#br0" timeOffset="25363.12">20294 10570 0,'13'13'15,"-13"14"-15,13-14 0,-13 13 16,13 54-1,-13-1 1,0-66-16,0 27 16,0-27-16,0 27 15,0-27-15,0 1 16</inkml:trace>
  <inkml:trace contextRef="#ctx0" brushRef="#br0" timeOffset="25872">20809 10570 0,'-132'27'16,"119"-14"-16,0 0 16,0-13-16,13 13 15,13 0-15,-13 1 0,13-1 16,-13 0-16,26 0 16,-12 1-16,-1-1 0,13 0 15,-26 0-15,14-13 0,-1 14 16,-13-1-16,0 0 0,0 0 15,-13 0 1,13 1-16,-27-1 0,14 0 0,0-13 16,-1 13-16,-25 14 15,26-27-15,-1 13 0,1-13 16,0 13-16,0-13 0</inkml:trace>
  <inkml:trace contextRef="#ctx0" brushRef="#br0" timeOffset="26072.17">20955 10742 0,'0'-13'31,"0"26"-31,-13-26 16,0 13-1,13 13 1,-14-13 0</inkml:trace>
  <inkml:trace contextRef="#ctx0" brushRef="#br0" timeOffset="26423.45">21153 10597 0,'-39'66'0,"39"-53"16,0 0-16,0 0 0,0 1 15,26 12 1,-13-13-16,1-13 0,-1 14 0,13-14 15,-12 0-15,-1 0 0,0-14 16,0 14-16,0-13 16,1 13-16,-1-13 0,0 13 0,-13-13 15,0-1-15,0 1 0,0 0 16,0 0-16,-13-1 16,0 1-16,-1 0 0,1 13 15,-13-13-15,13 13 0,-1 0 16,1 0-16,0 0 15,0 13-15,-1-13 0,1 0 0</inkml:trace>
  <inkml:trace contextRef="#ctx0" brushRef="#br0" timeOffset="26850.97">21392 10504 0,'66'26'15,"-53"-12"-15,0-1 0,-13 0 16,13 0-16,-13 1 0,0 25 16,0 1-16,-13-27 15,13 0-15,-13 1 16,13-1-16,-13-13 0,13 13 15,-14 0 1,14-39 0,-52-199-16,131 410 15,-66-198-15,14-27 16,-27 27 0,13 0-16,-13 0 0,13-27 15,-13 27-15,0-14 0,-13 14 16,13 0-16,0 0 15,-13-1-15,-1 1 0,1 13 16,0 0-16,0-13 0,-1 26 16,1-13-16,0 0 15,0 0 1</inkml:trace>
  <inkml:trace contextRef="#ctx0" brushRef="#br0" timeOffset="27110.07">21643 10570 0,'26'66'16,"-26"-53"-16,14-13 16,-1 0-16,0 14 0,0-14 15,1-14-15,-1 14 16,0-13-16,0 0 15,-13 0-15,-13 0 16,13-1-16,-13 1 16,0 13-16,-1 0 0,1-13 0,-13 13 15,-14 13-15,53-13 0,-53 0 0,1 0 0,-14 13 16,-13 1-16</inkml:trace>
  <inkml:trace contextRef="#ctx0" brushRef="#br0" timeOffset="28058.9">15677 10054 0,'26'27'16,"-26"12"-16,13 14 0,0 0 0,1 93 15,-1-67-15,0 27 16,0-14-16,1 14 0,-1 0 16,27 53-16,-27-67 0,13-12 15,-13-1-15,1-13 0,12 1 0,1-1 16,-14-13-16,0 13 0,14-13 15,-27-14-15,26-12 0,-26-1 0,13 1 16,-13-14-16,13 0 0</inkml:trace>
  <inkml:trace contextRef="#ctx0" brushRef="#br0" timeOffset="28402.38">14989 11417 0,'238'-27'15,"-159"14"-15,14 0 0,39 0 16,0-1-16,1-12 15,171-14-15,-132 14 0,-13 13 16,13-14-16,13 1 0,172-14 16,-13 0-16,-172 27 0,-13 0 15,-1 0-15,-12-1 0,-1 1 16,-12 0-16,-41 0 0,94 13 16,-120-14-16,0 14 0,-26 0 15,-14 0-15,14 0 0,-27 0 16</inkml:trace>
  <inkml:trace contextRef="#ctx0" brushRef="#br0" timeOffset="29610.96">16034 11126 0,'26'-14'15,"-13"14"-15,27-13 16,-27 0-16,14 0 15,-1 0-15,-13-1 0,1 1 16,12 0-16,-13 0 0,1-1 16,-1 1-16,0 0 0,14 0 15,-14 0-15,0-14 0,0 14 0,0-14 16,1 1-16,-1-27 0,13 0 16,-12 27-16,-1-1 15,0 1-15,14-27 0,-14 26 0,13 1 16,-13-1-16,1 1 15,12-27-15,1 27 0,-14-1 16,13 1-16,14-27 0,-27 26 16,14 1-16,-14-1 0,13 1 15,1-1-15,-1 1 0,1 13 0,-1-14 16,27-12-16,-26 25 0,-1 1 16,0 0-16,1 0 0,-1-1 15,1 1-15,-1 0 0,1 13 16,-1-13-16,27 0 0,-26 13 15,-1-14-15,1 14 0,-14 0 16,40 0-16,-40 0 0,13 14 0,-12-14 16,12 13-16,0-13 15,1 13-15,-1-13 0,-12 13 0,12 0 0,1 1 16,-14-1-16,26 0 0,-12 0 16,-1 1-16,-12-1 0,12 0 15,14 27-15,-14-27 0,-13 0 16,14 0-16,-14 1 0,27 12 15,-14 1-15,-12-14 0,-1 0 16,13 0-16,-13 1 0,27 12 16,-27-13-16,27 0 0,-27 1 15,1-1-15,12 0 16,-13 0-16,27 14 0,-14-14 16,-12-13-16,12 13 0,0 1 0,1-1 15,26 13-15,-27-26 16,1 13-16,-1-13 0,1 14 0,-1-14 15,1 0-15,-1 0 0,14 13 16,-14-26-16,-13 13 0,14 0 16,-14 0-16,0-14 0,14 14 0,-14 0 15,0-13-15,0 0 0,-13 0 16</inkml:trace>
  <inkml:trace contextRef="#ctx0" brushRef="#br0" timeOffset="30069.94">18375 10491 0,'53'79'16,"-40"-39"-16,14 26 15,-27-26-15,13-1 0,27 94 16,-40-107-16,13 1 15,0-14-15,-13 13 0,0-13 16,14 14-16,-1-14 0,0 14 16</inkml:trace>
  <inkml:trace contextRef="#ctx0" brushRef="#br0" timeOffset="30486.11">18852 11112 0,'13'14'15,"-13"-1"-15,13 0 0,-13 14 16,13-14-16,-13 0 15,13 27-15,-13-27 0,0 27 16,14-27-16,-14 0 0,0 0 16,0 1-16,0-1 0,0 0 15,0 0-15,13-13 0,-13 14 16,0-1-16</inkml:trace>
  <inkml:trace contextRef="#ctx0" brushRef="#br0" timeOffset="30914.55">19209 11152 0,'-66'27'16,"66"-14"-1,-14-13-15,14 26 0,14-26 16,-14 14-16,0-1 0,13 0 0,0-13 16,-13 13-16,13 0 0,1 1 15,-1-1-15,-13 0 0,13-13 0,-13 13 16,0 1-16,13-14 0,-13 13 0,0 0 16,-13 0-16,0-13 15,13 14-15,-13-14 0,-1 13 16,1-13-16</inkml:trace>
  <inkml:trace contextRef="#ctx0" brushRef="#br0" timeOffset="31063.55">19315 11271 0</inkml:trace>
  <inkml:trace contextRef="#ctx0" brushRef="#br0" timeOffset="31339.21">19420 11205 0,'-26'27'0,"26"-14"0,0 0 16,13 0-16,-13 0 15,13 1-15,14-14 32,-14 0-32,0 0 0,1-14 15,-14 1-15,0-13 31,0 13-31,-14 13 0,1-14 16,0 1 0,0 13-1,-1 0-15</inkml:trace>
  <inkml:trace contextRef="#ctx0" brushRef="#br0" timeOffset="31682.34">19513 11152 0,'13'0'0,"0"0"16,-65 13-16,118-26 0,-53 13 0,-66 0 0,119 0 0,-66 13 15,13-13-15,1 0 0,-1 14 0,0-1 16,-13 0 0,0 0-16,0 14 15,-13-14-15,13 0 31,0-39-15,0 13 0,13-14-1,-13 14-15,13 0 0,-13-1 16,0 1-16,0 0 0,0 0 16,0-1-16,-13 1 15,13 0-15,0 0 16,-13 13-16</inkml:trace>
  <inkml:trace contextRef="#ctx0" brushRef="#br0" timeOffset="31917.17">19751 11033 0,'13'53'0,"-26"-106"0,40 106 16,-14-40-16,0-13 16,0 0-1,-13-13 1,-13 0 0,13 0-16,-13 13 15,0 0-15,-1 0 16,1 0-16,-27 0 0,14 13 15</inkml:trace>
  <inkml:trace contextRef="#ctx0" brushRef="#br0" timeOffset="32866.44">17873 10967 0,'26'26'16,"-26"-12"-16,0-1 0,13 0 0,-13 0 15,0 14-15,14-1 0,-14-13 0,0 14 16,0-1-16,13 1 0,-13-14 16,0 14-16</inkml:trace>
  <inkml:trace contextRef="#ctx0" brushRef="#br0" timeOffset="33148.31">17833 11496 0,'13'40'16,"-13"-27"0,0 0-16,0 1 0,0-1 15,0 0-15,0 0 0,0 0 16,0 1-16</inkml:trace>
  <inkml:trace contextRef="#ctx0" brushRef="#br0" timeOffset="33335.95">18031 11496 0,'0'-13'0,"-13"39"31,13-12-15,0-1-16,0 13 15</inkml:trace>
  <inkml:trace contextRef="#ctx0" brushRef="#br0" timeOffset="33679.09">18177 11589 0</inkml:trace>
  <inkml:trace contextRef="#ctx0" brushRef="#br0" timeOffset="34011.19">18375 11417 0,'-26'26'31,"26"-13"-31,-13 1 16,-1-1-16,14 0 0,-13 0 15,0 1-15,13-1 16,-13 0-16,13 0 0,-14-13 0,14 14 15,0-1-15,0 0 16,14-13-16,-14 13 16,13-13-16,0 0 15,0 0-15,1 0 0,-1 0 0,0 0 16,14-13 0,-14 13-16,-13-13 15,13 13-15</inkml:trace>
  <inkml:trace contextRef="#ctx0" brushRef="#br0" timeOffset="34179.9">18415 11430 0,'-13'26'16,"13"-12"-1,0-1-15,0 27 16,0-27-16,-13 0 0,13 0 15,0 14-15,0-14 0,-14 0 0,14 0 16</inkml:trace>
  <inkml:trace contextRef="#ctx0" brushRef="#br0" timeOffset="34530.32">18600 11496 0,'-26'27'16,"13"-1"-1,13-13 1,-14 1-16,14-1 16,14-13-16,12 0 31,-13-27-16,0 27 1,-13-13-16,14 0 16,-1 39 15,-13-12-15,0-1-16,0 0 0,0 0 0,13 0 15,-13 1-15,0-1 16,0 0-16,13 0 0</inkml:trace>
  <inkml:trace contextRef="#ctx0" brushRef="#br0" timeOffset="35579.83">17846 12078 0,'66'0'0,"-39"0"16,26-13-16,0 13 0,0 0 15,-1-13-15,15 0 0,52-1 16,13 1-16,-66 0 15,13 0-15,1-1 0,79-12 16,-1-14-16,-78 27 16,-1-13-16,80-1 0,-93 1 15,13 12-15,-26 1 0,13-13 16,-13 13-16,-13-1 0,0 1 0,26-13 16,-40 12-16,1 1 0,-14 0 15,0 0-15,0-1 0,1 1 16,-1 0-16,13-13 15,-12-1-15,-1-13 0,-13 27 0,13-27 16,-13 27-16,0-13 16,13 13-16,-13-1 0,0-12 0,0 13 15,0-1-15,0-12 0,-13 13 16,13-1-16,0-12 0,-13 13 0,13 0 16,-13-27-16,13 27 15,-14-1-15,14 1 0,0-27 16,-13 27-16,13 0 0,0-13 15,-13-14-15,13 27 16,0-1-16,-13 1 0,-1-26 16,1 25-16,0 1 0,0-13 15,-14-1-15,1 1 0,-14-1 16,-52-12 0,65 25-16,-13 1 0,14 13 15,-14-13-15,1 13 0,-1 0 16,0-13-16,1 13 0,-1 0 0,0 0 15,0 0-15,-12 13 0,-15-13 16,41 0-16,-27 13 0,13-13 16,1 13-16,-41 1 0,41-14 15,-41 26-15,40-13 0,1 0 16,-14 1-16,13-1 0,-79 13 16,27 1-16,52-14 15,-53 14-15,1-1 16,52-13-16,0 0 0,1 1 15,-1-14-15,0 13 0,1 0 16,-41 14-16,40-14 0,14 0 16,-14 13-16,1-12 0,12-1 15,-39 27-15,0 13 16,13-14-16,13-12 0,14-1 16,-1 1-16,1-1 0,13 1 15,-27 25-15,14-25 0,12 13 16,-12 13-16,26-27 15,-13 27-15,13-27 0,0 1 16,13-1-16,-13 14 16,26 26-16,-12-39 0,12-1 15,27 14-15,13-1 0,-13-25 16,0-1-16,13 0 16,-13-13-16,0 13 0,66-13 15,-66 0-15,66 0 0,-66 0 16,0 0-16,0-13 0,0 13 15,26-13-15,-26 13 0,-13-13 16,39-1-16,0-12 16,-39 13-16</inkml:trace>
  <inkml:trace contextRef="#ctx0" brushRef="#br0" timeOffset="107085.87">21246 12740 0,'-40'0'46,"-13"-14"-30,-52-12-16,12 0 0,-53 12 16,1-12-16,-1 13 15,-145-27 1,186 40-16,12-13 16,0 13-16,1 0 15,39 0-15,0 0 16,0 0-16,13 0 15,-13 26-15,14 14 16,-27 13-16,26-40 16,-13 40-16,27-27 15,-54 54 1,54-41-16,-1 14 16,-26 66-1,27-26 1,13-14-16,13-26 0,-27 0 15,27 93 1,0-54 0,0-26-16,0 14 15,13-27-15,40 26 16,-26-26-16,26 26 16,0-26-16,-14 0 15,41 13-15,52 40 16,-92-106-1,171 0 1,-92 0 0,106 0-1,-185 0 1,53 0-16,26 0 0,26 0 16,-52 0-16,-27 0 15,40 0 1,-40 0-16,26 0 15,14 0-15,-13 0 16,-1-39-16,1 12 0,66-13 31,-80 14-31,-52 13 16,-1-14-16,-13 27 16,1-13-16,-14 0 15,26-14-15,1 14 16,-14-27-1,-13-12-15,26-28 16,1 14-16,-27 13 16,13-119-1,-13 93-15,0-40 16,0 53-16,0-14 16,-27 40-16,1-26 15,-27 13-15,27-13 16,-1 27-16,-13-14 15,1 13-15,12-13 16,-26 13 0,0 14-16,-52-27 0,-28-26 15,14 12 1,13 28-16,1 12 16,-1-26-16,40 53 15,39-13-15,-12 13 0,39-13 16</inkml:trace>
</inkml:ink>
</file>

<file path=ppt/ink/ink22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43:58.333"/>
    </inkml:context>
    <inkml:brush xml:id="br0">
      <inkml:brushProperty name="width" value="0.05292" units="cm"/>
      <inkml:brushProperty name="height" value="0.05292" units="cm"/>
      <inkml:brushProperty name="color" value="#0070C0"/>
    </inkml:brush>
  </inkml:definitions>
  <inkml:trace contextRef="#ctx0" brushRef="#br0">9710 2791 0,'13'14'15,"14"-14"-15,-1 0 0,80-14 16,-53 14-16,13-13 0,14 0 16,-1 0-16,106-1 0,-105 1 15,12 13-15,-12-13 0,78 0 16,-92 0-16,-13 13 0,0-14 15,-13 14-15,-14 0 0,1 0 0,-14 0 16,14 0-16,-14 0 0,0-13 0,0 13 16,0 0-1,-26-13 1,-26 0 15,12-1-31,14 14 0</inkml:trace>
  <inkml:trace contextRef="#ctx0" brushRef="#br0" timeOffset="592.05">11628 2659 0,'14'13'16,"-1"-13"-16,0 0 0,0 0 16,14 0-16,-1 0 0,14 14 15,0-14-15,-14 0 0,14 0 16,66-14-1,-67 14-15,-25 0 16,12 0-16,-13 0 0,0 0 16,1 0-16</inkml:trace>
  <inkml:trace contextRef="#ctx0" brushRef="#br0" timeOffset="2157.44">19936 1879 0,'-13'13'15,"53"-13"1,-27-13-16,0 13 0,14 0 15,-1 0-15,14-14 0,-14 14 0,54 0 16,-54-13-16,1 13 16,-1 0-16,27-13 0,-40 13 15,0 0-15,1 0 0,-1 0 16,0 0-16,0 0 0,1 0 16,-1 0-1,0 0-15,-13 13 16,13-13-16,-13 13 15</inkml:trace>
  <inkml:trace contextRef="#ctx0" brushRef="#br0" timeOffset="2954.33">21762 1812 0,'40'0'15,"-14"0"-15,-13-13 16,14 13-16,-14 0 0,14 0 0,-1 0 16,0-13-16,1 13 0,-1 0 0,1 0 15,-14-13-15,13 13 0,-12 0 16,-1 0-16,0 0 0,0 0 0,1-14 15,-1 14-15,0 0 16,-39-13 0,12 13-1,-12 0-15</inkml:trace>
  <inkml:trace contextRef="#ctx0" brushRef="#br0" timeOffset="3817.05">20201 1759 0,'-13'-66'16,"13"53"-16,-14-53 16,14 53-16,-13-14 0,13 14 0,0 0 15,-13-14-15,13 14 0,0-13 16,13 12-16,0 1 15,1-13-15,-1 13 0,27-1 16,39-12-16,-26-1 0,13 14 16,0 0-16,0-14 0,14 14 15,-1 0-15,0 0 0,14 0 16,-14-1-16,14 1 0,0-13 0,-1 12 16,1 1-16,-14 0 0,14 13 0,-14-13 15,-13-1-15,1 14 0,-15-13 0,-12 13 16,0 0-16,-14-13 0,14 13 15,-27 0-15,0 0 16,1 0-16,-1 0 0,0-13 0,0 13 16,1 0-16,-1 0 15,0 13-15,-13 0 16,13-13-16,-13 13 0,0 14 16,13-14-16,-13 0 0,0 14 0,0-1 15,14 1-15,-14-14 0,0 13 16,0 1-16,0-1 0,13-12 0,-13-1 15,0 13-15,0-12 0,13-1 16,-13 13-16,13 1 0,-13-14 16,14-13-16,-1 13 0</inkml:trace>
  <inkml:trace contextRef="#ctx0" brushRef="#br0" timeOffset="19744.97">19116 4114 0,'27'-26'0,"-27"13"15,0-1-15,-14-12 16,-25 13 0,-1 13-1,14 13 1,-1 0-16,14 0 0,-40 67 16,40-67-16,-1 13 15,14 1-15,-13-14 0,13 14 16,0-14-16,0 13 0,0-13 0,0 1 15,13 12-15,14 1 0,-14-14 16,0 0-16,1 0 0,12-13 16,-13 0-16,1 0 0,-1 0 0,13 0 15,-13 0-15,14-13 0,-1 0 16,-12 0-16,12-1 0,-13 1 0,1 0 16,12 0-16,-13-1 0,-13 1 0,13 13 15,1-13-15,-14 0 0,13 13 16,0 13-1,0 13 1,-13-12-16,0-1 0,0 0 16,14 0-16,-14 14 0,0-14 15,0 0-15,13 14 0,-13-14 0,0 0 16,0 0-16,13 1 0,-13-1 0,0 0 16,0 0-16,13-13 0,-13 14 15</inkml:trace>
  <inkml:trace contextRef="#ctx0" brushRef="#br0" timeOffset="20326.45">20095 4008 0,'-13'0'16,"0"0"-1,13 14-15,-14 25 16,1-25-16,13 12 0,0 1 16,-13-1-16,13-13 0,0 14 15,0-1-15,0 1 0,0-14 16,0 13-16,13 14 0,-13-27 0,13 0 16,-13 1-16,14-1 0,-1-13 15,-13 13-15,13-13 0,14 13 16,-14-13-16,0 0 15,0 0-15,0-13 0,1 13 16,-1-13-16,0 0 0,14-1 16,-14 1-16,0 13 15,0-13-15,1 13 16,-1 0-16,0 26 16,-13-12-1,0-1 1,0 0-16,0 0 0,13 1 15,-13-1 1,13-13-16,1 0 16</inkml:trace>
  <inkml:trace contextRef="#ctx0" brushRef="#br0" timeOffset="20660.43">20611 4260 0,'13'0'0,"-13"13"15,0 0-15,0 0 0,0 1 16,-13-1-16,13 0 0,0 0 16,-13 1-16,13-1 0,0 0 0,0 0 15,0 1 1,13-14-16,0 13 0,14-26 16,12 13-1,-12-14 1,-14 1-16</inkml:trace>
  <inkml:trace contextRef="#ctx0" brushRef="#br0" timeOffset="21211.28">19473 4511 0,'0'-13'0,"-13"39"16,13-12-16,0 39 16,0-40-16,0 0 0,0 13 15,13-12-15,-13-1 0</inkml:trace>
  <inkml:trace contextRef="#ctx0" brushRef="#br0" timeOffset="21824.51">21669 3836 0,'-66'106'0,"53"-79"0,13-14 16,0 13-16,-13-12 0,13-1 0,0 13 15,13-12-15,-13-1 0,13 0 16,0-13-16,1 0 16,-1 0-16,0 0 0,0 0 15,1-13-15,12 13 0,-13 0 0,1-13 16,-1 13-16,0 0 16,0 0-16,0 0 0,1 0 15,-14 13-15,13-13 0,0 13 16,-13 0-16,13-13 15,-13 14-15,14-14 0,-14 13 0,13-13 16,-13 13-16,13-13 0,-13 13 16,13-13-16</inkml:trace>
  <inkml:trace contextRef="#ctx0" brushRef="#br0" timeOffset="22352.35">22066 4048 0,'0'13'16,"13"1"-1,-13-1-15,14-13 0,-14 13 16,13 0-16,0 1 0,0-1 16,-13 0-16,14-13 0,-14 13 15,13-13-15,-13 13 0,0 1 16,0-1-16,0 0 15,-13 0-15,13 1 16,-14-14-16,14 13 0,-13-13 16,13 13-16,-13-13 0,0 13 15,-1 0 1</inkml:trace>
  <inkml:trace contextRef="#ctx0" brushRef="#br0" timeOffset="26860.83">18547 3704 0,'0'146'16,"0"-93"-16,0 13 0,0-13 0,14 13 0,-14 0 15,13 0-15,-13-13 0,13 53 16,-13-53-16,0-14 0,0 14 16,13 80-1,-13-107-15,13 14 16,-13-27-16</inkml:trace>
  <inkml:trace contextRef="#ctx0" brushRef="#br0" timeOffset="27613.66">18283 3664 0,'278'-79'15,"-212"53"-15,13 12 0,14-12 16,26-1-16,-13 1 0,13 0 0,132-41 16,-119 41-16,14 0 0,304-54 15,-292 54-15,-12-1 16,13 1-16,-14 13 15,146-27-15,-145 13 0,-14 14 0,0 0 16,-13 0-16,-26 13 0,-14-14 16,1 14-16,52-13 15,-79 13-15,-13-13 0,-14 13 0,0 0 16,1 0-16,-14 0 0,0-13 0,1 13 16,-1 0-16,0 0 0,0 0 31,1 0-31,-1 13 0,0 13 15,-13-12-15,13 25 16,-13-12-16,13 13 16,-13-1-16,14 14 0,39 93 15,-40-93-15,53 92 16,-40-105-16,1-1 16,-1 1-16,1 0 0,-1 0 0,1-1 15,-1-12-15,-13 12 0,14-12 0,-14-1 16,14 14-16,-27-14 15,13-12-15,0 12 0,-13-13 0,13 1 16,-13 12-16,0-13 0,0 1 16,13-1-16,-26 0 15,13 0-15,0 0 0,0 1 16,-13-1-16,0 0 0,0 0 0,-1-13 16,-39 27-1,27-14-15,-27 0 0,0 0 0,0 1 16,-13-1-16,-13 0 0,-1 14 0,-12-14 15,-14 13-15,-13-12 0,-133 38 16,120-25-16,0-1 0,-14 1 16,14-1-16,-27 1 0,14 12 0,-159 14 15,145-13-15,0-14 16,0 1-16,14-1 0,-1 1 16,14-1-16,0-12 0,-1 12 0</inkml:trace>
  <inkml:trace contextRef="#ctx0" brushRef="#br0" timeOffset="28949.66">18574 3916 0,'397'-159'0,"-331"133"16,13-1-16,-13 1 0,14 12 15,-1-12-15,-13 0 0,14 12 0,-1-12 16,-13 13-16,0-1 0,27 1 16,-40 0-16,-14 13 0,-12 0 15,-1 0-15,1 0 0,-1 13 16,1-13-16,-1 13 0,1 1 0,12-1 16,-12 13-16,-1-12 0,1 12 0,-1 0 15,27 27-15,-13-26 16,-1 13-16,1-1 0,0 1 0,0 0 15,-1-1-15,1 1 0,-14 0 0,14-1 16,0 1-16,-14 0 16,14-1-16,13 28 0,-27-41 0,-13 14 15,14-14-15,-1 1 0,-12-1 0,-1 1 16,0-1-16,14 0 0,-14 1 16,-13-14-16,13 0 0,0 1 0,-13 12 15,13-13-15,-13 1 0,14-1 0,-14 0 16,13-13-16,-13 13 15,0 0-15,13-13 0,-13 14 0,0-1 16,0 0-16,-13 0 16,-14 1-1,14-14-15,-13 13 0,13 0 16,-67 13-16,27-26 0,0 14 16,-13 12-16,-13-13 0,-1 1 15,14-1-15,-26 0 0,12 14 0,-39-14 16,0 13-16,0 1 0,13-1 15,-13 1-15,13-1 0,-13 1 0,14-1 16,25-13-16,1 0 0,-1 14 0,1-14 16,13 0-16,0 1 0,0-14 15,13 13-15,13-13 0,13 13 16,1-13-16,0 0 0,12 13 0,1-13 16,0 0-16,0 0 0,-1 0 0,1 0 15,-13 14 1,13-14-16,-1 0 15,1 0 1,13-14 0,-13-12-1,13 13-15,-13-14 0,13 1 0,0-14 16,-14 0-16,14-13 0,-13 0 16,13-13-16,0-13 0,0 13 0,-13 0 15,13-14-15,0 14 0,-13 0 0,13 0 16,0 0-16,-14 26 0,14-13 15,0 13-15,-13 1 0,13 12 0,0 1 16,0-14-16,0 27 0,0-14 16,0-12-1</inkml:trace>
  <inkml:trace contextRef="#ctx0" brushRef="#br0" timeOffset="38690.33">15293 2963 0,'-40'80'16,"53"-67"-16,-13 0 0,0 0 0,14 1 15,-14-1-15,13 0 0,0 14 16,14-1-16,-14-26 16,0 13-16,0-13 0,1 0 15,25 0 1,-26 0-16,1-13 0,-1 13 16,0-13-16,-13 0 0,13-1 0,1 1 0,-1 0 15,-13 0-15,13-1 0,-13-12 16,13 13-16,-13-1 0,0 1 15,0 0-15,0 0 0,-13-14 0,13 14 16,0 0-16,-13 0 0,-14-14 16,14 14-16,-13 0 15,12 13-15,1 0 0,0-13 16,0 13-16,-14 0 0,14 0 0,0 0 16,-14 0-16,14 0 0,-27 13 15,27 0-15,-13-13 0,13 13 16,-1 0-16,1 1 0,13-1 15,-13-13-15,26 26 16,0-12-16,14-14 16</inkml:trace>
  <inkml:trace contextRef="#ctx0" brushRef="#br0" timeOffset="39305.25">16034 2738 0,'-13'-13'0,"39"40"32,-13-14-17,-13 0-15,13 0 0,1 1 0,-1-1 0,-13 0 16,13-13-16,0 13 0,14 1 15,-14-1-15,0-13 16,0 13-16,1-26 16,-1 13-16,13-27 15,-26 14 1,0-13-16,0 12 0,14 1 16,-28 0-16,14-27 15,0 27-15,0 0 16,0 0-16,-13-1 15,13 1 1</inkml:trace>
  <inkml:trace contextRef="#ctx0" brushRef="#br0" timeOffset="39585.82">16338 2553 0,'13'40'15,"0"-40"-15,1 13 16,-1 0-16,0 1 0,0-1 0,1 0 16,-1 0-1,-13 1-15,0-1 0,13-13 0,-13 13 0,-13 0 16,13 0-16,0 1 15,-27 12 1,14-26-16,13 13 0,-13-13 0,13 14 16,-13-14-16</inkml:trace>
  <inkml:trace contextRef="#ctx0" brushRef="#br0" timeOffset="39891.39">16563 2487 0,'13'-13'15,"-13"39"17,0 1-32,0-14 0,13 0 15,1 27 1,-1-27-16,0 27 15,0-27-15,1 0 16,-1-13-16,-13 14 16,13-14-16,0 0 0,0 13 0,1-13 15,-1 0-15,0 0 0,0 0 16,1 0-16,25-27 16,-25 27-1,-14-13 1</inkml:trace>
  <inkml:trace contextRef="#ctx0" brushRef="#br0" timeOffset="40053.48">16656 2580 0,'52'-40'0,"-38"27"0,-1 0 16,0-1-16</inkml:trace>
  <inkml:trace contextRef="#ctx0" brushRef="#br0" timeOffset="40248.01">16603 2487 0,'-14'0'16,"28"-26"15,12 12-15,-13 14-16,1-13 15,38-13 1,-38 12-16,12 1 16,-13 13-16,1 0 0,-1-13 15</inkml:trace>
  <inkml:trace contextRef="#ctx0" brushRef="#br0" timeOffset="40633.26">17171 2553 0,'27'-13'31,"-1"0"-31,-12 13 16,25-27 0,-12 14-16,-14 13 0,0-13 0,0 13 15,27-13-15,-27-1 16,1 14-16,-1-13 16,0 0-16,0 0 15</inkml:trace>
  <inkml:trace contextRef="#ctx0" brushRef="#br0" timeOffset="40869.83">17410 2328 0,'0'0'0,"13"-13"0,0 13 15,0 0 1,14 13-16,-14-13 15,0 0-15,-13 14 0,27-1 16,-14 0-16,-13 13 16,0-12-16,13-1 15,-13 0-15,0 0 16,0 1-16,0-1 16,-13-13-16,13 13 15</inkml:trace>
  <inkml:trace contextRef="#ctx0" brushRef="#br0" timeOffset="41716.76">17767 2130 0,'-40'40'0,"40"-27"0,0 0 16,-13 0-16,13 27 15,0-27-15,0 0 0,13 1 0,-13 12 16,0-13-16,13 1 0,-13-1 0,14 0 15,-1 0-15,0-13 16,13 13 0,-12-13-16,12 0 15,-13-13-15,1 13 0,-1 0 0,0-13 16</inkml:trace>
  <inkml:trace contextRef="#ctx0" brushRef="#br0" timeOffset="42152.53">17952 2117 0,'-13'13'16,"13"0"0,0 0-16,-13 1 15,13-1-15,0 0 0,13 0 16,-13 0-16,0 1 0,0 12 15,13-13 1,-13 1 0,13-1-16,0-13 15,1 13 1,-1-13 15,0 0-31,0 0 16,1 0-1,-1-13-15,0 13 16,0-13-16,1 13 16,-1 0-1,0 0 1,-13 13 15,13-13-15</inkml:trace>
  <inkml:trace contextRef="#ctx0" brushRef="#br0" timeOffset="42276.39">18177 2170 0,'-13'0'0</inkml:trace>
  <inkml:trace contextRef="#ctx0" brushRef="#br0" timeOffset="42773.46">18269 2130 0,'-13'13'94,"13"0"-47,0 1-31,0-1-1,13-13 1,1 13-16,-1 0 15,0-13 1,-13 13-16,13-13 16,-13 14-16,-13-1 31,0 0-15,0-13-16,13 13 15,-14-13 1,1 14-16</inkml:trace>
  <inkml:trace contextRef="#ctx0" brushRef="#br0" timeOffset="53958.07">9446 1839 0,'53'317'15,"-53"-251"-15,13-13 16,0 14-16,-13-1 0,13 0 0,0 0 15,14 93-15,-27-120 16,13 1-16,-13 0 0,13-14 16,-13-12-16,14 12 0,-14-13 0,0 0 15,0 1-15</inkml:trace>
  <inkml:trace contextRef="#ctx0" brushRef="#br0" timeOffset="54698.55">9393 1852 0,'106'-40'15,"-54"27"-15,1 0 0,14 0 0,12-1 16,80-25-16,-67 26 16,14-14-16,13 1 0,0-1 15,14 1-15,-1-1 0,0 1 0,0-1 16,146-39-16,-132 27 16,-1 12-16,1-13 0,-1 14 0,-12-14 15,131-13-15,-132 27 0,-13-1 16,1 1-16,-28 13 0,-12-1 15,-1 1-15,0 0 0,-13 13 16,-13-13-16,-13 13 0,13-13 0,-27 13 16,-12 0-16,12 0 0,-13-14 15,1 14-15,-1 0 16,0 0-16,0 0 16,-13 14-16,13-14 15,-13 13-15,0 0 0,0 0 16,-13 14-16,13-1 0,0-13 0,0 27 15,0-13-15,0 12 0,0 1 0,13 0 16,1 65-16,-1-52 16,13 0-16,-12 0 0,12 0 15,40 106-15,-39-119 16,-1 12-16,-13-12 0,14-13 0,-14 12 16,14-12-16,-14 12 0,13 14 15,1-13-15,-27-27 16,13 0-16,-13 14 0,0-14 15,0 0-15,0 1 0,0-1 0,0 0 16,-13 0-16,-1 1 0,1-1 0,0 0 16,-13 13-16,-14-12 0,0-1 15,-13 0-15,-13 14 0,0-14 16,0 0-16,-27 0 0,-13 14 0,-145 12 16,119-25-16,-1 12 0,-25 1 15,12-14-15,-13 13 0,-158 27 16,158-26-16,0-1 0,14 1 15,-1-1-15,1-13 0,13 14 0,12-1 16,-12 1-16,26-1 0,-92 14 16,119-27-16,-1 0 0</inkml:trace>
  <inkml:trace contextRef="#ctx0" brushRef="#br0" timeOffset="56651.73">5900 4141 0,'40'0'0,"26"0"15,-13 0-15,13 0 0,13 0 16,1-13-16,12 13 0,-12 0 0,26 0 15,-14 0-15,14 0 0,40 0 0,-14 0 16,-26-14-16,132 14 16,-146-13-16,14 13 0,-13 0 0,0 0 15,-1-13-15,-12 13 0,-1 0 16,-13-13-16,-13 13 0,40 0 16,-67-14-16,0 14 0,1 0 0,-14 0 15,0 0-15,1 0 0,-1 0 16,0-13-16</inkml:trace>
  <inkml:trace contextRef="#ctx0" brushRef="#br0" timeOffset="57344.74">9327 4061 0,'66'0'16,"-40"-13"-16,14 13 0,158-13 15,-118 13 1,-1 0-16,14 0 0,-14-13 0,14 13 16,-14 0-16,14 0 0,-14 0 0,0-14 15,-12 14-15,-1 0 0,-13 0 16,-1 0-16,1 0 0,-26 0 15,39-13-15,-53 13 0,0 0 16,27 0 0,-27 0-16</inkml:trace>
  <inkml:trace contextRef="#ctx0" brushRef="#br0" timeOffset="58408.86">4392 4789 0,'106'0'16,"-80"0"-16,27 13 0,0-13 0,0 0 16,26 0-16,14 0 0,13 13 15,106-13-15,-80 0 0,13 14 0,14-14 16,-13 0-16,12 0 0,1 0 15,0 0-15,-14 0 0,1 0 16,0 0-16,-1 0 0,-13 0 0,-26 0 16,-13 0-16,-1 0 0,-12 0 0,-1 0 15,-26 13-15,0-13 0,-13 0 16,-14 0-16,27 0 0,-40 0 16,0 0-16,1 0 0,-1 13 0,0-13 15,0 0-15,1 0 16,-14 13-16</inkml:trace>
  <inkml:trace contextRef="#ctx0" brushRef="#br0" timeOffset="59644.17">10398 4723 0,'225'0'0,"-159"-13"0,14 13 0,-14 0 15,92 0-15,-78 0 16,52 0-16,-66 0 0,-13 0 16,0 0-16,-13 0 0,-14 0 15,14 0-15,39 0 16,-65 0-16,12 13 0,-13-13 0,14 0 16,-14 0-16,0 0 0,14 13 15,-14-13-15,0 0 0,14 0 0,-14 13 16,13-13-16</inkml:trace>
  <inkml:trace contextRef="#ctx0" brushRef="#br0" timeOffset="60380.42">13057 4736 0,'40'13'0,"-14"-13"0,173 0 31,-120 0-31,1 0 0,-1-13 0,13 26 15,1-13-15,13 0 0,-13 0 16,-1 0-16,14 0 0,-13 0 0,92 0 16,-93 0-16,-12 0 0,-1 0 15,-26 0-15,66 0 16,-66 0-16,-13 0 0,-1 0 0,1 0 16,13 0-16,-40 0 0,14 0 15,-14 0-15,0 0 0,0 0 16,1 0-16,-1 0 0,0 0 15,0 0-15,1 0 32,-54 0 30</inkml:trace>
  <inkml:trace contextRef="#ctx0" brushRef="#br0" timeOffset="62752.58">3744 5596 0,'-172'0'16,"145"0"-16,-12 0 0,12 0 0,-52 0 16,52 0-1,14 13-15,-13-13 0,-14 0 16,14 13-16,12-13 0,1 0 16,-13 14-16,12-14 0,14 13 15,-13-13-15,13 13 0,-13 14 16,13-14-16,-13 0 0,13 0 15,0 14-15,0-14 0,0 13 16,0 1-16,0-1 0,0 1 0,0-1 16,0 1-16,0 12 0,0-12 0,0 12 15,-13 14-15,13-26 16,0 26-16,-14 0 16,14-40-16,0 0 0,0 0 15,0 1-15,0-1 16,0 0-16,14 0 15,-14 1-15,13-14 16,0 13-16,13-13 16,-12 13-16,-1-13 0,0 0 0,40 0 15,-40 0-15,14 0 0,-1 0 16,1 13-16,-1-13 16,1 0-16,-1 0 0,0 0 0,-12 0 15,39 0-15</inkml:trace>
  <inkml:trace contextRef="#ctx0" brushRef="#br0" timeOffset="64001.49">14221 5636 0,'67'-14'16,"-15"14"-1,1 14-15,-26-14 16,-1 0-16,67 0 16,-67 13-16,1-13 15,-1 0-15,14 0 0,-14 13 0,-12-13 16,-1 0-16,0 0 0,0 0 16,1 13-16,-1-13 0,0 0 15,-13 14-15,13-1 0,0 0 16,-13 13-16,0-12 15,14-1-15,-14 13 0,0-12 0,0 12 16,13 1-16,-13 25 0,0-12 0,13-13 16,-13 12-16,0-12 15,13-1-15,-13 1 0,0-1 0,14-13 16,-14 14-16,13 12 0,-13-12 16,13-14-16,-13 0 0,0 1 15,0-1-15,13 0 0,-13 0 16,0 1-16,0-1 0,0 0 15,-13 0 1,0-13-16,13 13 0,-13-13 16,-14 0-16,1 0 15,12 14-15,-25-14 0,12 0 16,-26 13-16,14-13 0,-14 0 0,13 0 16,-119 13-16,93 0 15,0 1-15</inkml:trace>
  <inkml:trace contextRef="#ctx0" brushRef="#br0" timeOffset="65929.57">3373 6482 0,'-39'0'47,"26"14"-47,-27-14 16,27 13-16,-14-13 0,14 0 16,-14 13-16,1-13 0,13 0 15,-14 13-15,14-13 0,-13 13 0,-14-13 16,27 0-16,-1 14 0,1-14 15,0 0-15,13 13 0,-13-13 16,0 13-16,-1 0 16,14 1-16,0-1 15,-13-13-15,13 40 0,0-14 16,13 0-16,-13 1 0,0-1 16,0 1-16,0-1 0,14 14 15,-14 0-15,0 26 16,0-13-16,0-27 0,0 1 15,0-1-15,0-13 0,0 14 16,0-14-16,0 13 0,0-12 0,0-1 16,0 0-16,0 0 0,0 1 15,0-1-15,0 0 16,0 0 0,13 0 15,13-26 0,-13 13-31,1 0 0,12 0 16,-13 0-16,14 0 0,-14-13 15,14 13-15,-1 0 0,40 0 16,-39 0-16,-1 0 0,1 0 16,-1 0-16,14 0 0,-14 0 15,-13 13-15,14-13 0,-14 0 16,13 13-16,1-13 0,26 14 15,-27-1-15,-12-13 16</inkml:trace>
  <inkml:trace contextRef="#ctx0" brushRef="#br0" timeOffset="67677.3">13203 6350 0,'92'0'0,"-78"0"15,12 0-15,-13 0 16,0 0-16,1 0 0,-1 13 16,0-13-16,0 13 0,1 1 15,-1-1-15,-13 0 16,13 0-16,0 14 0,-13-1 0,14 1 16,-1 12-16,0 41 0,0-40 15,0-1-15,-13 1 16,14 0-16,-1 39 0,0-39 0,-13-1 15,13-12-15,-13-1 0,14 1 16,-14 26-16,13-14 16,-13-25-16,0-1 0,0 0 15,0 0-15,0 0 0,0 14 16,-13-14-16,13 0 0,-14 1 16,1-1-16,0-13 15,-27 13-15,27-13 0,-13 0 16,-27 13-16,39-13 15,-25 0-15,25 0 0,-12 0 16,0 0-16,-1 0 0</inkml:trace>
  <inkml:trace contextRef="#ctx0" brushRef="#br0" timeOffset="68999.53">13996 6839 0,'53'-13'0,"0"13"15,13 0-15,-13 0 0,0 0 16,0 0-16,0 0 0,13 0 16,40 0-16,-13 0 15,-54 13-15,14-13 0,-26 0 16,-14 0-16,27 0 15,-27 0-15,13 0 16,-12 0-16,-1 0 16,-40-13 77</inkml:trace>
  <inkml:trace contextRef="#ctx0" brushRef="#br0" timeOffset="69993.27">15293 5689 0,'79'-14'16,"-52"14"-16,26 0 15,-27 0-15,1 0 16,12 0-16,1 14 16,-27-14-16,0 13 0,1 0 15,25 27-15,-25-27 16,-14 13-16,13 1 0,0-1 0,0 54 16,0-1-1,1 14-15,-1-54 16,13 67-16,1-13 15,13-1-15,-14-25 16,-13-28-16,27 14 16,-27-13-16,0-27 0,1 27 15,-1-14-15,0 1 16,-13-14-16,0 0 16,-13 0-16,0 1 15,-14-14-15,-13 13 16,-12-13-1,-1 0-15,-27 0 16,-12 0-16,-14 0 16,53 13-16,-53-13 15,-13 13-15,-106 0 16,172-13 0,0 14-16,0-14 0,-39 13 15,-1-13-15,-13 0 16,53 0-16,27 0 15,-27 0 1,27 0-16,-1 0 16,14 0-16,0 0 15,-1 0 1</inkml:trace>
  <inkml:trace contextRef="#ctx0" brushRef="#br0" timeOffset="70757.61">15822 6390 0,'53'0'31,"-27"0"-31,14 0 0,53 13 16,26-13-16,-40 0 0,1 0 15,-14 0 1,13 13-16,-26-13 0,66 0 16,-66 0-16,40 0 0,-67 0 0,1 0 15,-1 0-15,0 0 0,-12 0 16,12 0-16,1 0 0,-14-13 16,0 13-16,-13-13 15</inkml:trace>
  <inkml:trace contextRef="#ctx0" brushRef="#br0" timeOffset="71053.53">16695 6046 0,'133'26'16,"-107"-26"-16,0 13 0,14 1 16,26-1-16,-39 0 0,12 14 15,1-1-15,-13 0 16,-1 1-16,-26-1 0,0-12 16,0 39-1,-13-27-15,0 0 0,-14 14 16,1-13-16,12-14 0,1 0 0,-13 27 15,-14-14 1,40-13-16</inkml:trace>
  <inkml:trace contextRef="#ctx0" brushRef="#br0" timeOffset="73874.64">2011 9763 0,'397'-53'15,"-305"40"-15,226-13 16,-199 12-16,0 1 0,-26 0 16,303-14-1,-210 14-15,-107 0 0,119 13 16,-145 0 0,-26-13-16,26 13 0,-27 0 15</inkml:trace>
  <inkml:trace contextRef="#ctx0" brushRef="#br0" timeOffset="74166.85">2090 9948 0,'529'-79'16,"-158"26"-16,-107 27 15,-145 12-15,225-12 16,-238 13-16,146-1 16,-41 1-1,-105 13 1,-40 0-16,-53 0 15</inkml:trace>
  <inkml:trace contextRef="#ctx0" brushRef="#br0" timeOffset="78638.84">4789 6350 0,'40'0'0,"-27"0"15,0 0-15,0 0 0,1 0 16,-1 0-16,13 0 0,14-13 16,-14 13-16,-12 0 0,12 0 15,-13 0-15,14 0 0</inkml:trace>
  <inkml:trace contextRef="#ctx0" brushRef="#br0" timeOffset="79150.46">5808 6310 0,'13'14'0,"0"-14"0,27 13 16,13-13 0,-40 0-16,40 0 15,-40 0-15,13 0 16,-12 0-16</inkml:trace>
  <inkml:trace contextRef="#ctx0" brushRef="#br0" timeOffset="79823.18">7117 6218 0,'27'-14'16,"26"1"-1,-27 13-15,14-13 0,13 13 0,-14-13 16,1 0-16,13 13 0,-13-14 0,-1 1 15,14 13-15,-13-13 0,-14 13 0,14-13 16,-13 13-16,-1 0 16,1 0-16,-1-14 0,-13 14 0</inkml:trace>
  <inkml:trace contextRef="#ctx0" brushRef="#br0" timeOffset="81337.2">3836 7011 0,'106'27'16,"-92"-27"-16,-1 0 0,0 0 0,0 0 0,0 0 15,1 0 1,-1 13-16,0-13 15,0 0 1,1 0 0,-1 13-1</inkml:trace>
  <inkml:trace contextRef="#ctx0" brushRef="#br0" timeOffset="82383.43">6747 6972 0,'225'0'16,"-146"-13"-16,1 13 0,-1 0 0,159-14 15,-159 14-15,1-13 16,-1 13-16,1 0 0,-14 0 16,-13 0-16,0 0 0,-1 0 0,-25 0 15,13 0-15,-14 0 0,27 13 16,-27-13-16,1 0 0,-14 0 16,0 0-16,1 0 0,-1 14 0,0-14 15</inkml:trace>
  <inkml:trace contextRef="#ctx0" brushRef="#br0" timeOffset="82960.48">10134 7011 0,'198'0'16,"-13"0"0,-132 0-16,13 0 0,-13 0 0,79 0 15,-65 0-15,-1 14 0,53-14 16,-40 0-16,-13 0 16,0 0-16,14 0 0,-1 0 0,-13 0 15,14 0-15,-1-14 0,-13 14 16,80-13-16,-80 13 0,-13-13 15,0 13-15,0 0 0,-14-13 16,14 13-16,-13 0 0,-14 0 0,14 0 16,-13 0-16,-14-13 0,13 26 15,-13-26-15</inkml:trace>
</inkml:ink>
</file>

<file path=ppt/ink/ink22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45:55.418"/>
    </inkml:context>
    <inkml:brush xml:id="br0">
      <inkml:brushProperty name="width" value="0.05292" units="cm"/>
      <inkml:brushProperty name="height" value="0.05292" units="cm"/>
      <inkml:brushProperty name="color" value="#0070C0"/>
    </inkml:brush>
  </inkml:definitions>
  <inkml:trace contextRef="#ctx0" brushRef="#br0">4061 9710 0,'67'0'16,"-41"-13"-16,14 13 0,13 0 16,-1-13-16,94 13 0,-67-13 15,93 13-15,-79 0 16,0 0-16,12 0 0,-12 0 0,92 0 16,-13 0-1,0 13-15,-92-13 0,-1 0 16,-13 0-16,0 0 0,27 13 15,-40-13-15,-27 0 0,1 0 16,-14 0-16,13 0 0,-12 0 16,-54 0-1</inkml:trace>
  <inkml:trace contextRef="#ctx0" brushRef="#br0" timeOffset="280.24">4273 9829 0,'132'13'0,"-79"-13"15,27 0-15,-1 0 0,14 0 0,-1 0 0,14-13 16,212 13-16,-213 0 15,-12-13-15,13 13 0,-14 0 16,14 0-16,-13 0 0,66 0 16,-80 0-16,80 0 15,-133 13-15,1-13 16,-1 13-16,-13 1 16,-26-1-16</inkml:trace>
  <inkml:trace contextRef="#ctx0" brushRef="#br0" timeOffset="2484.28">4829 11417 0,'-14'-27'15,"14"14"-15,-13 26 31,0 14-15,13-14-16,0 13 16,0-12-16,0 12 15,0-13-15,0 1 0,-13-14 16,13 13 0,0 0-16,13-39 31,-13 12-16,0 1-15,0 0 0,0 0 0,0-1 16,0 1-16,13-13 16,-13 13-16,0-1 15,13 14-15,-13-13 16,14 26 0,-1 1-1,0-1-15,0-13 0,-13 13 16,14-13-16,-1 13 15,0-13-15,0-13 0,0 13 16,1 0-16,-14-13 0,13 0 16,0 13-16,0-14 0,1 1 15,-1 13-15,-13-13 0,13 13 16,14 0 0,-27 13-16,13 0 15,-13 1-15,13-14 0,-13 13 16,13 0-16,-13 0 0,13-13 15,-13 27-15,14-14 0,-14 0 16,13-13-16,0 13 0,0 1 16,1-1-16</inkml:trace>
  <inkml:trace contextRef="#ctx0" brushRef="#br0" timeOffset="3981.46">6138 11284 0,'-13'27'31,"13"13"-15,0-27-16,-13 0 15,13 0-15,0 1 0,0-1 0,0 13 16,0-13-16,0 1 16,0-1-16,0 0 15,0 0-15,0 1 0,13-14 16,-13 13-16,13-13 16,1 13-1,-1-13-15,0 0 16,13 0-16,-12 0 0,-14-13 15,13 13-15,0 0 0,0 0 16,14-13-16,-14 13 0,0-14 16,1 14-16</inkml:trace>
  <inkml:trace contextRef="#ctx0" brushRef="#br0" timeOffset="4149.54">6231 11417 0,'26'-13'16,"14"13"-16,-27-14 0,1 14 16,-1 0-16</inkml:trace>
  <inkml:trace contextRef="#ctx0" brushRef="#br0" timeOffset="4384.29">6112 11284 0,'0'0'0,"26"-13"15,-12 13 1,-1 0-16,0 0 0,13-13 0,1 13 15,-14 0-15,40-13 0,-40 13 16,14 0-16,-14 0 16,27-13-16,-27 13 0,13 0 15,1 0-15,-14 0 16</inkml:trace>
  <inkml:trace contextRef="#ctx0" brushRef="#br0" timeOffset="9240.28">7514 11337 0,'0'27'47,"0"13"-32,0-27 1,0 0-16,0 0 0,0 0 15,0 1-15,0 12 0,0-13 0,0 1 16,0-1-16,0 0 0,0 0 16,0 1-16</inkml:trace>
  <inkml:trace contextRef="#ctx0" brushRef="#br0" timeOffset="9619.67">7501 11311 0,'13'-53'16,"14"40"-1,-1 13 1,-13 0-16,1 13 0,12 13 16,-26-12-1,13 12 1,-26 1-1,0-14-15,13 0 0,-13-13 0,-1 13 0,1 1 16,0-14-16,0 13 0,-1-13 16,14 13-16,-13-13 15,0 0-15</inkml:trace>
  <inkml:trace contextRef="#ctx0" brushRef="#br0" timeOffset="12685.55">4723 11179 0,'13'-14'31,"0"14"0,14 14-15,12-28 0,-25 14-1,39 0 1,-27 0-16,0 0 0,1 0 0,-1-13 15,1 13-15,13 0 0,-14 0 0,14 0 16,-14-13-16,54 13 16,-54-13-16,27 13 0,-13-14 0,-1 14 15,1-13-15,0 13 0,13-13 16,-14 0-16,14 13 0,119-40 16,-53 27-16,-53 0 15,0-1-15,-13 1 16,66 0-16,-79 0 0,13 13 15,0-13-15,0 13 0,-13-14 0,13 14 16,-14 0-16,14-13 0,-26 13 16,12-13-16,-12 13 0,39 0 15,-40-13-15,1 13 0,-1 0 0,27-14 16,-26 14-16,-1 0 16,1 0-16,-14-13 0,13 13 0,-13 0 15,1 0-15,-1 0 0,0 0 16,0-13-16,14 13 0,-14 0 15,0 0-15,1-13 0,-1 13 16,0 0-16,0-14 0,0 14 16,14 0-16,-14 0 0,0-13 15,14 13-15,-1 0 0,-13-13 0,14 13 16,-1 0-16,1 0 0,-1-13 16,1 13-16,-14 0 0,13-13 0,41 13 15,-41 0-15,1-14 16,-14 14-16,13 0 15,1 0-15,-14 0 0,13 0 0,-12 0 16,25 0-16,-25 0 16,-1 0-16,0 0 0,0 0 0,14 0 15,-14 0-15,0 0 16,0 0 0,1 0-16,-1 0 15,0 0-15,0 14 16,-13-1-1,14-13-15,-14 13 0,0 0 16,0 0-16,13 1 0,-13-1 16,0 0-16,0 14 15,13-14-15,-13 13 0,0-12 16,0-1-16,0 0 0,13 13 0,-13-12 16,0-1-16,0 13 0,0-12 0,13 25 15,-13 1-15,0-27 16,0 14-16,0-14 15,0 0-15,0 14 0,0-14 0,0 0 16,0 27-16,0-27 0,0 0 16,0 0-16,-13 1 15,13 12-15,0-13 0,0 1 0,0-1 0,0 0 16,-13 0-16,13 0 0,0 1 16,0-1-16,0 0 0,-13 0 0,13 1 15,0-1-15,0 0 0,0 0 0,-13 1 16,13-1-1,0 0-15,-14 0 0,14 0 16,0 1-16,-13-1 16,13 0-16,-13 0 15,13 1-15,-13-14 16,13 13 0,-14-13-16,1 0 15,0 0-15,0 13 16,-1-13-16,1 0 0,0 0 15,-27 13-15,14-13 0,13 14 16,-27-14-16,13 13 0,-12-13 16,-1 13-16,-13-13 0,13 13 0,-12-13 15,-1 13-15,13-13 0,-13 14 16,0-14-16,0 0 0,0 13 0,14-13 16,-80 13-16,52-13 15,1 13-15,-13-13 0,13 14 0,-14-14 16,-92 13-16,93 0 0,-14-13 15,14 13-15,13 0 16,-66-13-16,79 14 0,0-14 0,0 13 16,-13-13-16,13 13 0,-13-13 15,13 13-15,-13-13 0,-1 14 16,15-14-16,-1 0 0,0 13 0,0-13 16,0 0-16,0 13 0,13-13 0,1 0 15,12 0-15,-26 13 16,27-13-16,-1 0 0,1 0 15,13 0-15,-1 0 0,-12 0 16,26-13-16,-13 13 0,-1 0 16,1 0-16,0 0 0,0 0 0,-1 0 15,14-13-15,-13 13 0,0 0 0,-13-13 16,12-1-16,1 14 16,0-13-16,0 0 0,13 0 15,-14-1-15,1-12 0,0 0 0,-13-27 16,12 26-16,-12-12 0,13-1 15,-1 0-15,1-26 16,0 26-16,0 1 0,13 12 16,-14 1-16,14-1 0,-13 1 15,13 13-15,0-14 0,0 14 16,-13 0-16,13-1 0,13 1 16,-13 0-16,0 0 0,0-14 15,13 14-15,1 13 0,-14-13 16,13 0-16</inkml:trace>
  <inkml:trace contextRef="#ctx0" brushRef="#br0" timeOffset="13384.41">3797 11456 0,'79'-13'15,"1"0"1,-54 13-16,0-13 0,1 13 15,39-13-15,-39 13 0,-1 0 16,0-14-16,1 14 0,-14 0 16,14 0-16,-14-13 0,13 13 15,-13 0-15,1-13 0</inkml:trace>
  <inkml:trace contextRef="#ctx0" brushRef="#br0" timeOffset="13631.37">4233 11284 0,'53'14'0,"-53"-1"0,13-13 0,-13 13 16,14 0-16,-1 1 15,-13 25 1,0-12-16,0-14 0,-27 13 16,27-12-16,-13-1 15,0 0-15,0 0 0,0 1 0,-1-14 16</inkml:trace>
  <inkml:trace contextRef="#ctx0" brushRef="#br0" timeOffset="14260.09">2580 11364 0,'-93'13'0,"80"-13"0,0 13 15,26 27 1,0-27 0,0 0-16,1 1 0,-1-1 0,0 0 15,0 0-15,27 14 16,-27-14-16,0 0 0,1 1 0,-14-1 16,13 0-16,-13 0 0,0 0 0,0 1 15,0-1-15,-13 0 16,-1 0-16,1 1 0,0-1 15,0 0-15,-1 0 0,-12-13 0,13 14 16,0-14-16,-14 13 0,14-13 16,0 0-16,-1 0 0,1 0 15</inkml:trace>
  <inkml:trace contextRef="#ctx0" brushRef="#br0" timeOffset="14651.66">2765 11509 0,'0'0'0,"-13"0"15,-1 0 1,14 14-1,0-1 1,14 0 0,-1-13-1,0 0 1,0-13 0,1 13-1,-1 13 1,0-13-1,-13 13-15,27 14 16,-1-1 0,0-13-1,-26-26 1,14 13 0</inkml:trace>
  <inkml:trace contextRef="#ctx0" brushRef="#br0" timeOffset="15007.23">2963 11390 0,'-39'53'16,"39"-40"-16,0 14 15,0-14-15,13 0 16,-13 1-16,13-1 16,0-13-1,1 0-15,-1 0 16,0 13 0,0-13-16,0 0 15,1 13 1,-14 1-16,0-1 15,0 0-15,-27 0 16,27 0-16,-13-13 0,0 0 0,0 14 16,-1-14-16,1 0 15,13-14 1</inkml:trace>
  <inkml:trace contextRef="#ctx0" brushRef="#br0" timeOffset="15412.43">3175 11456 0,'0'27'0,"13"-27"16,-13 13-16,0 0 0,0 14 31,0-14-31,0 0 0,-13 1 15,0-1 1,0 0 0,-1-13-16,1 0 0,13-13 15,66-106 110</inkml:trace>
  <inkml:trace contextRef="#ctx0" brushRef="#br0" timeOffset="15563.68">3162 11311 0,'-27'-13'16</inkml:trace>
  <inkml:trace contextRef="#ctx0" brushRef="#br0" timeOffset="16016.65">3334 11456 0,'-13'-26'16,"-1"26"-16,1 0 16,0 0-1,13 26 1,0-12 0,0-1-16,13-13 15,0 0-15,1 0 16,-1 0-16,0 0 0,0-13 15,0 13-15,1-14 0,-1 14 16,-13-13-16,13 0 0,0-13 16,1-14-1,-1 27-15,-13-1 16,0 1 0,13 0-16,-13 39 31,0-12-16,13-1-15,-13 0 0,0 0 0,13 1 16,-13-1-16,0 0 16,0 0-16,14 0 0,-14 14 15,13-27-15,-13 13 0,0 0 16</inkml:trace>
  <inkml:trace contextRef="#ctx0" brushRef="#br0" timeOffset="16236.71">3387 11364 0,'26'0'16,"-13"0"-16,1-13 0,-1 13 15,0 0-15,0 0 0,14-14 16,-14 14-16,0 0 0,14-13 0,-14 13 16,0 0-16</inkml:trace>
  <inkml:trace contextRef="#ctx0" brushRef="#br0" timeOffset="17890.34">5106 12700 0,'-13'26'0,"0"-12"16,13-1-16,0 0 0,0 0 16,0 1-16,-13-1 0,13 13 31,13-12-31,-13-1 0,0 0 16,0 0-1,13-26 16,-13-13-15,0 12 0,0 1-1,0 0-15,0 0 16,0-14-16,0 14 16,0 0-16,0-14 31,0 14 0,0 0-15,27 26-1,-14 0-15,0-13 16,0 13 0,1-13-16,-1 0 15,0 0-15,0 0 16,1-13-16,-1 13 15,-13-13-15,13 0 0,0 13 16,-13-13-16,13 13 0,1-14 16,-1 28 15,0-14-15,-13 13-16,13 0 0,-13 0 15,14 0-15,-14 1 0,0-1 16,0 0-16,13-13 0,-13 13 0,0 1 15,0-1-15,13 0 16,-13 0-16,0 1 0,0-1 16,0 0-16,13 0 15,1 0 1</inkml:trace>
  <inkml:trace contextRef="#ctx0" brushRef="#br0" timeOffset="19072.55">5609 12700 0,'13'-13'0,"1"13"16,-1 0-16,0-13 15,0 13-15,1 0 16,-1-14-16,0 14 0,0 0 16,0 0-16,1-13 15,-1 13-15,13 0 0,-26 13 16,14-13-1</inkml:trace>
  <inkml:trace contextRef="#ctx0" brushRef="#br0" timeOffset="19325.82">5649 12832 0,'40'0'16,"-27"0"-1,13-13 1,-13 13-16,1 0 16,-1 0-16,0 0 0,0-13 15,1 13-15,-1 0 16,0 0-16,0 0 15,1 0-15</inkml:trace>
  <inkml:trace contextRef="#ctx0" brushRef="#br0" timeOffset="20608.46">5080 12528 0,'0'-26'31,"13"-1"-16,-13 14-15,0 0 0,0-1 16,0 1-16,0 0 16,0 0-16,0-1 0,0 1 15,0 0-15,0 0 16,0 0 15,13 26 0,-13 0-31,14 0 0,-14 0 16,13 1 0,-13-1-1,13 0 1,0-13 0,14-26-1,-14 12 1,0 1-16,-13 0 0,14 0 0,-14 0 15,13-1-15,-13 1 16,0 0-16,13 13 16,0 13 15,-13 0-15,13-13-16,-13 14 0,14-1 0,-14 0 15,13-13-15,-13 13 16,13 0-16,0-13 0,-13 14 15,14-14-15,-1 0 0,13 13 16,-12-13-16,-1 0 0,0 0 16,13 0-16,-12 0 0</inkml:trace>
  <inkml:trace contextRef="#ctx0" brushRef="#br0" timeOffset="21333.57">6072 12488 0,'0'-26'32,"13"-1"-17,1 14-15,-14 0 16,0 0-16,13-1 15,-13 1-15,0 0 0,0 0 16,0 0 0,0-1-16,0 1 15,0 40 32,13-14-31,0-13-1,1 0-15,-14-13 16,13 13-16,13-27 16,-13 14-1,1 13-15,-1 13 32,0-13-32,-13 13 15,27 14 1,-14-14-16,0-13 15,-13 13-15,13-13 0,-13 13 16,14-13-16</inkml:trace>
  <inkml:trace contextRef="#ctx0" brushRef="#br0" timeOffset="21784.6">6324 12687 0,'0'26'0,"0"-13"0,0 1 16,0-1 0,0 0-16,0 0 15,0 1-15,13 12 16,0-13-1,0 1 1,0-14 0,1 0-16,-1 0 0,0 0 15,0 0-15,1 0 16,-1 0-16,0 0 0</inkml:trace>
  <inkml:trace contextRef="#ctx0" brushRef="#br0" timeOffset="21960.61">6324 12779 0,'26'-26'16,"0"13"-1,-12-1 1</inkml:trace>
  <inkml:trace contextRef="#ctx0" brushRef="#br0" timeOffset="22136.67">6310 12674 0,'-13'0'16,"0"-14"-16,39 28 0,-65-28 15,52 1 32,0 13-47,27 0 16,-14-13-1,-13 13-15,14 0 0,-14 0 0,14 0 16</inkml:trace>
  <inkml:trace contextRef="#ctx0" brushRef="#br0" timeOffset="22405.83">6747 12647 0,'13'-13'31,"14"0"-15,-14 13-16</inkml:trace>
  <inkml:trace contextRef="#ctx0" brushRef="#br0" timeOffset="22594.01">6773 12753 0,'27'13'16,"12"-39"15,-25 26-31,-1 0 0</inkml:trace>
  <inkml:trace contextRef="#ctx0" brushRef="#br0" timeOffset="23500.56">7144 12475 0,'26'-13'47,"-13"-14"-31,-13 14-16,14 0 0,-14 0 0,0-1 16,13 1-16,-13 0 0,0 0 15,0 0-15,0-1 0,0 1 16,0 0-16,13 0 15,-13-1-15,0 1 0,-13 13 16,13-13 0,13 39 15,-13-12-31,0-1 0,13 0 16,1 0-1,-1 1-15,0-14 16,0 0-16,0 0 15,1 0-15,-14-14 0,13 14 16,0-13-16,0-27 16,1 40-16,-14-13 0,13 13 15,-13-13-15,0 0 16,26 26 15,-26 0-31,14 14 16,-14-14-1,13 13 1,0-12-16,-13-1 0,13 0 16,0 0-16,-13 0 0,14 1 15,-1-1-15</inkml:trace>
  <inkml:trace contextRef="#ctx0" brushRef="#br0" timeOffset="25315.8">7342 12700 0,'0'-13'15,"-13"39"1,13-13-16,13 14 16,-13-1-16,0-12 0,0-1 15,0 0-15,0 0 16,13 1-16,-13-1 0,0 0 16,0 0-1,14 0-15,-14 1 31</inkml:trace>
  <inkml:trace contextRef="#ctx0" brushRef="#br0" timeOffset="25708.92">7289 12687 0,'40'-53'15,"-27"53"-15,-13-13 0,40 13 16,-40-14-16,13 14 16,0 14-16,1-14 0,-1 0 0,-13 13 15,13-13-15,-13 13 0,13-13 16,-13 13-16,0 1 0,-13-1 16,13 0-16,-13 0 0,0 0 0,-1 1 15,1-1-15,-13 0 0,12 0 16,-12 1-16,-1-1 0,1 0 15,13-13-15,-14 13 0,1 1 0</inkml:trace>
  <inkml:trace contextRef="#ctx0" brushRef="#br0" timeOffset="27349.94">5318 13467 0,'-13'0'0,"39"14"32,-12-14-17,-1 13-15,13-13 0,1 0 16,-1 13-16,27-13 0,-13 0 0,13 13 15,13-13-15,0 0 0,93 13 16,-80-13-16,0 0 0,-12 0 16,12 0-16,0 0 0,-12-13 15,12 13-15,-13-13 0,66 0 16,-65 0-16,-15-1 0,15 1 16,-1 0-16,40-14 0,-67 14 15,14 0-15,0 0 0,-13-1 0,39-12 16,-39 26-16,-1-13 15,-12 0-15,13-1 0,-27 14 0,13-13 16,1 0-16,-1 0 0,-13 13 0,14-14 16,-14 1-16,14 0 0,-14 0 15,13-1-15,-12 1 0,-1 13 16,13-26-16,-13 26 0,14-27 0,-1 14 0,1 0 16,-14 0-16,14-1 15,-1-12-15,-13 13 0,14 0 0,26-27 16,-27 27-16,1-14 0,-1 14 15,0-14-15,1 14 0,-1 0 16,-12 0-16,12 0 0,-13-14 0,0 14 16,14-14-16,-1 14 0,-26-13 15,14 12-15,-1 1 16,0-13-16,-13 13 0,0-1 0,13-12 16,-13 13-16,0-1 0,-13 1 0,13-13 15,0 12-15,-13-38 16,0 38-16,-14-25 0,1 12 15,12 14-15,-12-14 0,0 14 16,-1-13-16,1 13 0,-1-1 16,-12-12-16,-1 13 0,13 13 15,1-14-15,13 1 0,-14 0 0,1 13 16,-1-13-16,1 13 0,-1-13 16,-26-1-16,27 1 15,0 13-15,-14-13 0,13 13 0,1 0 16,-27-13-16,27 13 0,-27 0 15,26-14-15,-13 14 0,-12 0 0,12-13 16,13 13-16,-12 0 0,12 0 16,-12-13-16,-28 13 0,15-13 15,12 13-15,-53 0 16,54 0-16,12-14 16,-13 14-16,14 0 0,-67 0 15,54 0-15,-1 0 0,14 0 0,-27 0 16,13 0-16,0 0 0,1 0 15,-1 0-15,0 0 0,0 0 0,1 14 16,-14-14-16,13 0 0,14 0 0,-27 0 16,13 0-16,0 0 15,1 13-15,12-13 0,-12 0 0,-28 13 16,41-13-16,0 0 0,-14 0 16,13 0-16,-12 0 0,12 0 15,-12 13-15,12-13 0,1 0 0,-40 0 16,39 0-16,1 0 0,-14 0 15,13 0-15,-39 14 16,40-14-16,-1 0 0,1 0 0,-1 0 16,-52 0-16,53 13 15,-1-13-15,1 0 0,-1 13 16,1-13-16,-1 13 0,1-13 16,-27 27-16,26-27 0,1 13 15,0 0-15,-1 0 0,-13 1 16,14 12-16,-27 1 0,40-14 15,-14 0-15,14 0 0,0 0 0,-14 1 16,14-1-16,-13 27 16,-14-1-16,14 14 15,-1-26-15,14 12 0,0-12 16,-1-1-16,1 1 0,13-1 0,-13 14 16,0 13-16,13 0 15,0-27-15,0 14 0,0-14 16,0 1-16,0 13 0,13-1 0,-13-12 15,13 12-15,0 1 0,14-14 0,-14 1 16,14 13-16,-1-14 0,1 1 16,12-1-16,1 0 0,13 1 0,39 13 15,-39-14-15,0-13 16,80 27-16,12-14 16,-66-12-16,1-14 0,-1 13 15,-13 0-15,93-13 0,-106 0 16,13 0-16,-13 0 0,13 0 15,0-13-15,-13 13 0,0-13 0,0-1 16,0 1-16,40-26 16</inkml:trace>
  <inkml:trace contextRef="#ctx0" brushRef="#br0" timeOffset="28488.71">4842 9763 0,'278'-66'15,"-212"53"-15,0 0 0,-26 13 16,13-14-16,52 1 0,-52 0 15,-13 0-15,13 13 0,-13-14 0,-1 14 16,1-13-16,-14 13 0,-12 0 16,-1 0-16,13-13 0</inkml:trace>
  <inkml:trace contextRef="#ctx0" brushRef="#br0" timeOffset="29199.89">4921 9750 0,'53'0'15,"-40"0"-15,27-13 16,-13 13-16,25 0 0,-12 0 16,13-14-16,-13 14 0,13 0 15,26-13-15,-39 13 0,-1 0 16,-12 0-16,-1-13 0,1 13 0,-14 0 15,13 0-15,1 0 0,-14-13 16,0 13-16,14 0 0,-14 0 16,0 0-16,-13-13 15,-13 13 32,13-14-31,-13 14 15,13-13 32</inkml:trace>
  <inkml:trace contextRef="#ctx0" brushRef="#br0" timeOffset="30142.09">16378 9671 0,'172'-27'0,"-106"14"0,0 13 0,13-13 15,14-1-15,-14 1 16,14 0-16,0 0 0,-1 13 0,-12-14 15,12 1-15,1 0 0,-14 13 0,0-13 0,1 13 16,-14-13-16,40-1 16,-53 14-16,-27 0 0,1 0 15,-1-13-15,-13 13 0,1 0 0</inkml:trace>
  <inkml:trace contextRef="#ctx0" brushRef="#br0" timeOffset="30504.59">16470 9737 0,'119'0'0,"53"-14"16,-105 14-16,104-13 15,-12 0-15,-66 13 0,-1 0 16,-12-13-16,12 13 0,-12 0 16,12-13-16,-12 13 0,-14 0 0,13-14 15,-26 14-15,0 0 0,0 0 0,-13-13 16,-14 13-16,14 0 16,-14 0-16,-12 0 0,12 0 15,-13 0-15,0 0 16,1 0-1,-41 0 17,14 13-17,0-13-15</inkml:trace>
  <inkml:trace contextRef="#ctx0" brushRef="#br0" timeOffset="31855.1">16404 12105 0,'-26'13'0,"26"0"0,0 0 16,0 1-16,0-1 15,-14 0-15,14 0 0,0 1 31,0-1-15,14-40 15,-1 1-15,-13 13 0,0-1-16,0 1 15,13-13-15,-13 12 16,0 1-16,0 0 15,13 0 1,1 39 15,-1 1 1,0-14-32,-13 0 15,13-13 1,1 13-16,12-26 15,0 13 1,14-13 0,-27 0-1,1 13-15,-1 13 16,13 13 0,-12-12-16,-1-1 15,0 0 1,-13 0-16,13 1 0,0-14 15,1 0-15,12 13 0,-13-13 16,1 13-16,12-13 16,-13 0-16</inkml:trace>
  <inkml:trace contextRef="#ctx0" brushRef="#br0" timeOffset="32493.47">17939 12065 0,'13'13'31,"-13"14"-15,0-14-16,0 0 15,0 0-15,0 1 0,0-1 16,0 0-16,0 0 16,0 1-16,13-1 15,-13 0 1,13-13-16,-13 13 16,14-13-16,-1 0 15,0 13-15,0-13 16,1 0-1,-1 0-15,0 0 0,0 0 16,1 0 0,-1 0-16</inkml:trace>
  <inkml:trace contextRef="#ctx0" brushRef="#br0" timeOffset="32673.96">17978 12197 0,'27'-26'16,"-1"26"-16,-12 0 16,-1-13-16,0 13 15,14-14-15,-14 14 16</inkml:trace>
  <inkml:trace contextRef="#ctx0" brushRef="#br0" timeOffset="32875.87">17992 12065 0,'39'-26'16,"-25"26"-16,-1 0 0,0-14 0,0 14 16,14 0-16,-14 0 0,27 0 15,-27 0-15,13 0 0</inkml:trace>
  <inkml:trace contextRef="#ctx0" brushRef="#br0" timeOffset="33308.65">19090 11880 0,'13'26'15,"-13"1"-15,0-14 16,0 0-16,0 0 16,13 1-16,-13 12 0,0 1 15,0-14-15,0 0 0,13 0 0,-13 0 16,0 14-16,0-1 0,14-26 16,-14 14-16,0-1 0,0 0 15,0 0-15,0 1 16</inkml:trace>
  <inkml:trace contextRef="#ctx0" brushRef="#br0" timeOffset="33738.72">18997 11800 0,'79'-26'0,"-52"26"16,13 13-16,-27 0 15,27 14 1,-14-1-16,-13-12 0,14 12 16,-14-13-16,-13 0 0,13 14 15,-13-1 1,0-12-16,-13-1 0,13 0 15,-27 0-15,-12 14 16,26-27-16,-27 13 16,13-13-16,14 13 0,-13-13 0,12 0 15</inkml:trace>
  <inkml:trace contextRef="#ctx0" brushRef="#br0" timeOffset="37253.1">15134 12594 0,'13'0'0,"-13"-13"16,-13 0 62,0 13-62,0 13-1,-1 0-15,1 0 16,13 1-16,-13-14 16,0 26-16,0 1 15,13-14-15,-14 0 16,14 0-16,0 14 16,0-14-16,14 0 15,12 0 1,-13 1-16,0-14 0,1 0 15,12 0-15,-13 0 16,1 0-16,12 0 0,-13 0 16,1 0-16,-1 0 0,0 0 0,13 0 15,-26-14-15</inkml:trace>
  <inkml:trace contextRef="#ctx0" brushRef="#br0" timeOffset="37628.98">15372 12581 0,'-13'40'31,"26"-14"-31,-13-13 15,0 40 1,14-13 0,-14-27-16,13 14 15</inkml:trace>
  <inkml:trace contextRef="#ctx0" brushRef="#br0" timeOffset="38115.66">15518 12647 0,'-27'13'0,"14"1"16,0-14-1,13 13 1,26-13 31,-12-13-32,-1 13 32,-13 13-31,0 0-1,13 0 1,0 0-16,1-13 31</inkml:trace>
  <inkml:trace contextRef="#ctx0" brushRef="#br0" timeOffset="38380.8">15637 12660 0,'-13'14'16,"26"-1"15,0 0-15,-13 0-16,-13 14 31,13-14-31,-13 0 16,-1-13-16,14 13 15,-13-13-15</inkml:trace>
  <inkml:trace contextRef="#ctx0" brushRef="#br0" timeOffset="38719.44">15729 12660 0,'14'27'16,"-14"-14"0,0 0-1,0 0-15,0 1 0,-14 12 16,14-13-1,-13-13 1,13 14-16,-13-14 0</inkml:trace>
  <inkml:trace contextRef="#ctx0" brushRef="#br0" timeOffset="38958.65">15835 12621 0,'0'39'16,"0"-25"-16,0-1 15,0 0-15,0 13 16,0-12-16,0-1 15,-13-13-15</inkml:trace>
  <inkml:trace contextRef="#ctx0" brushRef="#br0" timeOffset="39281.57">15888 12528 0,'13'0'0,"-13"-13"0,-13 26 0,40-26 16,-14 13-1,0 26 1,0-13 0,-13 1-16,14-1 15,-14 0-15,0 14 16,13-27-16,-13 13 0,0 0 16,0 0-16,0 1 15</inkml:trace>
  <inkml:trace contextRef="#ctx0" brushRef="#br0" timeOffset="39472.83">15862 12713 0,'26'-26'0,"-13"26"0,14 0 15,-14-13-15,0 13 16,1 0-16,12 0 0,1 0 16</inkml:trace>
  <inkml:trace contextRef="#ctx0" brushRef="#br0" timeOffset="40050.94">15280 13242 0,'-53'27'0,"26"-1"16,14-12-16,13-1 15,-13 0-15,13 0 16,0 0-16,0 1 0,0-1 16,0 0-16,13 0 15,14 1 1,-14-1-16,0-13 16,0-13-16,0 13 0,1 0 15,-1 0-15,0-14 0,0 14 0,1-13 16</inkml:trace>
  <inkml:trace contextRef="#ctx0" brushRef="#br0" timeOffset="40277.31">15505 13189 0,'-14'-13'0,"-12"40"15,26-14 1,0 0-16,-13 0 0,13 1 15,0-1-15,0 0 16,0 0-16,0 1 16,0-1-16,0 0 0,0 0 15,0 0-15,0 1 16,13-14-16,-13 13 16</inkml:trace>
  <inkml:trace contextRef="#ctx0" brushRef="#br0" timeOffset="40649.31">15610 13269 0,'-26'0'0,"13"0"0,13 13 15,-13-13-15,13 13 16,0 1 15,13-14-15,0-14-1,0 14-15,-13-13 16,13 13-16,-13-13 31,14 13-15,-14 13-1,13 0 1,-13 1 15,13-14-31,0 0 32</inkml:trace>
  <inkml:trace contextRef="#ctx0" brushRef="#br0" timeOffset="40853.62">15743 13256 0,'0'13'31,"0"0"-15,0 0-1,0 1-15,0-1 16,-14-13-16,14 13 0,-13 0 31</inkml:trace>
  <inkml:trace contextRef="#ctx0" brushRef="#br0" timeOffset="41087.91">15901 13163 0,'-13'40'31,"13"-14"-15,0-13-16,0 1 15,0-1 1,0 0-16,0 0 15,0 1 1</inkml:trace>
  <inkml:trace contextRef="#ctx0" brushRef="#br0" timeOffset="41380.01">15928 13150 0,'13'-13'0,"0"26"32,-13 13-17,14-26-15,-14 13 16,13 1-1,-13-1-15,0 0 16,0 0-16,0 1 16,-13-1-16,13 0 15,-14 0-15</inkml:trace>
  <inkml:trace contextRef="#ctx0" brushRef="#br0" timeOffset="42199.79">15333 13917 0,'-40'53'0,"27"-40"0,13 27 31,0-27-31,13 14 16,0-27-16,-13 13 16,13-13-16,14 0 15,-27-13-15,13 13 0,0-14 16,1 1-16,-1 0 0,-13 0 16,13-1-16,0 1 0,-13 0 0,27-13 15,-27 12-15,0 1 16,13 0-16,-13 0 0,13-1 15,-13 1 1,0 40 15,0-1-15,0-13-16,0 1 0,13-1 16,-13 0-16,0 0 15,0 0-15,14-13 0,-14 14 0,13-1 16,0-13-1</inkml:trace>
  <inkml:trace contextRef="#ctx0" brushRef="#br0" timeOffset="42581.74">15663 13877 0,'-26'27'15,"13"-27"-15,13 13 16,0 0-16,0 1 16,0-1-16,13-13 15,0 0 1,0 0-1,-13-13 1,14 13-16,-14-14 16,13 14-16,0-13 15,-13 26 17,0 1-17,0-1 1,13-13-16,-13 13 15,13 0 1</inkml:trace>
  <inkml:trace contextRef="#ctx0" brushRef="#br0" timeOffset="42905.7">15822 13891 0,'0'13'16,"0"0"-1,0 14 1,13-27-16,-26 13 15,13 0-15,0 0 16,-13 0 0,13 1-1,-27-14 1</inkml:trace>
  <inkml:trace contextRef="#ctx0" brushRef="#br0" timeOffset="43201.77">15901 13877 0,'0'14'16,"0"12"0,0-13-1,0 1-15,0-1 16,0 0-16,-13 0 31,0 0-15</inkml:trace>
  <inkml:trace contextRef="#ctx0" brushRef="#br0" timeOffset="43464.6">16073 13785 0,'0'26'31,"0"-13"-15,0 1-16,0-1 16,0 0-16,14-13 0,-14 13 0,0 1 15,0-1 1,0 0-1,13 0-15</inkml:trace>
  <inkml:trace contextRef="#ctx0" brushRef="#br0" timeOffset="43797.8">16100 13785 0,'13'-13'16,"0"26"15,-13 0-15,14-13-16,-14 13 15,26 0 1,-26 1 0,13-1-16,-13 13 15,0 1-15,-13-1 16,13-12 0,-13-14-16,0 13 0,-1 0 15,1 0-15</inkml:trace>
  <inkml:trace contextRef="#ctx0" brushRef="#br0" timeOffset="46078.87">15293 13044 0,'159'0'15,"-133"0"-15,1 0 0,12 0 16,-12 0-16,12 0 0,1 0 15,-13 0-15,12 0 0,1 0 0,-14 0 16,14 0-16,26-13 0,-39 13 16,-1 0-16,27-13 0,-26 13 15,-1 0-15,14-14 0,-14 1 0,14 13 16,-14-13-16,1 13 0,-14-13 16,13-1-16,1 1 15,-1 13-15,-12-13 0,-1 0 0,0 13 16,0-14-16,-13 1 0,13 0 15,1 13-15,-14-13 0,0 0 0,13-14 16,-13 14-16,0 0 16,0-1-16,0 1 0,0 0 15,0 0-15,-13-1 16,13 1-16,-14 0 0,14 0 16,-13 0-16,0 13 0,13-14 15,-13 1-15,0 0 0,-1 13 0,1-13 0,0-1 16,0 1-16,-1 13 0,1-13 15,0 0-15,-14 13 0,14-14 16,0 1-16,0 13 0,-14-13 0,14 13 16,-13-13-16,12 13 0,-12 0 15,0-13-15,-41-1 16,54 14-16,-13 0 0,12-13 0,-12 13 16,13 0-16,0-13 0,-1 13 15,-12 0-15,-1 0 0,14-13 16,0 13-16,0 0 0,-1 0 15,1-14-15,0 14 16,0 0-16,0 0 0,-1 0 0,1 0 0,0-13 16,0 13-16,-1 0 0,1 0 15,0 0-15,0 0 16,0 0-16,-1 0 0,1 0 0,0 0 16,0 0-16,-1 0 0,1 0 0,0 0 15,0 0-15,-1 13 0,1-13 16,0 0-16,0 0 0,0 0 15,-1 0-15,1 0 16,0 0-16,0 14 16,-1-14-16,1 0 15,0 0-15,0 0 16,-14 0 0,14 0-16,0 0 15,0 0-15,-1 13 16,1-13-16,0 0 0,0 0 15,-1 0-15,1 0 0,0 0 16,13 13-16,-13-13 0,-1 0 0,1 0 16,0 13-16,0-13 15,0 14-15,-1-14 0,1 0 0,13 13 16,-13-13-16,0 13 0,-1 0 16,-12 0-16,26 1 0,-27-1 15,14 0-15,0 14 0,0-14 16,0 13-16,-1 1 0,-12 26 15,13-14-15,-14 1 0,14 0 16,13-14-16,0-13 16,0 27-16,0-27 0,0 14 15,0-14-15,13 0 0,-13 1 16,27 25-16,-14-26 0,13 1 16,-12-1-16,12 0 0,0-13 15,1 13-15,-1-13 0,1 0 0,39 0 16,-13 0-16,0 0 0,-13-13 15,12 0-15,-12 13 0</inkml:trace>
  <inkml:trace contextRef="#ctx0" brushRef="#br0" timeOffset="47490.66">16391 12435 0,'79'14'15,"-52"-14"-15,12 0 0,1 0 16,13 0-16,-13 0 0,26 0 0,-13 0 16,13 0-16,13 0 0,1 0 15,65-14-15,-65 14 0,-1-13 16,0 13-16,1 0 0,-1-13 15,67 0-15,-67 13 0,-13 0 16,14-14-16,65 14 0,-79 0 16,0-13-16,-13 13 0,13 0 15,-13 0-15,0 0 0,0 0 0,0-13 16,0 13-16,0 0 0,0 0 0,-14 0 16,14 0-16,-13 0 0,0 0 15,13 0-15,-27 0 0,14-13 16,0 13-16,-14 0 0,14 0 0,-1-13 15,-12 13-15,-1-14 0,14 14 16,-14-13-16,14 13 0,26-26 16,-26 12-16,-14 14 0,14-13 15,-13 0-15,-1 13 0,0-13 16,1 0-16,-1 13 0,1-14 0,-1 14 16,-12-13-16,12 13 0,-13-13 0,14 13 15,-14-13-15,13 13 0,1-14 16,-1 1-16,-12 13 0,-1-13 15,13 0-15,-13-1 0,1 14 16,-14-13-16,13 0 0,-13 0 16,0 0-16,13-1 0,-13-12 15,-13-1-15,13 14 0,-13-13 16,-1 12-16,1-12 0,-26-27 16,12 27-16,1-1 0,-1 14 0,1-13 15,-54-14-15,41 13 16,-1 14-16,-66-40 15,-13 27-15,-13-14 16,66 27-16,13 0 0,-80-14 16,67 14-16,-79-14 15,79 14-15,-14 0 0,-52-13 16,66 12-16,-67 1 16,14 0-16,53 13 0,13-13 15,-13 13-15,13 0 16,-13 0-16,13 0 0,0 0 0,0 0 15,0 0-15,1 0 0,-15 13 0,14-13 16,1 0-16,-41 13 0,-13 14 16,53-27-16,14 13 0,-1 0 15,-53 13-15,54-12 16,-41 12-16,41-13 16,-41 14-16,40-14 0,1 0 15,-1 14-15,0-14 0,-26 13 16,27 1-16,-28-1 15,28 1-15,12-14 0,-52 40 16,52-40-16,1 14 0,-14-1 16,-26 14-16,40-14 15,-54 54-15,54-54 16,-1 1-16,1 39 16,-1-13-16,27-27 0,0-13 15,14 53-15,-1-39 16,0 13-16,27 12 0,-27-25 15,40 13-15,-13-14 0,65 27 16,-52-53 0,53 13-16,-40-13 0,-13 0 15</inkml:trace>
  <inkml:trace contextRef="#ctx0" brushRef="#br0" timeOffset="48098.6">20055 11906 0,'172'-39'0,"-105"39"16,-15-14-16,81 1 0,-67 0 16,53 0-16,-13-14 15,-27 14-15,-52 13 16,-1-13-16,14 13 15,-14-13-15,-13-1 0,-13 1 16</inkml:trace>
  <inkml:trace contextRef="#ctx0" brushRef="#br0" timeOffset="48457.85">20095 11695 0,'-40'66'0,"27"-53"15,0 13-15,0-12 16,13-1-16,0 0 16,0 0-16,13 14 0,-13-14 15,26 13-15,14 14 16,0-27-16,-14 1 16,40 12-16,-26-13 0,0-13 15,39 14-15,-26-1 16,-26-13-16,-1 0 0,-13 0 15,0 0-15,1 0 0,-1 0 0</inkml:trace>
  <inkml:trace contextRef="#ctx0" brushRef="#br0" timeOffset="49580.96">14499 12396 0,'-66'-27'16,"53"27"-16,0 0 16,-1 0-16,1 0 0,-13 13 15,12 1-15,1-1 0,0 0 16,13 0-16,-13 14 16,0-1-16,13 1 0,0-1 0,0 14 15,0 0-15,0 39 0,0-26 16,0-13-16,0-1 0,0 1 15,0-14-15,-14 41 0,14-41 16,0 1-16,0 25 0,0-38 16,-13-1-16,13 0 15,0 0-15,0 1 0,13-14 16,1 0 0,-1 0-16,0 0 15,0 0-15,0 13 16,1 0-16,-1 13 0,13 14 0,-12 0 15,25 52-15,-12-39 0,-1 66 16,-13-66-16,1 27 16,-1-41-16,0 41 15,0-14-15,1-40 0,-14 27 16,13-39-16,-13 12 0,13-13 16,-13 0-16,0 1 0,13-14 15,-13 13-15,0-40 31,0 14-15</inkml:trace>
  <inkml:trace contextRef="#ctx0" brushRef="#br0" timeOffset="49924.76">13242 13652 0,'119'-39'16,"-92"39"-16,-1-13 0,1 13 15,26-14-15,-27 14 0,27-13 16,-26 13-16,25 0 16,-25 0-16,-14-13 0,0 13 15,14 0-15</inkml:trace>
  <inkml:trace contextRef="#ctx0" brushRef="#br0" timeOffset="50147.41">13745 13388 0,'172'53'16,"-145"-27"-1,12 1-15,-26-14 0,1 0 16,-1 14-16,13 26 16,-26-27-16,-26 14 15,13-14-15,-1-13 16,-12 1-16,-93 25 16</inkml:trace>
  <inkml:trace contextRef="#ctx0" brushRef="#br0" timeOffset="51470.99">16775 7263 0,'489'-80'0,"-396"67"16,-1 0-16,1 0 0,-1 0 15,1-1-15,26-12 0,-13 13 0,-13-1 16,92-12-16,-106 13 16,1-1-16,-1 1 0,53-13 0,-79 26 15,-13-13-15,-14 13 16,1-14-16,-14 14 0,13-13 15,-65 13 1,-1 0-16</inkml:trace>
  <inkml:trace contextRef="#ctx0" brushRef="#br0" timeOffset="52109.91">17119 7276 0,'-27'0'0,"54"0"16,-1-13-16,-26 26 0,-26-13 0,303-40 16,-184 27-1,-14 0-15,107-14 16,-94 14-16,14 0 0,-13 0 0,-1 13 16,1-13-16,-14-1 0,67 1 15,-80 0-15,-13 0 0,0 13 0,0-14 16,-27 14-16,0 0 15,1 0-15,-1 0 16,-12-13-16,-1 13 16,0 0-16,0 0 15,-13-13-15,14 13 16,-1-13-16,0 13 47,-13-14-32,13 1 95,-39 26 15,13-13-125,-27 0 31,27 14-31,-1-14 0,-25 0 16,12 0-16</inkml:trace>
  <inkml:trace contextRef="#ctx0" brushRef="#br0" timeOffset="54353.79">4789 11179 0,'-13'-14'16,"-1"14"-16,1 0 15,0 0-15,0 0 16,0 0-1,-1 0 17</inkml:trace>
  <inkml:trace contextRef="#ctx0" brushRef="#br0" timeOffset="56266.02">3717 12158 0,'-13'-14'0,"13"1"16,0 40 31,0-1-32,13 1-15,-13-14 0,0 13 16,14 27-16,-14-26 15,13 12-15,-13 1 0,13-14 0,0 14 16,-13 0-16,14-1 0,-14 1 16,13 0-16,0 39 0,13 1 15,-26-54-15,14 1 16,-1-1-16,-13-13 0,0 0 0,13 1 16,-13-1-16,0 0 0,13 0 0,-13 1 15,0-1 1,0-53 15,0-13-15,-13 27-16,13-14 15,-13 0-15,13 1 0,-13-1 16,13-13-16,-14 0 0,1 0 0,0 0 16,0 0-16,13 14 0,-27-41 15,14 41-15,13-1 0,-13 14 16,0 12-16,13-12 0,0 13 15,-14-1-15,14 28 16,0 131 15,14-79-31,-1 0 0,-13 14 16,26-14-16,-12 13 0,-1-13 16,13 1-16,1 12 0,-14-13 0,13 0 0,1 0 15,13 53-15,-14-66 0,-13-13 16,14 13-16,-1-13 0,1 26 15,-1-40-15,-13 1 16,-13-14-16,14 13 0,-1-12 16,-40-41-1,14 1 1,0-1-16,0-12 0,-14-14 0,1 0 16,-1-13-16,-65-146 15,78 133-15,-25-1 0,25 1 16,-12 13-16,0 13 0,12-13 15,1 13-15,0 13 0,0 14 0,13-1 16,-14 1-16,14 12 0,0 41 31,14-1-31,12 27 0,1 0 16,-14 13-16,13 0 0,1 14 0,39 92 16,-26-80-16,-1-12 0,-12-14 15,-1 0-15,1 0 0,12-13 16,-12 0-16,26 53 0,-40-80 15,13 1-15,-12-1 0,-14-13 0,13 1 16,0-1-16,-26-40 16,13-12-1,-13-1-15,-14-13 0,1-13 16,-54-79-16,41 52 0,-41-92 16,41 92-16,-1 1 0,0 12 15,0 14-15,27 0 0,-13 0 16,-14-14-16,27 54 15,13-1-15,-13 1 0,-1 26 16,14 26 0,14 1-16,-14 26 0,13 13 0,0 13 15,14 14-15,-1 0 0,40 105 16,-39-105-16,12 12 16,41 67-16,-14-26 0,-26-80 15,-14-13-15,0-13 0,1 13 16,-1-27-16,-12 14 0,-1-27 0,0 13 15,0-26-15,-13 14 0,13-14 16,-26-27-16,13 1 16,-26-14-16,13-26 15,-27 0-15,0-14 0,1-12 0,-1 12 16,-13-12-16,13-1 0,-39-92 16,39 92-16,14 40 0,-1-13 15,-12-13-15,25 52 16,14 14-16,-13 0 0,0 39 15,13 1-15,0 13 0,13 65 16,0-25-16,27 92 16,-14-80-16,1-12 0,-1 12 15,14-12-15,-13-14 0,25 53 16,-25-66-16</inkml:trace>
  <inkml:trace contextRef="#ctx0" brushRef="#br0" timeOffset="58581.14">3360 12700 0,'-26'0'16,"52"-26"-1,-13 26-15,1-14 0,39-12 16,-27 13-16,14-1 0,-1 1 16,1 0-16,-13 0 0,-1-1 15,0 14-15,27-13 16,-39 13-16,-1 0 0,0 0 16,-13 13-16,0 1 15,0-1-15,0 0 0,-13 14 0,-14-1 0,14 14 16,-27-1-16,-12 41 15,-15-27-15,41-27 16,-1 1-16,1-14 0,13 0 0,-14 0 16,27 1-16,14-14 31,-1 0-31,13 0 0,-13 0 16,14-14-16,13 1 0,-1 0 0,1 0 15,26-1-15,-26 1 0,0 0 16,-27 13-16,0 0 15,13 13-15,-26 0 16,0 1-16,0-1 0,-26 27 16,0-14-16,-1 14 0,1-14 15,-14 14-15,0 0 0,1-14 0,12 0 16,-52 41 0,65-54-16,1-13 0,13 13 0,27-13 31,-1-13-31,1 0 0,12-1 15,14 1-15,13-13 0,-13 12 0,0 1 16,40-13-16,-53 13 16,-1 13-16,-26 0 0,27 0 15,-27 0-15,1 13 0,-14 0 16,-14 13-16,1 14 16,0-13-16,-27 12 0,14 14 0,-14-13 15,-39 53-15,52-54 0,-65 41 16,78-54-1,1-13-15,0 0 16,39 1-16,-12-14 16,12 0-16,14-14 0,-1 14 15,14-13-15,27 0 0,-41 0 16,14 13-16,-26 0 0,-1 0 16,-12 13-16,-1-13 15,13 13-15,-13 0 0,14 27 16,-27-27-16,0 14 15,0-14-15,0 0 0,-13 14 16,13-14-16,0 0 16,0 0-16,0 1 0,13-14 15,-13 13-15,13-13 0,-13 13 16,13-13-16,1 0 0,-1 0 16,13-13-16,1 0 15,-14-1-15,0 14 16,0-13-16,1 0 0,-1 0 0,0 0 0,14-1 15,-14 1-15,0 0 0</inkml:trace>
  <inkml:trace contextRef="#ctx0" brushRef="#br0" timeOffset="59837.76">4392 11218 0,'40'0'31,"-27"-13"-15,0 13-16,0 0 0,14-13 16,-14 13-16,14-13 0,26-1 15,-27 14-15,0-13 0,1 13 0,-1-13 16,1 13-16,12-13 0,28-1 15,-41 14-15,27-13 16,-40 13-16</inkml:trace>
  <inkml:trace contextRef="#ctx0" brushRef="#br0" timeOffset="60583.97">5305 11602 0,'13'-26'16,"-13"-1"-16,13 1 16,-26 12-16,13-25 15,0 25-15,-13-12 16,-14-40-16,14 26 16,-13-26-16,-1 40 0,14-14 15,-13 13-15,12 1 0,-39-1 16,40 14-16,-40-13 15,27 26-15,-14 0 0,0 0 16,1 13-16,-1 0 0,14 14 16,-27-1-16,26 1 0,-12-1 0,12 14 15,-13 13-15,27-14 16,0 1-16,0 0 0,0 66 16,26-80-16,-13 14 15,13-1-15,0-12 0,14-1 0,12 27 16,1-39-1,-14 12-15,27 0 0,-26-26 0</inkml:trace>
  <inkml:trace contextRef="#ctx0" brushRef="#br0" timeOffset="61268.73">6337 10927 0,'-278'66'15,"225"-39"-15,-40 26 0,54-14 0,12-12 16,-26 52-16,40-39 16,-13 0-16,12 13 0,1 39 15,0-52-15,26 53 16,0-41-16,27 41 0,0-53 15,0-1-15,-1-12 0,80 26 16,0-27-16,-66-13 16,0-13-16,53-13 15,26-13-15,-79-1 0,0 1 16,0-1-16,0 1 0,-13-14 0,-1 14 16,1-14-16,-27 14 0,14-14 15,-1-39-15,-26-1 16,-26 1-16,12 26 15,-52-26-15,27 39 0,-41-26 16,41 39-16,-1 1 0,0 13 16,1 13-16,-14-14 15,26 14-15,1 0 0,-14 14 16,27-1 0</inkml:trace>
  <inkml:trace contextRef="#ctx0" brushRef="#br0" timeOffset="61815.71">7448 11007 0,'-40'53'16,"1"-1"-16,39-25 0,-14 13 16,1-1-16,13 41 0,0-41 0,40 147 31,-27-147-31,14 1 0,25 26 16,-25-53-16,13 14 0,-1-14 15,1 0-15,39 1 16,14-28-16,0-12 15,-40-1-15,-14 1 0,1 13 16,26-40-16,-40 26 16,-12 1-16,12-27 0,-26-40 15,-13 54-15,0-1 16,-14-13-16,-12 13 16,-1 1-16,-39-41 0,-27 41 15,53 25-15,13 1 0,-79 13 16,40 0-16,-1 13 0</inkml:trace>
  <inkml:trace contextRef="#ctx0" brushRef="#br0" timeOffset="65860.92">16312 13242 0,'-14'27'31,"14"-14"-31,14 0 32,-14 1-32,13-14 0,0 0 15,27 0-15,13-27 16,-14 14-16,1-14 0,-14 14 0,14-13 15,0 12-15,0-12 16,-1 0-16,1-1 0,-14 14 0,1-14 16,13 1-16,-14 13 0,14-27 15,-27 27-15,27 0 0,-27-1 16,-13 1-16,26 0 16,-13 13-16,-13-13 15,14-1-15,-1 1 31,-26 13 1</inkml:trace>
  <inkml:trace contextRef="#ctx0" brushRef="#br0" timeOffset="66121">16880 12819 0,'0'-26'0,"14"26"0,-1-14 15,0 14-15,0 0 0,1 0 16,-1 0-16,13 0 0,-13 0 0,1 14 16,-1-14-16,13 13 15,-12 0-15,12 14 0,1 12 16,-14-12-16,-13-1 15,0-13-15,-13 1 0,13 25 16,-14-12-16,14-1 0,-26 14 16,26-14-16,-13-12 15,-1-1-15</inkml:trace>
  <inkml:trace contextRef="#ctx0" brushRef="#br0" timeOffset="66583.89">16312 13295 0,'-27'80'0,"27"-54"0,0 1 15,13-14-15,-13 0 16,14 0-16,-1 14 0,26-14 16,-25 0-16,-1-13 15,40 13-15,0-13 16,-27 0-16,27-13 0,-13 0 15,-14 13-15,1-13 0</inkml:trace>
  <inkml:trace contextRef="#ctx0" brushRef="#br0" timeOffset="128441.43">20426 1879 0,'0'-14'0,"0"41"47,0-1-32,0-13 1,0 1-16,0-1 15,0 0 1,0 0 0,0-39 15,0 13-31,0-1 16,0 1-16,13 0 0,-13 0 15,0 0-15,0-1 0,0 1 16,0 0-1,13 13-15,1 13 32,-1 0-17,0-13-15,-13 14 0,13-14 16,0 0 0,1 0-1,-1 0-15,-13-14 0,13 14 16,-13-13-16,13 13 0,1 0 0,-14-13 15,13 0 1,0 13-16,0 13 16,1 0-16,-14 0 15,13-13-15,-13 14 0,0-1 16,13 13-16,0-13 16,-13 1-16,13-1 0,-13 0 0,14 0 15,-1-13-15,-13 14 16,13-14-16,14 0 0,-14 0 15</inkml:trace>
  <inkml:trace contextRef="#ctx0" brushRef="#br0" timeOffset="129029.64">21881 1733 0,'-13'13'32,"13"0"-32,-13 14 15,-14-1-15,14 27 16,0-39-16,13-1 0,-14 26 16,14-25-1,0-1-15,-13 0 0,13 0 16,0 1-16,13-14 15,-13 13-15,27 0 16,-14-13-16,0 0 16,1 0-16,-1 0 0,0-13 0,27 13 15,-27 0-15,0-13 16,0 13-16,1 0 0,-1-14 0,0 14 16,-13-13-16,13 13 0</inkml:trace>
  <inkml:trace contextRef="#ctx0" brushRef="#br0" timeOffset="129198.66">21908 1879 0,'52'-27'15,"-38"27"-15,12-13 16,-13 13-16,1-13 0,-1 13 15,0 0-15</inkml:trace>
  <inkml:trace contextRef="#ctx0" brushRef="#br0" timeOffset="129390.66">21894 1733 0,'27'-13'15,"-1"13"-15,1-13 16,-1 13-16,27-14 16,-27 1-1,1 13-15,-1 0 16,-12 0-16</inkml:trace>
  <inkml:trace contextRef="#ctx0" brushRef="#br0" timeOffset="129814.59">23178 1733 0,'0'-13'16,"-14"39"-1,1-13-15,0 27 16,13-27-16,0 14 16,-13-14-16,13 0 0,-14 14 15,14-14-15,0 13 0,-13 1 16,13-14-16,0 0 16,0 14-16,13-14 15,-13 0 1</inkml:trace>
  <inkml:trace contextRef="#ctx0" brushRef="#br0" timeOffset="130167.96">23111 1720 0,'53'-40'0,"-39"27"0,12 13 15,-13 0-15,0 0 0,1 13 16,-1-13-16,13 13 0,-12 1 15,-1-1-15,0 13 16,0-26-16,-13 13 0,0 14 0,0-14 16,-13-13-16,13 13 0,-13 1 15,0-1-15,-14 0 0,14 0 16,-14 1-16,1-14 0,0 13 16,-1-13-16,14 13 0,-14-13 15,14 0-15</inkml:trace>
  <inkml:trace contextRef="#ctx0" brushRef="#br0" timeOffset="131500.39">19328 2500 0,'-13'0'0,"-1"0"0,1 0 16,0 14-16,0-14 16,-1 13-16,-25 0 0,26 0 15,-1 14-15,1-14 0,-13 13 16,12 1-16,14-14 0,-13 14 16,0-14-16,13 0 15,0 0-15,0 0 16,13 1-16,0-1 15,1-13-15,-1 13 0,0-13 16,0 0-16,1 0 0,-1 0 0,26 0 16,-25 0-16,-1 0 15,0 0-15</inkml:trace>
  <inkml:trace contextRef="#ctx0" brushRef="#br0" timeOffset="132174">19566 2540 0,'-13'0'31,"-1"13"-31,14 0 0,0 1 16,-13-1 0,13 0-16,0 0 0,0 14 15,-13-14-15,13 0 16,0 1-16,0-1 15,13-40 32,-13-26-31,13 27-16,1-14 0,-1 1 16,0 25-16,0 1 15,-13 0-15,14 13 0,-14-13 16,13 13-16,0 0 0,0 0 15,-13 13-15,14 0 0,-1 0 16,-13 1-16,0 12 16,13 0-16,-13-12 0,0-1 15,0 0-15,0 0 0,13 1 16,-13-1-16,0 0 0,0 0 0,13 1 16,-13-1-16,0 0 0,0 0 15</inkml:trace>
  <inkml:trace contextRef="#ctx0" brushRef="#br0" timeOffset="132365.59">19566 2725 0,'-13'0'0,"39"-26"15,-13 26 1,1-13-16,-1 13 0,0-14 0,0 14 15,27-13-15,-27 13 0,0-13 16,1 13-16,-1 0 16,0 0-16,-13 13 0</inkml:trace>
  <inkml:trace contextRef="#ctx0" brushRef="#br0" timeOffset="132730.15">19209 3241 0,'-40'40'16,"40"-27"-16,0 0 0,0 1 16,0-1-16,0 0 0,13 0 0,1 0 15,-1 1-15,0-1 16,0-13-16,0 0 15,14 0-15,-14 0 0,0 0 0,1 0 0,12-13 16,1-1-16,-1 14 16,-13-13-16</inkml:trace>
  <inkml:trace contextRef="#ctx0" brushRef="#br0" timeOffset="132942.48">19579 3162 0,'0'-27'0,"0"67"47,0-27-47,0 0 0,0 1 16,0-1-16,0 13 0,13-12 15,-13-1-15,0 0 0,0 0 16,0 1-16,14-1 16,-14 0-16,0 0 15,13-13 1</inkml:trace>
  <inkml:trace contextRef="#ctx0" brushRef="#br0" timeOffset="133291.5">19619 3175 0,'13'-26'0,"0"12"16,1 14-1,-1 0 1,-13 14 0,0 12-1,13-13 1,-13 0-16,13-13 15,-13 14-15,0-1 0,13-13 16,-13 13-16,14 0 0,-14 1 16,-14-1-1,14 0-15,-13-13 0,0 13 16,-13 1-16,12-1 16,1 0-16,0-13 0,0 13 15</inkml:trace>
  <inkml:trace contextRef="#ctx0" brushRef="#br0" timeOffset="133788.96">19354 3889 0,'-39'14'0,"25"-1"15,1 0-15,-13 14 16,12 12-16,14-26 0,-13 1 15,13 12-15,0-13 16,0 14-16,0-14 0,0 0 0,13 1 16,1 12-16,-1-26 15,0 13-15,0-13 0,14 13 16,-14-13-16,0 0 0,14 0 16,-14 0-16,0-13 0,0 13 15</inkml:trace>
  <inkml:trace contextRef="#ctx0" brushRef="#br0" timeOffset="134105.32">19778 3850 0,'-14'-14'15,"1"28"-15,-13 12 16,26-13-16,-14 1 16,14-1-16,-13 0 15,13 14-15,0-14 0,0 0 16,13 0-16,-13 14 0,14-14 16,-1-13-16,-13 13 0,13-13 15,0 0-15,1 13 0,-1-13 0,0 0 16,0 0-16,1 0 0,-1 0 15,13 0-15,-13 0 16,1 0-16</inkml:trace>
  <inkml:trace contextRef="#ctx0" brushRef="#br0" timeOffset="136005.35">17992 2606 0,'-27'0'0,"27"13"0,-13-13 16,26 40 0,-13-27-1,13 1-15,1-1 16,12 26-16,-13-25 16,1-1-1,-14 0-15,0 0 0,-14-13 0,14 14 16,-13-1-16,13 0 15,-13-13-15,0 13 0,-14 1 0,14-1 16,0-13-16,0 0 16,-1 0-16,1 13 15</inkml:trace>
  <inkml:trace contextRef="#ctx0" brushRef="#br0" timeOffset="136268.45">18203 2778 0,'0'-53'0,"-13"53"16,13-13-1,-26 26 1,26 0-16,-14 1 15,14-1-15,27 27 32,-1-40-17,-12 0-15,38 0 16,-25-14-16,-14 14 0</inkml:trace>
  <inkml:trace contextRef="#ctx0" brushRef="#br0" timeOffset="136604.47">18441 2699 0,'0'-40'0,"-26"53"16,13 1 0,0-1-16,13 0 15,-14 0 1,14 0-16,14 1 16,-1-14-16,0 0 15,0-14 1,0 14-16,1 0 0,-14-13 0,26 0 15,-13 0-15,1 0 16,-14-1-16,13 1 0,-13 0 16,13 13-16,-13-13 0,13-1 15,-13 41 32,0-1-31,0-12-16,0-1 0,0 0 15,0 0-15,0 0 0,0 1 0,0-1 0,0 0 16,0 0-16,14 1 16,-14-1-16</inkml:trace>
  <inkml:trace contextRef="#ctx0" brushRef="#br0" timeOffset="136986.78">18785 2593 0,'-26'40'0,"26"-14"15,0-13-15,0 1 0,0 12 16,0 0-16,0-12 16,0-1-16</inkml:trace>
  <inkml:trace contextRef="#ctx0" brushRef="#br0" timeOffset="138832.49">18904 2540 0,'14'0'15,"-14"13"204,0 0-203,-14 1-1,14 12 1,0-13-16,0 1 0,0 12 16,0-13-16,0 14 15,0-14 1,0 0-16,14 0 16,-1-13-1,0 0 1,0 0-16,1-13 0,-1 13 15,-13-13-15,13 13 16,0-13-16,-13 0 0,14 13 0,-14-14 16,13 1-16,-13 0 0,13 0 15,-13-1-15,0 1 16,-13-13 0,0 12-1,-14 1 1,-26 26-1,40 1-15,0-14 0</inkml:trace>
  <inkml:trace contextRef="#ctx0" brushRef="#br0" timeOffset="140020.44">18878 4419 0,'-53'13'15,"40"-13"-15,0 0 0,13 13 0,-14-13 16,1 13-16,13 0 0,-13-13 0,13 14 16,-13-14-16,13 13 0,0 0 15,13-13 1,27-13 0,-27 13-1,13-13-15,14 13 16,-27 13-1,-13 0 1,13 0-16,1 40 16,-14-39-1,13 12 1,-13-13-16,0 14 0</inkml:trace>
  <inkml:trace contextRef="#ctx0" brushRef="#br0" timeOffset="141448.26">19143 5768 0,'13'13'16,"-13"0"-16,26 1 15,-26-1-15,14 0 0,-14 0 0,13-13 16,-13 14-16,0-1 0,0 0 16,0 27-1,0-27-15,0 0 0,-13-13 0,13 13 16,13-52 15,13 12-15,-13 14-16,1 0 15,12-14-15,-13 1 0,1-1 0,-1 14 16,0-27-16,-13 27 16,0 0-16,0-27 15,0 27-15,-13 13 0,13-13 0,-13 0 16,-1 13-16,14-14 0,-13 14 16,-13 14-1,12-14-15,14 13 16,-13-13-16,13 13 0,-13-13 15,13 13-15</inkml:trace>
  <inkml:trace contextRef="#ctx0" brushRef="#br0" timeOffset="141889.69">19182 5450 0,'-79'40'15,"66"-27"-15,-27 27 16,27 0-16,13-14 0,-13 14 16,13 0-16,0-1 0,0 1 0,0 0 15,13-1-15,0 1 0,13 0 16,-12-14-16,12 14 0,1-14 15,39 14-15,-40-27 0,14 0 0,-14-13 16,1 14-16,79-41 16,-67 14-16,41-27 15,-54 27-15,14-27 0,-14 14 16,-12-1-16,-1-12 0,0-1 0,-13 0 16,13 14-16,-26-14 0,13 1 15,-13-1-15,0 0 0,-14 0 0,14 14 16,0 0-16,-14-1 0,14 14 15,0 0-15,-1-1 0,1 1 0,-13 13 16,-1-13-16,14 13 0,0 0 16,0 0-16,-1 0 0,-12 13 15,13 0-15,0-13 0,-1 14 16,1-1-16</inkml:trace>
  <inkml:trace contextRef="#ctx0" brushRef="#br0" timeOffset="145158.91">18336 4313 0,'105'-14'0,"-78"14"0,13-13 16,145-13-16,-106 13 15,1 13-15,-1-14 0,0 1 16,1 0-16,12 0 0,1-1 15,0 1-15,-1 0 0,1 0 0,105 0 16,-92-14-16,13 14 0,-26 13 16,12-13-16,-12-1 0,0 1 0,-1 0 15,-12 0-15,12 13 0,1-14 16,-14 1-16,14 0 0,-14 13 0,1-13 16,-1 0-16,0 13 0,1-14 15,-1 14-15,-13-13 0,14 13 0,-14-13 16,13 13-16,-26-13 0,13 13 0,0 0 15,-13-14-15,0 14 0,27-13 16,-28 13-16,1 0 0,14 0 0,-15 0 16,15-13-16,-1 13 0,-13 0 0,13 0 15,-13 0-15,79 0 16,-53-13-16,-12 13 0,-15 0 16,15-14-16,-14 14 0,52-13 15,-52 13-15,0-13 0,0 13 0,0-13 16,-13 13-16,-1-13 15,1 13-15,0 0 0,-14-14 0,1 14 0,12-13 16,-12 13-16,-1-13 0,14 13 0,13-27 16,-27 14-16,14 0 15,-14 0-15,1-14 0,-1 14 0,1 0 16,-1-14-16,1 1 0,-1-1 0,14-26 16,-14 27-16,-12-14 15,12 14-15,-13-1 0,1-12 0,12 12 16,-13-12-16,0-1 0,1 0 15,-1 1-15,13-14 0,1-53 0,-1 53 16,-12 0-16,-1 0 16,13-13-16,14-40 0,-27 40 15,0 13-15,27-53 0,-27 66 16,1 1-16,-1-1 0,0 14 16,0-14-16,0 0 0,1 1 15,-1-1-15,0 0 0,27-39 0,-27 39 16,0-13-16,-13 14 15,13-1-15,1 0 0,-1 0 0,-13 1 16,13-54-16,-13 54 16,0 12-16,0 1 0,0 12 15,0-12-15,-13 13 0,13-1 16,0-25-16,0 26 0,-13-1 16,13-12-16,-14 26 0,14-13 15,-13-1-15,0 1 0,0 0 16,0 13-16,-27-27 0,27 27 15,-53-26-15,26 26 0,0-13 16,0 0-16,1 13 0,-14-14 16,-40 1-16,54 0 15,-14 13-15,0-13 0,-13 13 0,-1-14 16,1 14-16,0-13 0,-13 13 16,13 0-16,-14-13 0,1 13 0,-186 0 15,93 13 1,66-13-16,1 0 0,-14 13 15,13-13-15,-13 14 0,13-14 0,-159 13 16,173 0-16,-14-13 16,0 0-16,-13 13 0,13 1 0,-92-1 15,105 0-15,-26 0 0,-79 0 16,-41 27-16,54-13 16,93-14-16,-1 0 15,0 0-15,-12 14 0,12-14 16,0 0-16,14 0 0,0 1 0,-14-1 15,27 13-15,-14-12 0,14-1 0,-13 0 16,13 14-16,0-14 0,13 0 16,-13 0-16,26 0 0,-13 1 0,-26 12 15,39-13-15,-13 1 16,13-1-16,-26 13 0,26-13 16,1 1-16,-41 25 0,1-12 15,39-14-15,1 0 16,12 1-16,-12-1 0,-1 0 15,13 0-15,-12 0 0,-41 27 16,54-27-16,-1 1 16,-25 12-16,25-13 0,1 1 15,-1-1-15,-13 13 0,14-13 16,13 1-16,-14-1 0,1 13 16,-14 14-16,14-14 15,-14 14-15,14-13 16,12-14-16,14 13 15,-39 27-15,12-26 16,14-1-16,0-13 0,-1 1 16,14-1-16,-13 0 15,0 27-15,0-27 0,0 27 16,-1-27-16,14 27 0,0-14 16,-13 14-1,13-14-15,0 1 0,0 12 0,0 1 16,0 0-16,0-1 0,0 1 0,13 13 15,-13-13-15,14-1 16,-14 1-16,13 13 0,26 53 0,-12-27 16,13 14-1,-27-54-15,0 1 0,14 0 0,-1 39 16,0 1-16,14-14 16,-13 0-1,-14-26-15,0-14 0,14 14 16,-1-14-16,-26 1 15,13-14-15,0 0 0,27 27 16,-13-27 0,-14-13-16,13 27 0,14-14 15,0-13-15,-27 13 16,13-13-16,1 0 0,12 0 16,14 0-16,-26 0 15,-1 0-15,-12 0 0,38 0 16,-38 0-16,12 0 15,1 0-15,-1 0 16,-13 0-16,1 0 16,-1 0-1,0 0-15,0 0 16,0 0-16,-13 13 16</inkml:trace>
  <inkml:trace contextRef="#ctx0" brushRef="#br0" timeOffset="147141.75">18627 4247 0,'-93'13'0,"80"0"0,-14 0 0,-12 0 15,-1 14-15,0 13 0,1-14 16,-1 14-16,-26 39 0,39-26 16,-12-13-16,-14 52 15,13 14-15,27-66 0,0 0 16,-1 39-16,14-39 16,0-14-16,0 14 0,0-14 0,0 1 15,0-1-15,14 14 0,12 13 16,-26-27-16,13-13 0,14 14 15,-1-14-15,1 0 0,-1 1 0,1-1 16,-1-13-16,0 13 0,67-13 16,-53 13-16,13-13 15,-14-13-15,14 13 0,0 0 0,66-13 16,-39 0-16,-14 13 0,13-14 16,-13 1-16,80 0 15,-80 0-15,13 13 0,1-14 0,-1 1 16,0 13-16,67-13 0,-67 0 15,1 13-15,-14-13 0,13 13 16,1 0-16,-14 0 0,79-14 16,-65 14-16,-27 0 0,13 0 0,-13-13 15,26 13-15,-13 0 0,-13 0 16,26-13-16,-12 13 0,78-13 16,-13-14-16,-65 27 15,12-13-15,-13 13 0,0-13 16,0 13-16,14 0 0,-27-14 0,13 14 15,0 0-15,40-13 0,-40 13 16,-13 0-16,66 0 16,-53 0-16,-13 0 0,13 0 0,53 0 15,-66 0-15,13 0 16,-13 13-16,13-13 0,-13 0 0,27 0 16,-14 0-16,0 14 0,-13-14 15,66 0-15,-13 0 16,-53 0-16,0 0 0,-1 0 15,1 0-15,-13 0 0,0 0 0,-1 0 16,1 0-16,26 0 0,0 0 16,-26 0-16,-13 0 15,52-14-15,-53 14 16,14-13-16,39 0 0,-39 13 16,0-13-16,0 13 0,-1-13 0,1 13 15,13-14-15,-27 1 16,27 0-16,-26 0 0,-1 13 15,14-27-15,-14 14 16,-12 0-16,12 13 0,0-27 16,-12 14-16,-1 0 0,0 0 0,14-27 15,-27 27-15,13-1 0,0 1 16,0-13-16,-13 12 0,27-25 16,-27 12-16,13 1 15,-13 13-15,13-14 0,-13 1 0,13 13 16,-13-14-16,14 14 0,-14-14 15,13 1-15,-13-1 0,13 1 0,-13 0 16,0 12-16,0 1 16,0-13-16,13 12 0,-13 1 15,0-13-15,0 12 0,0-12 16,-13 0-16,13-1 0,0 14 16,0 0-16,-13-14 15,0-12-15,-1 12 0,1-13 16,13 27-16,-13 0 0,0-14 15,-1 1-15,14 13 16,-13 0-16,0-14 0,0 14 16,0 0-16,-1-1 15,-12-12-15,13 13 16,-1-1-16,1 1 0,0 13 16,-13-13-16,12 0 0,1 0 15,-27 13 1,1-14-16,12 1 0,1 13 15,-1-13-15,-26 0 0,27 13 16,-1 0-16,1-14 0,0 14 16,-1 0-16,1 0 0,-1-13 0,-13 13 15,1 0-15,12 0 0,1-13 16,-1 13-16,-12 0 0,-14 0 16,-27 0-16,41 0 15,-67 0-15,53 0 16,0 0-16,-66 0 0,66 0 15,-13 0-15,13 0 0,0 0 0,-39 13 16,39-13-16,0 0 16,13 13-16,0-13 0,-52 14 15,39-1-15,0 0 0,-66 14 16,66-14-16,0 13 16</inkml:trace>
  <inkml:trace contextRef="#ctx0" brushRef="#br0" timeOffset="148773.32">18812 5292 0,'-66'39'0,"0"28"16,52-41-16,-12 14 0,-1-1 15,-12 54-15,12-40 0,14 0 16,0-14-16,13 14 15,-13 53-15,13-66 0,0 13 16,0 13-16,13-13 0,0 0 0,14 66 16,-14-66-16,0-14 15,13 14-15,1 0 0,13-13 0,-1 13 16,1-13-16,13-1 0,26 14 0,-13 0 16,199 106-16,-172-106 15,12 0-15,1 0 0,13 0 16,-13-1-16,132 41 0,252 105 15,-358-158 1,-13 0-16,13 0 0,1-1 16,-14 1-16,132 13 15,-13 0-15,-145-40 0,-1-13 0,14 13 16,79-13 0,-92 0-16,0 0 0,-14-13 0,0 13 15,1-13-15,-14 0 0,0-1 0,0 1 16,-13-13-16,-13 12 0,13 1 15,-14 0-15,1 0 0,-13-14 0,12 14 16,1-13-16,0-1 0,-1-13 0,-12 14 16,13-1-16,-1-12 0,1 12 15,-14-12-15,14 12 0,26-52 16,-39 52-16,12 1 0,-12-1 16,-1 1-16,14 0 0,-14-1 0,-12 1 15,12-1-15,1 1 0,-1-1 16,-13 1-16,27-40 0,-14 39 15,-12 1-15,-1-14 0,13 0 0,-13 1 16,1-1-16,12-13 0,-13 0 0,14 0 16,13-39-1,-27 39-15,0 13 0,0 0 0,0 1 0,1-1 16,12-26-16,-13 26 0,-13 14 16,0-1-16,14-13 0,-14 14 15,13 0-15,-13-14 0,0 0 0,13 1 16,-13-1-16,13 0 0,-13 0 0,14 1 15,-1-1-15,0-13 16,13-53-16,-12 53 0,-1 14 16,0-14-16,0 13 0,1 0 0,12-52 15,-26 52-15,13 0 16,-13 1-16,14-54 0,-14 53 16,0 1-16,0-1 0,0 0 15,-14-26-15,1 40 0,0-1 16,13-12-16,-13 25 0,-1-12 0,1 13 15,-27-40-15,27 53 16,0-13-16,-53-1 16,53 14-16,-40 0 15,39 14-15,-12-14 0,13 0 16,-14 0-16,14 13 0,0-13 0</inkml:trace>
  <inkml:trace contextRef="#ctx0" brushRef="#br0" timeOffset="157106.82">18084 3069 0,'252'-26'16,"-199"26"-16,-1-14 0,1 14 15,93-13-15,-67 13 16,-13-13-16,14 0 0,-14 0 0,0-1 15,66-12-15,-79-1 0,0 14 16,27-13-16,-41 13 16,-12-14-16,12 14 0,-12-14 0,-1 1 15,1-1-15,-1 1 0,-13 0 16,1-1-16,-1-26 0,-13 27 16,-13-40-16,-1 39 0,1-13 15,0 1-15,0-1 0,-14 0 0,-12 1 16,12-1-16,-26 13 0,14 1 15,-54-27-15,27 27 16,13 12-16,-13 1 0,-40 0 16,27 13-16,-1 13 0,1 0 0,-93 14 15,66-1 1,27 1-16,-27 12 0,13 1 0,14 0 16,-67 52-16,93-52 0,-13 13 15,27-13-15,-1 13 0,0 0 0,14 0 16,-1-14-16,14 1 0,13 53 15,0-54-15,13 1 0,-13 0 16,27-1-16,-1 1 0,1-14 16,12 14-16</inkml:trace>
  <inkml:trace contextRef="#ctx0" brushRef="#br0" timeOffset="158035.24">19222 4286 0,'-185'-158'15,"132"131"-15,0 14 0,0-14 0,-13 14 16,-14 13-16,1-13 0,-80 13 15,67 13-15,-1 14 0,-13-1 16,-13 1-16,13-1 0,1 27 16,-81 39-16,94-39 0,-80 80 15,-13 39 1,145-119-16,13-1 0,1 54 16,39-66-16,0 13 0,14 0 15,13 0-15,52 26 16,54-26-16,-54-40 0,120 27 15,-93-40-15,13 0 16,14-13-16,-14 0 0,0-1 0,14-25 16,-14 12-16,133-65 0,-146 39 15,0 13-15,-13-13 0,66-53 16,-93 40-16,-26 26 16,13-52-16,-53 39 0,1 13 15,-28 0-15,1-12 0,-106-68 16,13 54-16,27 40 15,0-1-15,-1 1 0,1 13 16,-1 0-16,1 13 0,-14 0 16,14 0-16,-80 0 0,80 13 15,0 0-15,12-13 0,15 13 0,-41 14 16,53-14-16,1 0 16,12-13-16,1 13 0</inkml:trace>
  <inkml:trace contextRef="#ctx0" brushRef="#br0" timeOffset="160404.89">19844 1998 0,'66'-67'0,"-13"15"16,-14 25-16,1-13 0,13 1 15,13-1-15,0-13 0,106-39 16,-79 39-16,198-106 16,-185 119-16,0-13 0,119-39 15,-120 52-15,14 13 16,1-12-16,-1 12 0,92-26 15,-92 27-15,-13 13 0,-13-1 16,-1 1-16,-12 0 0,12 0 16,-12 13-16,92-13 0,-14 13 15,1 0-15,-93 13 16,1-13-16,-1 0 0,0 13 16,40 13-16,-53-26 0,13 14 15,-27-1-15,54 27 0,-53-27 16,26 40-16,-27-40 15,-12 13-15,-1 1 0,1 13 0,-1-14 16,14 40-16,-27-39 16,27 39-16,-27-40 15,27 54-15,-27-41 0,27 28 16,-14 25-16,14 14 16,-27-53-16,27 39 15,-27-39-15,0 0 0,1 13 16,-1-13-16,13 0 0,-13 0 0,1 13 15,25 40 1,1 13-16,-13-66 0,-14 13 16,13-13-16,14 40 0,-27-40 15,0 26-15,-13-26 0,0-13 16,0-1-16,0 1 0,-13 13 16,-13 53-16,-1-53 0,14 0 0,-13 0 15,-1-14-15,-26 67 16,27-53-16,-67 93 15,27-54-15,0-12 16,26-41-16,0 1 16,1 0-16,-1-1 0,-119 67 15,-26-13 1,40-40-16,65-27 16,-92 14-16,93-27 15,-14 0-15,-145 27 0,13-14 16,133-26-16,-107 14 15,93-28-15,0 14 0,-105-26 16,92-1-16,13 1 0,0 13 16,0-14-16,-211-65 15,224 52-15,-119-39 16,14-14-16,13-13 16,92 53-16,1 0 0,-107-39 15,1-1-15,-67-66 16,173 120-1,12-14-15,1 0 0,-27-26 16,53 26-16,-79-106 16,92 106-16,14-13 15,-1 0-15,1 0 0,12-80 16,1 0-16,26 80 0,14-53 16,-14 53-16,14 0 15,-1 0-15,14 0 0,39-67 16,1 1-16,-41 79 0,14 0 15,-13 0-15,13 0 16,119-105-16,-119 118 16,52-39-16,1 12 0,-53 41 15,0 0-15,40-14 16,13 0-16,-80 40 16,-13-13-16</inkml:trace>
  <inkml:trace contextRef="#ctx0" brushRef="#br0" timeOffset="188432.94">2024 2130 0,'-13'-53'16,"0"53"-16,-1-13 16,-12 13-16,-14 26 15,27-26 1,0 13-16,-27 40 15,27-26-15,-14 12 0,14-25 16,0 25-16,13-12 0,0-14 16,0 0-16,0 1 0,13-1 0,0 0 15,1 0 1,-1-13-16,27-13 0,-27 13 16,13-13-16,1 0 0,26-14 15,-27 1-15,-13 26 0,14-14 16,-14 1-16,27-13 15,-27 26-15,-13-14 16,13 28 0,0-1-16,-13 13 15,0-12-15,0-1 16,0 0-16,0 40 16,14-27-1,-1-12-15,-13-1 16,13 0-16</inkml:trace>
  <inkml:trace contextRef="#ctx0" brushRef="#br0" timeOffset="189116.64">2421 2289 0,'-13'26'0,"-1"-13"16,14 1-16,0 38 15,14-25 1,-14-14-16,13 14 0,0-14 0,0-13 16</inkml:trace>
  <inkml:trace contextRef="#ctx0" brushRef="#br0" timeOffset="189531.61">3228 1971 0,'-119'13'15,"106"1"-15,-14 12 0,14 1 16,-40 52-16,27 0 15,26-66 1,0 40 0,0-39-16,39 25 15,-26-39 1,14 0-16,-14-13 16,0 13-16,1-13 0,-1 0 15,13-1 1,-12 14-16,-1 0 15,13 14 1,-13-1 0,14 27-1,-14-27-15,27 26 16,-14-12 0</inkml:trace>
  <inkml:trace contextRef="#ctx0" brushRef="#br0" timeOffset="189828.34">3492 2262 0,'14'-13'0,"12"13"16,1 0-16,-14 13 15,0 14 1,-13-14-16,0 13 15,0-12-15,-13-1 0,13 0 16,0 0 0,0 0-16,0 1 0,0-1 15,13-13 1,14 0 0,-14-13-16,0 13 0,0-14 0,14 14 15,26-13 1,-27 0-16,1 13 0,-1-13 0,93-14 15,-66 27-15</inkml:trace>
  <inkml:trace contextRef="#ctx0" brushRef="#br0" timeOffset="190275.1">5106 1799 0,'-26'-13'0,"-27"66"31,40-27-31,-14 1 0,27 12 16,-13-12-16,0 13 0,0-1 16,13-12-16,0-1 0,0 1 0,13 26 15,-13-14 1,66 54-1,-66-80-15,13 0 0,1-13 16,-1 14-16,0-14 0,13 0 16,-12 0-16,-1 0 0,0 0 15,0-14-15,1 14 0,25-13 16,-25 13 0</inkml:trace>
  <inkml:trace contextRef="#ctx0" brushRef="#br0" timeOffset="190778.7">5120 2196 0,'0'-13'0,"13"13"0,0 0 16,0-13-16,27 26 16,-27-13-16,14 0 0,-14 13 15,13-13-15,14 26 16,-27-12-16,14-1 15,-14 0-15,0 0 0,-13 1 0,0-1 16,0 0-16,0 27 16,-13-27-16,13 0 0,0 0 15,0 1-15,0-1 16,0 0 0</inkml:trace>
  <inkml:trace contextRef="#ctx0" brushRef="#br0" timeOffset="191166.61">5609 2236 0,'27'13'32,"-27"0"-17,13 0-15,0 1 16,0 12-1,1-26-15,-14 13 0,13 1 16,-13-1-16,0 0 16,0 0-16,0 0 15,-13 1-15,-14 12 16,14-26 0,0 13-16,-1-13 15,14 14-15</inkml:trace>
  <inkml:trace contextRef="#ctx0" brushRef="#br0" timeOffset="191939.15">5569 2117 0,'27'13'16,"-14"-13"-1,-13 13 1,13 0-16,-13 14 16,-13-14-1,13 0-15,-13 0 0,0 1 16</inkml:trace>
  <inkml:trace contextRef="#ctx0" brushRef="#br0" timeOffset="193358.23">1786 2659 0,'26'27'32,"-12"-27"-32,12 13 0,53 13 15,-39-13-15,79 14 16,-53-14-16,14 0 0,-1 1 16,14-1-16,-1 0 0,27 14 0,14-27 0,-14 13 15,159 13 1,-146-26-16,0 13 0,14 1 0,-1-14 15,-13 13-15,1-13 0,12 0 0,-12 0 16,-1 0-16,0 0 0,-13 0 16,13 0-16,133-13 0,-172 13 15,13-14-15,-14 14 0,-12-13 16,12 0-16,1 13 0,-14-13 0,-13 0 16,67-14-16,-94 14 15,1 0-15,0-1 0,-14 1 0,0 0 16,-12-14-16,12 1 15,-13 0-15,1-1 0,-14 14 0,0-14 16,0 1-16,-14-14 0,14 14 0,-13-14 16,0 0-16,-14 14 0,-12-40 15,-14 0-15,26 39 16,14-13-16,-13 14 0,-1 0 16,14-14-16,-13 13 0,12-12 0,-12 12 15,-1-39-15,1 26 16,0 1-16,-27-41 0,13 41 15,0-1-15,1 0 0,-1 14 16,0-14-16,-13 14 0,0-14 0,-52-13 16,38 27-16,14-1 0,-13 1 0,13-1 15,-26 1-15,13 13 16,-14-14-16,14 14 0,-172-40 16,-26 13-1,171 27-15,14 0 0,-14 13 16,0 0-16,1-13 0,-107 13 15,14 13-15,93 0 16,-1 0-16,-13-13 0,0 27 0,-79-1 16,106 1-16,-27-1 15,0 1-15,13-1 0,-79 53 0,93-39 16,13-13-16,-66 52 16,79-26-16,0-13 0,0 12 0,0-12 15,13 13-15,1-13 0,-27 52 16,39 27-1,40-52-15,1-28 16,65 94-16</inkml:trace>
  <inkml:trace contextRef="#ctx0" brushRef="#br0" timeOffset="193777.03">3175 3109 0,'-13'53'31,"13"-27"-31,0 1 15,-27 131 1,27-131-16,-13-1 0,13 1 16,0-1-16,-13 1 0,13-1 15,-13 14-15,13-14 0,0-12 16,-14-1 0</inkml:trace>
  <inkml:trace contextRef="#ctx0" brushRef="#br0" timeOffset="194161.14">3228 3082 0,'-53'14'15,"40"-1"-15,0 0 16,-14 0-16,14 1 0,0-1 0,-14 0 16,1 13-16,12-12 0,1-1 15,-13 0-15,13 0 16,26-39 31,-13 13-47,26-1 15,-13 14-15,1-13 0,-1 13 16,0-13-16,0 13 0,1 0 16,25 0-16,-25 13 0,-1-13 15,13 0-15,14 13 16,-14-13-16,-12 0 0,-1 14 16,0-14-16,27 26 0</inkml:trace>
  <inkml:trace contextRef="#ctx0" brushRef="#br0" timeOffset="194738.89">3201 3731 0,'-13'-27'15,"0"54"1,13-14-16,0 0 16,-13 0-16,0 53 15,13-13-15,-14-13 16,14-13-16,0 25 16,0-38-1,0-54 16,14-39-15,-14 52-16,13-13 0,0-12 16,0 25-16,-13 14 0,13 0 15,1-1-15,-1 1 0,0 0 16,0 13-16,1 0 0,-1 0 16,0 13-16,0-13 0,1 13 0,12 14 15,-13-14 1,0 14-16,1-14 0,-1 13 0,0-13 15,0 1-15,1-1 16,-14 0-16,13-13 0,-13 13 16,13 1-16</inkml:trace>
  <inkml:trace contextRef="#ctx0" brushRef="#br0" timeOffset="194916.82">3175 3903 0,'-26'0'0,"65"0"31,-26 0-31,1 0 0,12-14 16,1 14-16,-14 0 0,13 0 16,27 0-16,-13-13 0,-14 13 15</inkml:trace>
  <inkml:trace contextRef="#ctx0" brushRef="#br0" timeOffset="197041.4">3559 3797 0,'13'26'31,"-13"1"-15,13-14-1,-13 0-15,0 0 16,27-39 15,-14 26-15,-13-13-16,13 13 0,-13-14 15,13 14-15,0 0 16,1-13-16,-1 13 16,0 13-16,0-13 15,1 0-15,-1 0 16,0 0-16,-13 14 0,13-14 0,1 0 16,-1-14-16,0 14 0,13 0 15,-12-13-15</inkml:trace>
  <inkml:trace contextRef="#ctx0" brushRef="#br0" timeOffset="197307.04">3982 3744 0,'-13'13'31,"13"0"-15,26 1-1,1-1 1,-14-26-16,0 13 15,-13-14 1,0 1 0,-13 0-16,0 0 15,-1-1-15,1 14 16,0 0 0,0 14-16,13-1 15,0 0-15,13 0 16</inkml:trace>
  <inkml:trace contextRef="#ctx0" brushRef="#br0" timeOffset="197766.69">5596 4233 0,'-13'-26'31,"-1"13"-31,14-14 16,-13 14-16,0-13 0,-13-14 15,-1-26-15,1 13 0,-1 13 16,1-13-16,-1 0 16,1 14-16,-27-67 0,26 66 0,-12-26 15,12 39-15,14 1 0,13 13 16,-13-1-16,0 1 0,-1-26 15,1 39-15,13-14 16,-13 14-16,13 14 31,0-1-31,13 0 16</inkml:trace>
  <inkml:trace contextRef="#ctx0" brushRef="#br0" timeOffset="198158.22">5318 3440 0,'-26'13'16,"12"0"-16,14 0 0,-13 0 16,-13 27-16,13-13 0,-14-1 0,1 40 15,12-39-15,1-1 16,0 1-16,-14 12 15,27-25-15,0-1 0,-13 0 16,13 0 0,-13-13-16,13-26 15,0-1-15,0 14 16,0 0-16,13-14 0,0-39 16,1 40-16,-1-1 15,0 14-15,0-13 0,1 12 0,-1 14 16,13-13-16,1 13 15,-14 13-15,0-13 0,0 0 0,27 27 16,0-14 0,-27 0-16,14-13 0,-14 14 0,13-1 15,-13-13-15,14 13 0,-14 0 16,0-13-16,-13 13 16,14-13-16,-1 14 0</inkml:trace>
  <inkml:trace contextRef="#ctx0" brushRef="#br0" timeOffset="199267.33">2209 2633 0,'106'53'0,"-79"-40"0,12 0 0,14 0 16,0 0-16,0 14 0,13-14 0,133 27 16,-67-27-1,-53 0-15,1-13 0,-14 14 16,13-14-16,-26 0 0,26 0 16,-12 0-16,-1-14 0,79 14 15,-12-26-15,-67 13 16,0-1-16,-13-12 0,13-1 15,-13 14-15,-13-13 0,12-1 0,-12 1 16,13-1-16,26-39 0,-52 27 16,13-1-16,-1-26 15,-12 0-15,-14 26 0,-13 0 16,0 0-16,0 1 0,0-1 0,-27-66 16,1 53-16,0 0 15,-1 1-15,-13-1 0,-65-40 16,38 27-16,15 26 0,-28 1 15,-158-94 1,145 107-16,1-14 0,12 14 0,-105-27 16,0 13-16,79 27 15,14 0-15,-14 13 0,13 0 0,-13 0 16,-13 13-16,-132 26 16,145-12-16,-13 13 0,13-1 15,-13 14-15,-93 66 0,93-53 16,-66 93-16,106-79 0,-14-14 15,27 13-15,0 0 0,13-12 16,13-1-16,1-13 0,25 0 16,1 13-16,13-27 0,13 14 0,14 0 0,-1 0 15,14-13-15,13 0 0,0-1 16,26-12-16,-13-14 16</inkml:trace>
  <inkml:trace contextRef="#ctx0" brushRef="#br0" timeOffset="200333.05">4987 1521 0,'-39'-53'16,"25"40"-16,1 0 0,-26 0 0,12 0 16,-237-67-1,-14 27 1,-40 14-1,93 39 1,146 0 0,0 13-16,12 0 0,-12 13 0,0-12 15,13 12-15,-27 14 0,14 13 0,-1 0 16,14 0-16,-13 0 0,13 13 16,13 13-16,0-13 0,13-13 15,-39 66-15,39-13 0,27-40 16,13 0-16,0-13 15,13 13-15,0 0 0,0 1 0,27-1 16,0 13-16,13-13 0,0 14 0,13-14 16,0 0-16,13 0 0,14-13 15,-1 0-15,14-13 0,0 13 0,0-14 16,145 41-16,-132-54 0,14 1 16,12-1-16,1-13 0,-14 0 15,0 1-15,1-14 0,-14 0 16,-14 0-16,28 0 0,-41-14 0,14 14 0,-13-13 15,26 0-15,-27 0 16,28-14-16,-28 14 0,-12 0 0,25-14 0,67-12 16,-106 12-16,14-12 15,-14 12-15,0 1 0,14-14 16,-28 0-16,68-39 0,-68 39 16,1 1-16,-13-1 0,0-13 0,-1 13 15,-12-13-15,-1 14 0,-12-1 16,-1 0-16,-13-13 0,0 14 0,0-1 15,-13-13-15,-1 0 0,-12 0 16,-1 0-16,-12 0 0,-54-66 16,40 66-16,-13-13 0,-79-40 15,65 67-15,14-1 16,-27 0-16,27 14 0,-13-14 0,13 14 16,-80-14-16,67 14 0,-80-14 15,80 27-15,-1-1 16,-92-12-16,93 26 0,13-13 15,-14 0-15,1-1 0,13 14 0</inkml:trace>
  <inkml:trace contextRef="#ctx0" brushRef="#br0" timeOffset="201333.08">1918 2024 0,'-13'-106'0,"13"80"16,13-1-16,0-39 0,14-13 15,-1 39-15,1-13 0,13 14 16,-1-14-16,1 0 0,0 0 15,12 13-15,1-26 0,27 13 16,-14 0-16,13 0 0,1 0 0,-1 14 16,14-1-16,-14-13 0,14 13 15,-1 1-15,14 12 0,0-13 0,-13 14 16,12 0-16,1-1 0,13 1 0,0-1 16,-13 14-16,0 0 15,13-1-15,-13 14 0,-14 0 0,14 0 0,93 14 16,-107-1-16,27 0 15,-39 14-15,-1-14 0,80 53 16,-93-40-16,-13 14 0,0 13 16,0-13-16,39 52 0,-52-39 15,-13 0-15,-1 0 0,0 0 16,14 0-16,-27 0 0,14-13 0,-14-1 16,0 1-16,1 0 0,-1-1 0,0-12 15,0 12-15,0-12 0,-13-14 16,14 14-16,-14-14 0,13 13 15,-13-13-15,0 1 0,0-1 0,13 0 16,-13 0-16,0 1 16,0-1-16,13-13 15,-13 13-15,0 0 16,0 1 15,-13-1-15,0-13 15</inkml:trace>
  <inkml:trace contextRef="#ctx0" brushRef="#br0" timeOffset="201724.86">5411 1812 0,'13'93'15,"13"-53"1,-26-27-16,14 0 0,-1 0 16,0-13-16,14 14 0,-14-14 0,0 0 15,0 13-15,14-26 0,-14 13 16,13 0-16,41-27 0,-28 14 16,-12 0-16,12-14 0,-12 14 15,-1-13-15,14-14 0,-27 13 16,0 14-16,14-27 15,-14 27-15,-13 0 0,13 0 16,1-14-16,-14 14 16</inkml:trace>
</inkml:ink>
</file>

<file path=ppt/ink/ink22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49:46.852"/>
    </inkml:context>
    <inkml:brush xml:id="br0">
      <inkml:brushProperty name="width" value="0.05292" units="cm"/>
      <inkml:brushProperty name="height" value="0.05292" units="cm"/>
      <inkml:brushProperty name="color" value="#0070C0"/>
    </inkml:brush>
  </inkml:definitions>
  <inkml:trace contextRef="#ctx0" brushRef="#br0">18137 3506 0,'106'-14'0,"-66"14"0,-1-13 16,14 13-16,-13-13 0,13 13 0,53 0 16,-67-13-16,14 13 15,-13 0-15,-14 0 0,1 0 0,-1 0 16,1 0-16,-14 0 0,0 0 0,14 0 16,-14 0-1</inkml:trace>
  <inkml:trace contextRef="#ctx0" brushRef="#br0" timeOffset="415.11">18362 3201 0,'-66'14'0,"39"-14"15,120-14-15,-212 28 0,93-1 0,-14 0 16,0 14-16,1-14 0,-1 0 15,0 14-15,0-1 0,1 0 0,12-12 0,-39 25 16,40-12-16,12-14 0,-25 27 16,39-27-1,0 0-15,-13 0 0,26-13 0,-13 14 16,13-1-16,0 0 0,0-13 16,1 13-16,12 1 0,14-1 15,-14 0-15,1-13 0,-1 13 0,1-13 16,12 13-16,-12-13 0,-14 14 15,14-14-15,-14 0 0,40 13 16,-40 0-16,13-13 0,1 0 16</inkml:trace>
  <inkml:trace contextRef="#ctx0" brushRef="#br0" timeOffset="896.05">20029 3387 0,'-13'39'31,"13"-25"-31,-14 25 0,14-12 16,-13 12-16,13-25 16,0-1-16,-13 13 0,13-12 0,0 12 0,0-13 15,-13 0-15,13 1 0,0-1 16,0 0-16,-13 0 15,13 1-15</inkml:trace>
  <inkml:trace contextRef="#ctx0" brushRef="#br0" timeOffset="1081.89">19976 3268 0,'-13'-14'0</inkml:trace>
  <inkml:trace contextRef="#ctx0" brushRef="#br0" timeOffset="1466">20148 3466 0,'0'13'16,"0"0"-16,0 1 0,0-54 0,0 93 0,-13-40 15,13 0-15,0 1 16,0-1 0,-13 0-16,39-26 31,-13 13-15,0-13-16,14 13 15,-1-14 1,14 28-1,-27-1 1,1-13-16,-14 13 0,13-13 0,-13 13 0,13-13 16,-13 14-16,13-1 15,0 0-15,-13 0 16,14-13-16,-1 13 0</inkml:trace>
  <inkml:trace contextRef="#ctx0" brushRef="#br0" timeOffset="2429.27">20743 3122 0,'-13'-13'0,"0"26"15,13 0 1,-13 14-16,-1 39 0,1-26 16,13 13-16,-13 13 0,0 0 15,13 0-15,-13 0 0,-14 133 16,27-133-16,0 40 16,0-54-16,0-12 0,0-13 15,13 12-15,-13-25 0,14 12 0,-14-13 16,13 0-16,-13 1 0,13-1 0,-13 0 31,0-39-15,0 12-16,-13-12 0,0 0 15,-1-1-15,-12 1 0,13-1 0,-14 1 16,1-1-16,-1 14 0,1-13 16,-14-1-16,27 14 0,0 13 0,-1-13 15,1 13-15,0-14 0,0 14 16,-1-13-16,28 0 15,12 0 1,80-27 0,-27 0-16,-39 27 15,-13 0-15,12-14 0,1 14 16,-14-13-16,40-14 0,-39 27 16,-1-14-16,-12 14 0,-1 0 15,-13 0-15,13-1 0,0 1 16,-26 26 15,0 14-15,13-14-16,-13 0 0,13 1 15,-14-1-15,14 0 0,0 0 16,0 14-16,0-14 0,14 0 16,-1 0-16,0-13 15,0 0-15,1 0 16,-1-13-16,0 13 0,0-13 0,14 13 15,-14-13-15,0 13 0,0-14 0,1 14 16,-1 0 0,0 0-16,0 0 0,1 0 0,-1 14 15,-13-1-15,13 13 0,0 14 16,-13 0-16,0-1 0,0 1 16,0 13-16,-13-13 0,-13 66 15,-1-14-15,-13-12 16,14-41-16,-1-12 0,1-1 0,0 1 15,12-14-15,-25 13 16,25-12-16,1-14 0,0-14 16,0 14-16,13-13 15,0-27-15,13 14 0,0-1 16,0-12-16,14 12 0,-14-12 0,14 12 16,-1-12-16,0 12 0,1 1 0,-1 12 15,1-12-15,-1 13 0,1-1 0,-14 1 16,0 0-16,0 13 15,1-13-15,-1 13 16,-13-13-16,-13 39 16</inkml:trace>
  <inkml:trace contextRef="#ctx0" brushRef="#br0" timeOffset="3003.69">19619 4458 0,'79'0'0,"993"40"47,-980-40-47,1 0 0,0 0 0,12-13 16,-25 13-16,12-14 0,-12 1 15,-1 0-15,1 0 0,-14 0 0,0-14 16,0 1-16,-13-1 0,0-13 0,0 1 16,-14-1-16,14-13 0,-13 0 15,0 0-15,-1 0 0,1 1 0,-13-1 16,-1-14-16,0 1 0,1 0 0,-1 0 15,-12 0-15,-14 0 0,-14-80 16,1 67-16,0 13 16,-27-27-16,1 14 0,-14-14 0,-14 14 0,-12-1 15,0 14-15,-1 0 0,-12 0 16,-14 13-16,0 0 0,0 13 0,0 14 16,1-14-16,-1 27 0,-13-13 0,26 26 15,-13-14-15,0 28 0,-26-14 16,13 26-16,-13 0 15,13 14-15,-14 0 0,14 26 0,-13 0 0,13 0 16,-106 106-16,119-92 0,0 12 16,14-12-16,-40 92 15,92-93-15,13-13 0,1-13 0,26 13 16,0-13-16,13 0 0,0 0 16,27 0-16,-13 0 0,25-14 0,1 14 15,0-26-15,0 13 0,13-14 16,14-13-16,-14 0 0,0-13 0</inkml:trace>
  <inkml:trace contextRef="#ctx0" brushRef="#br0" timeOffset="5751.41">9102 2884 0,'26'0'16,"80"0"0,-53 13-16,13-13 0,13 0 15,1 0-15,12 0 0,1 0 0,0 0 16,-1 0-16,1 13 0,-1-13 15,173 0 1,-106 0-16,-93 14 0,-13-14 0,0 0 16,-14 0-16,1 0 0,-13 0 15,-1 0-15,14 0 16,-14 0-16,-13 0 16,-39 0 15,13-14-31</inkml:trace>
  <inkml:trace contextRef="#ctx0" brushRef="#br0" timeOffset="6092.48">9353 3082 0,'106'0'15,"-40"0"-15,13 0 0,1 0 0,12 0 0,1-13 16,0 13-16,12 0 0,28-13 16,-27 13-16,-1 0 0,-12-13 0,0 13 15,12 0-15,-25 0 0,-1-14 16,-13 14-16,40 0 16,-27 0-16,-52 0 0,-14 0 0,0 0 15,14 0-15,-1 0 16,-12 0-16,12 0 15,-26 14 1,13-14-16,-13-14 63</inkml:trace>
  <inkml:trace contextRef="#ctx0" brushRef="#br0" timeOffset="6856.25">9353 2209 0,'26'13'0,"1"-13"16,-1 0-16,1 0 0,79-13 15,-27 13-15,0 0 0,1-13 0,12 13 16,-12 0-16,12 0 0,1-13 15,185 13 1,-186 0-16,1-13 0,-14 13 0,1 0 0,-27 0 16,13 0-16,-13 0 15,0 0-15,-14 0 0,54 0 16,-80 0-16,0 0 0</inkml:trace>
  <inkml:trace contextRef="#ctx0" brushRef="#br0" timeOffset="7165.03">9618 2302 0,'-14'0'0,"133"-13"16,-52 13-16,78-14 15,-66 14-15,14-13 16,0 13-16,-1 0 0,1-13 0,0 13 16,171-13-16,-105 13 15,-80 0-15,93 0 16,-119-14 0,-26 28-16,12-14 0,-12-14 0,-14 28 0,13-14 15,-12 0-15,-1 0 0,0 0 16,0 0-16,1 0 0,-1 0 0,0 13 15,0-13-15,-13 13 16,13-13 0</inkml:trace>
  <inkml:trace contextRef="#ctx0" brushRef="#br0" timeOffset="7612.8">11721 2328 0,'0'27'16,"0"-14"-16,-13 0 0,13 53 15,-13-39-15,13-1 0,0 27 16,0-26-16,0-1 0,0-13 15,0 14-15,0-14 0,0 0 16,0 1-16,0 12 0,0-13 16,13-13-1,13-26 1,-26 13-16,14-14 16,-1 1-16,0-27 0,-13 26 15,0 14-15,0 0 0,13-14 16,-13 14-16,0 0 0,0 53 31,0-27-31,-13 13 16,13 1-16,0-1 0,0 1 0,0-14 15,0 13-15,0 1 0,0-14 16,0 13-16,0-12 0,0 39 16,-13-40-16,13 0 0,-13 0 15</inkml:trace>
  <inkml:trace contextRef="#ctx0" brushRef="#br0" timeOffset="8539.09">8771 2368 0,'-40'119'0,"40"-79"16,-13-1-16,13 1 0,0 0 0,0 26 15,0-26-15,0-14 16,0-13-16,0 14 16,13-14-16,-13 0 0,0 1 0,27-28 31,-14-39-16,-13 27-15,0-27 0,0 13 16,0 1-16,0-1 0,0 13 0,13-25 16,-13 38-16,0-12 15,0 13-15,13 26 16,-13 40 0,0-27-16,14 54 15,-14-1-15,0-39 16,13-14-16,-13 1 0,13 26 15,-13-27-15,13-13 0,-13 0 16,0 1-16,14-1 0</inkml:trace>
  <inkml:trace contextRef="#ctx0" brushRef="#br0" timeOffset="12185.39">4868 8215 0,'14'14'16,"-1"-14"-16,0 13 0,13-13 0,-12 13 16,25 0-16,1-13 0,0 13 0,13 1 15,0-1-15,-14-13 0,27 13 16,1 0-16,-28 1 0,14-1 0,53 0 16,-40 0-16,-13-13 0,13 0 15,-13 0-15,0 0 0,0 0 16,0 0-16,53 0 0,-53-13 15,0 13-15,-1-13 0,-12 13 0,0-13 16,0-1-16,-1 14 0,-12-13 16,-1 0-16,1 0 0,26-14 15,-40 14-15,13 0 0,-13 0 16,1-1-16,-1 1 0,0-13 0,0 12 16,-13 1-16,14-13 0,-1 12 15,-13 1-15,0-13 0,0 13 16,0-14-16,0 14 0,0-14 0,-13-12 15,13 12-15,-14 1 16,14 13-16,-13-14 0,0 14 0,0-14 16,-1 14-16,-91-93 15,78 80 1,-13-1-16,1 14 0,12 0 16,-12 0-16,-28-14 0,28 27 15,-1-13-15,0 13 0,1-13 0,-54 13 16,53-13-1,14 13-15,-14 0 0,14 0 16,-14 0-16,14 0 0,-27 0 0,0 0 0,13 0 16,-52 0-16,39 0 15,13 0-15,-106 13 16,94-13-16,12 13 0,0-13 0,0 0 16,1 0-16,12 13 0,-12-13 15,-1 0-15,0 0 0,14 14 16,-14-14-16,0 13 0,14-13 0,-1 0 15,1 13-15,0-13 0,-1 13 0,1-13 16,-1 0-16,1 13 0,-1 1 16,14-14-16,0 13 0,-14-13 0,14 13 15,-13 0-15,12-13 0,1 14 0,0-1 16,0 0-16,0 0 0,-1-13 16,-12 27-16,13-14 0,13 13 15,-14-12-15,1-1 0,13 0 16,-13 0-16,13 14 0,-13-14 0,13 0 15,-14 27-15,14-27 0,0 14 16,0-14-16,0 40 16,14-40-16,-14 13 0,13 1 15,0-14-15,0 14 0,1-1 0,12-13 16,-13 14-16,14-1 0,39 1 16,-40-14-16,14 0 0,-13 0 15,-1 1-15,27-1 0,-27-13 16,1 13-16,12-13 0,-12 0 0,39 0 15,-26-13-15,-1 13 0,1-13 16,0 13-16,0-14 16,-1 1-16,1 0 0,0 0 0,-1-1 0,-12 1 15</inkml:trace>
  <inkml:trace contextRef="#ctx0" brushRef="#br0" timeOffset="14446.69">9128 8361 0,'132'66'16,"-105"-53"-16,13 0 0,-1 14 0,1-14 0,0 0 15,13 1-15,-1-1 16,15 0-16,-14 0 0,13 0 0,0 1 0,0-1 16,-13 0-16,13 0 0,0 1 0,0-1 15,0-13-15,14 13 0,-14 0 16,13-13-16,-12 0 0,12 14 0,-13-14 16,0 13-16,-13-13 0,13 0 0,40 13 15,-40-13-15,40 13 16,-53-13-16,0 0 15,-13 13-15,-1-13 0,1 0 0,-14 0 0,14 0 16,-13 0-16,12 0 0,1 0 16,-14 0-16,14 0 0,-13 0 15,-1 0-15,14-13 0,-14 13 0,1 0 16,-1 0-16,1 0 0,-1 0 16,0 0-16,1-13 0,-14 13 15,14 0-15,-1-13 0,0 13 0,1 0 0,-1-13 16,1 13-16,-1-14 0,1 14 15,-1-13-15,1 13 0,-1-13 16,1 13-16,-1-13 0,1-1 0,-14 14 16,13-13-16,1 0 0,-1 0 15,1 13-15,-14-14 0,13 1 0,1 0 16,-14 0-16,13 0 0,-12-1 0,12 1 16,-13 0-16,1 0 0,-1-1 15,0-25-15,0 26 0,-13-14 16,0 14-16,0-14 0,13 1 0,-13 13 15,0-14-15,0 14 0,0-13 16,0-41-16,0 41 16,-13 13-16,13-14 0,-13 1 0,13-1 15,-26 1-15,26-1 0,-14 14 0,-12-13 16,13-1-16,-14 1 16,14-1-16,-14 1 0,14-1 0,-13 1 15,13 0-15,-14-1 0,14 14 0,0-14 16,-1 14-16,-12 0 0,-14-27 15,14 14-15,-1 13 0,1-1 16,-1 1-16,-12-13 0,12 12 16,-12 1-16,-1 0 0,0 0 0,-13-1 15,14 14-15,-14-13 0,0 0 0,0 0 16,0 0-16,0 13 0,0-14 16,0 14-16,14-13 0,-14 13 15,0-13-15,0 13 0,13 0 0,-13-13 0,13 13 16,-79-14-1,80 14-15,-1 0 0,14 0 16,-14 0-16,0 0 0,1 0 0,-1 14 16,0-14-16,-79 0 15,79 0-15,-12 13 0,25-13 16,-13 0-16,1 0 0,-14 13 0,13-13 16,0 0-16,-13 0 0,27 13 0,-14-13 15,-26 0-15,40 14 0,-27-14 16,13 0-16,14 0 15,-1 0-15,-13 13 0,14-13 0,0 0 16,-14 0-16,13 13 0,1-13 0,0 0 16,-14 13-16,13-13 0,1 0 15,-14 13-15,14-13 0,-1 0 0,1 14 16,-40-14-16,39 13 0,1-13 16,-1 13-16,1-13 0,-1 13 15,-25 1-15,25-1 0,1 0 16,12-13-16,-39 27 0,14-1 15,26-13-15,-14 0 16,-13 14-16,14-1 0,-1 1 16,1-1-16,0 1 0,12-1 0,-12 1 15,-1-1-15,1 14 0,13-14 16,-14 14-16,14-14 0,-13 14 0,12 0 16,-12 26-16,13-26 15,13 26-15,0-40 16,0 14-16,13 0 0,13-14 0,1 14 0,-1-1 15,14-12-15,13-1 0,119 40 16,145 1 15,-237-54-31,105 0 0,-79-13 16,-14 0-16</inkml:trace>
  <inkml:trace contextRef="#ctx0" brushRef="#br0" timeOffset="16004.14">15386 7633 0,'-93'-13'0,"40"0"16,27 13-16,-41 0 15,28 13-15,-14-13 0,13 0 16,0 13-16,-13-13 0,14 13 0,-14 1 15,13-1-15,1 0 0,-41 27 16,40-27-16,1 0 0,-1 14 0,14-1 16,-1 1-16,-13-1 0,14-13 15,0 14-15,-1-1 0,1 1 16,-14 26-16,27-27 0,0 1 16,-1-1-16,14 0 0,0 1 0,0-1 15,0 1-15,0-1 0,0 14 16,40 66-16,-27-80 15,14 1-15,-1 12 0,14-12 0,39 39 16,-39-40 0,13 1-16,0-1 0,53 27 15,-54-26-15,1-14 0,13 13 0,-13-12 0,14-1 16,-1 0-16,0 14 0,132 12 16,-132-25-1,67 12-15,-54-13 0,-13-13 16,0 13-16,67 14 15,-80-27-15,132 40 16,-119-40-16,-13 13 0,0-13 0,13 13 16,-13-13-16,0 0 0,-14 13 15,14-13-15,146 0 16,-146 0-16,0 0 0,-14 0 16,94 0-1,-94 0-15,-12 0 0,12 0 0,-12 0 16,39-13-16,-13 13 15,-27-13-15,14 13 0,0 0 0,-14-13 16,1 13-16,79-40 16,-80 40-1,40-40-15,-39 27 0,-1 0 16,1-14-16,-14 14 0,13 0 0,-13 0 16,14-1-16,-14-12 0,27-14 15,-27 27-15,-13-13 16,13 12-16,-13 1 0,14 0 15,-14-14-15,0 14 0,0-13 0,0-27 16,0 40-16,0-27 0,-14 13 16,14-12-16,-13 12 0,0 1 15,13-1-15,-13 1 0,-1-1 0,14 14 16,-26-40-16,-1 27 0,14-1 16,0 1-16,0 13 0,-14-14 15,14 1-15,-13-1 0,-1 1 0,1-1 16,-1 1-16,1 0 0,-1-1 15,1 1-15,-14-1 0,0 1 0,14-1 16,-14 14-16,1-13 0,-1-1 0,0 14 16,1-14-16,-67-12 0,53 25 15,13 1-15,-13-13 0,0 13 16,0-1-16,1 1 0,-1 0 0,-14 0 16,28-1-16,-80-12 15,79 13-15,-13 13 0,0-14 16,0 1-16,-13 13 0,13 0 0,0 0 0,-13-13 15,0 13-15,0 0 0,13 0 16,-13 0-16,13 0 0,0 13 16,-13-13-16,0 0 0,0 13 0,13-13 15,-14 14-15,1-1 0,-40 0 16,54 0-16,12 1 0,-13-1 16,13 0-16,1 0 0,-1 1 0,-26 25 15,39-26-15,-12 14 16,25-14-16</inkml:trace>
  <inkml:trace contextRef="#ctx0" brushRef="#br0" timeOffset="41454.9">4921 3757 0,'13'13'16,"1"-13"-16,39 14 15,-27-1-15,67 0 16,158 13 0,-198-26-16,0 0 0,0 0 15,0 0-15,66-13 16,13 0-16,-79 0 0,-13 0 0,13-1 15,-14-12-15,14 13 0,-26-1 16,78-39-16,-78 27 16,-1 0-16,1 12 0,-1-12 0,-12-1 15,25-52 1,-26 53-16,1-14 0,-1 13 0,0-12 16,0 12-16,-13-12 0,14-41 15,-14 67-15,0-13 16,-14-14-16,-39-53 15,27 67-15,-14-1 0,-105-39 16,92 40-16,-13-1 16,13 14-16,-13-13 0,0 12 15,-226-12 1,213 26-16,0 13 0,-1 0 0,-65 27 16,65-13-1,14-1-15,-26 14 0,12 13 0,14-14 0,13 1 16,0 13-16,0-13 0,1 12 0,-54 107 31,66-66-31,27-54 0,13 1 16,0 0-16,0 0 0,13-1 0,0 1 15,0 0-15,1-14 0,-1 14 16,0-1-16,14-12 0</inkml:trace>
  <inkml:trace contextRef="#ctx0" brushRef="#br0" timeOffset="52992.76">6879 5477 0,'13'40'0,"-13"-27"15,0 26-15,0-25 16,14-1-16,-14 0 15,0 14 1,0-54 31,13 1-31,0 12-16,0-12 15,1 26-15,-14-13 0,13 13 16,0 0-16,13 0 15,1 0 1,-14 13-16,0-13 0,1 13 16,12-13-1,-26 13-15,13-13 0,1 0 16,25 0 0,-26 0-16,1 0 15,-1 0-15,0 0 0</inkml:trace>
  <inkml:trace contextRef="#ctx0" brushRef="#br0" timeOffset="53605.3">7355 5464 0,'-13'-53'16,"13"40"0,-13 26 15,0 13-15,13-13-16,0 1 0,13-1 15,-13 0-15,13 0 16,0-13-16,1 0 15,12 0 1,1-13 0,-27 0-16,13 13 0,-13-13 0,13 13 15,-13-14-15,13 1 16,0 0 0,1 26 15,-1-13-16,0 13 1,0-13 15,1-13-31,-1 13 16,0 0 0,0 0-1,-13-13-15,14 13 16,-14-13-1,13 0-15,-13-1 16,0 1 0,13 0-1,0 0 1,0 13 0,1 0-1</inkml:trace>
  <inkml:trace contextRef="#ctx0" brushRef="#br0" timeOffset="53847.43">7792 5265 0,'-13'0'15,"0"0"1,-1 13 0,28 1-1,-14-1-15,0 0 0,13 0 16,-13 1-16,13-1 15,-13 0 1,0 0-16,0 1 16,-13 12-1,13-13-15,-40 27 32,0 0-32</inkml:trace>
  <inkml:trace contextRef="#ctx0" brushRef="#br0" timeOffset="54456.3">7302 5821 0,'67'-27'15,"-41"27"-15,1-13 0,25-13 16,-12 12-16,0-12 0,-14 13 15,14 0-15,0-14 0,132-66 32,-133 80-32,-12-13 0,-1 13 0,14-14 0,26-39 15,-53 40 1,1 12-16,-1-12 0,-13 13 16,13-54-16,-13 54 15,0-13-15,-13-67 16,0 53-1,-1 14-15,1-14 0,-13 14 0,-1-1 16,1 14-16,-14-13 0,0 12 0,1 1 16,-1 0-16,0 13 0,-118-13 15,105 13-15,-27 0 0,14 13 16,0 0-16,-66 14 16,66-14-16,-212 132 15,172-65 1,66-40-16,-13 12 0,14-12 15,-1 13-15,13-13 16,-12-1-16,-27 120 16,66-119-16,0-14 0,13 1 0,0 12 15,0-12-15,1-1 0,12 1 16,14-1-16,-14-12 0,27 12 0,-13-13 16,79 0-1,53 1 1,-106-28-16,-13 14 0,-13 0 0,39-13 15,-53 13-15,1 0 0,-1-13 16,-13 13-16,40-26 16,-39 12-16,-1 1 15</inkml:trace>
  <inkml:trace contextRef="#ctx0" brushRef="#br0" timeOffset="60679.8">5953 4405 0,'13'0'0,"1"0"15,-1 0-15,0 0 16,0 0-16,0 0 16,1 0-1,-1 0-15,0-13 0,27 13 16,13 0 0,-27-13-16,-13 13 15,14 0-15,-1 0 0,1-13 0,13 13 0,12-14 16,-25 14-16,-1 0 15,14 0-15,-13-13 0,105 13 16,-106-13 0,14 13-16,-14 0 0,14 0 15,-13 0-15,12 0 0,-12 0 0,12 0 16,1 0-16,-13 0 0,25 0 0,1 0 16,14 0-1,-28 0-15,1 0 0,-14 0 0,14 0 0,0 0 16,-14 0-16,14 0 0,-14 0 0,14 0 15,-14 0-15,14 0 0,-13 0 16,12 0-16,-12 0 0,12 0 0,-12 0 16,26 13-1,-27-13-15,40 0 0,-39 0 16,-1 13-16,1-13 0,13 0 0,-27 0 16,13 0-16,1 0 0,-1 0 0,1 0 15,25 0 1,-25 0-16,66 0 0,-67 0 15,0 0-15,14 0 0,-13 14 16,39-14-16,-40 0 0,1 0 16,12 0-16,-12 0 0,12 0 15,41 0-15,-40 0 16,-14 0-16,14 0 0,-14 0 0,1 0 16,12-14-16,-12 14 0,-1 0 0,14 0 15,-14 0-15,93 0 16,-79 0-1,13 0-15,-26 0 0,-1 0 0,0 0 16,1 0-16,-1 0 16,-12 0-16,12 0 0,0 0 0,54 0 15,-54 0 1,-12 0-16,12 0 0,-13 0 16,14 0-16,-14 0 0,13 0 15,1 0-15,-14-13 0,14 13 16,-14 0-16,13 0 15,1 0 1,-1 0-16,-13 0 16,1 0-1,-1 0-15,0 0 32</inkml:trace>
  <inkml:trace contextRef="#ctx0" brushRef="#br0" timeOffset="61260.5">9644 4207 0,'0'13'15,"13"0"1,1 1-16,-1-1 16,0-13-16,0 13 15,0-13-15,14 13 16,-14 0-16,0-13 15,1 14-15,-1-14 0,0 13 0,0-13 0,14 13 32,-1-13-32,-26 13 0,13-13 15,1 0-15,-1 0 16,-13 14-16,13-14 16,0 0-16,-13 13 15,0 0 1,0 0-1,-13 1-15,-13 25 32,12-26-32,1-13 0,13 14 0,-13-1 15,0 0-15,-1-13 0,-12 27 16,13-14-16,0-13 0,13 13 16,-27 0-1,14 1-15,0-14 16</inkml:trace>
  <inkml:trace contextRef="#ctx0" brushRef="#br0" timeOffset="62958.5">6006 5040 0,'13'0'16,"40"0"-1,-40 0 1,1 0-16,-1 0 0,0 0 16,80 0-16,-14-13 15,-52 13 1,12 0-16,-12 0 0,-1 0 15,93-13-15,-92 13 16,39-13-16,26 13 16,-52-14-16,13 14 15,26 0-15,-26 0 0,-26 0 0,52-13 16,-39 13-16,0 0 16,39 0-16,-26 0 0,-27 0 15,14-13-15,-14 13 0,54 0 16,-41 0-16,67-13 15,-66 13 1,-14-14-16,14 14 0,-13 0 0,12 0 0,-12 0 16,39-13-16,-40 13 15,41 0-15,-41 0 16,0 0-16,1 0 0,-1 0 0,1-13 16,26 13-1,-40 0-15,27 0 0,-14 0 0,67 0 16,-67 0-16,14 0 0,-14 0 15,80-13 1,-66 13-16,-1 0 0,28 0 16,-41 0-16,1 0 0,12 0 0,-12 0 15,52 0 1,-52 0-16,-1 0 0,-13 0 16,40 0-16,-26 0 0,12 0 15,41 0 1,-54 0-16,1 0 0,-1 0 0,1 0 15,-1 0-15,0 0 0,1 0 16,26 0 0,-27 0-16,-13 0 0,27 0 15,-27 0-15,14 0 0,-14-13 0,0 13 16,40 0 0,-40 0-16,1 0 0,-1 0 0,13 0 15,-12 0 1,12 0-16,-13 0 15,1 0 1,-1 0 0,0 0-1,0 0-15,0 0 47,1 0-16,-1 0 16,-13-14-31</inkml:trace>
  <inkml:trace contextRef="#ctx0" brushRef="#br0" timeOffset="63388.18">9644 4736 0,'13'13'15,"1"0"-15,-1-13 16,0 14 0,0-14-16,0 13 0,14 0 15,-1-13 1,-12 13-16,-1-13 0,0 14 15,0-14-15,0 13 0,1-13 16,-1 26 0,-13-12-16,-27 25 31,14-26-31,0 1 0,0-1 16,-14 0-16,1 0 0,-1 14 0,-65 26 15,65-40 1,-12 13-16,12-12 0,-12-1 0,-1 0 15</inkml:trace>
  <inkml:trace contextRef="#ctx0" brushRef="#br0" timeOffset="64824.09">5861 5715 0,'13'-13'0,"0"13"31,0 0-31,0 13 0,1-13 16,-1 0-16,40 13 16,0-13-1,-14 0-15,-12 13 0,26-13 0,39 0 16,-39 0-16,106 0 16,-40 0-1,-66 0-15,13-13 0,14 13 0,144-13 16,-144 13-1,-1 0-15,67-13 16,-80 13-16,0 0 0,13 0 0,120-13 16,-146 13-16,13 0 15,132 0 1,-158-14-16,0 14 0,66 0 16,-67 0-1,1 0-15,0 0 0,-14 0 0,40 0 16,-26 0-16,52 0 15,-52 0-15,-13 0 16,-1 0-16,1 0 0,-1 0 0,27 0 16,-27 0-16,80 0 15,-79-13 1,12 13-16,-12 0 0,13 0 16,-14 0-1,120 0-15,-120 0 0,14 0 0,-14 0 16,40 0-16,-39 0 15,-1 0-15,-13 0 0,14 0 0,-1 0 16,27 0 0,0 0-1,13 0 1,-52 0-16,-1 0 0,0 0 0,27 0 16,-27 0-1,13 0-15,-12 0 16,-1 0-16,0-13 15,27 13 1,-14 0-16,-13 0 31,1 0-31,-1-13 0,0 13 16,0 0 15,-39-14 32,13 1-32</inkml:trace>
  <inkml:trace contextRef="#ctx0" brushRef="#br0" timeOffset="65364.55">9750 5464 0,'0'13'0,"13"0"16,0 0-16,1-13 16,-1 14-16,0-1 15,27 0 1,-14 0-16,-13 0 15,1-13-15,-1 14 0,0-1 16,0 0-16,-13 0 16,0 1-16,0-1 0,-13 27 15,0-27-15,-14 13 0,1 1 16,-1-1-16,-25 14 16,25-27-16,1 14 0,-14-14 0,-26 40 15,39-40-15</inkml:trace>
  <inkml:trace contextRef="#ctx0" brushRef="#br0" timeOffset="71302.88">6310 6429 0,'14'0'0,"-1"-13"15,0 13 16,0 0-31,-13-13 16,13 13 0,1 0-1,-14-13-15,13 13 16,0-14 15,-13 1 16,0 0-31,-13 13-1,13-13 1,-13 13-16,-1-13 16,14-1-1,-13 1 1,0 13-1,13-13-15,-13 13 16,0 0 0,13-13-1,-14 13-15,1 0 32,0 0-1,39 13 78,1 0-78,-1 0-31,14-13 16,-14 0-16,1 0 0,-1 14 16,1-14-16,39 0 15,-26 0-15,13 0 0,-14 0 0,14 0 16,172 0 0,-172 0-16,0 0 0,13 0 15,93 13 1,-53-13-16,-54 0 0,-12 0 15,13 0-15,0 13 0,106-13 16,-120 0-16,94 0 16,-94 0-16,-12 0 15,13 0-15,-14 0 0,93 13 32,-92-13-32,-14 0 0,13 0 0,1 0 15,12 0-15,-12 0 0,-14 0 16,53 0-1,-39 0-15,-1 0 0,1 0 0,39 0 32,-27 0-32,-12 0 0,-1 0 0,-12 0 15,12 0-15,0 0 0,54 0 32,-67 13-32,0-13 0,14 0 0,-14 0 0,27 0 15,-27 0-15,0 0 16,14 0-16,-1 0 0,27 0 15,-40 0-15,27 0 0,13 0 16,-27 0-16,1 0 0,-14 0 16,13 0-16,27 0 15,0 0 1,-26 14 0,-1-14-16,-13 0 0,1 0 15,-1 0 1,0 0-1,0-14 1,1 14 0</inkml:trace>
  <inkml:trace contextRef="#ctx0" brushRef="#br0" timeOffset="71528.85">9366 6284 0,'40'26'15,"-27"-26"1,0 27-16,1-14 16,-1 13-1,-13-12-15,0-1 0,0 0 16,0 0-16,-13 1 0,-1-1 15,-12 0-15,-14 14 0,14-14 16,-14 0-16</inkml:trace>
  <inkml:trace contextRef="#ctx0" brushRef="#br0" timeOffset="72540.25">6363 6945 0,'27'14'31,"-14"-14"-31,13 0 16,41 13-16,-41-13 15,14 0-15,-14 0 0,27 0 0,0 0 16,0 13-16,132-26 16,-106 13-16,1 0 0,-14 0 15,13-13-15,1 13 0,-14 0 0,93-14 16,-80 14 0,0 0-16,80 0 0,-79 0 0,-14 0 15,0 0-15,13 0 0,1 0 0,65 0 16,-79 0-1,133 0-15,-146 0 16,13 0-16,0 0 0,-13 0 0,13 0 16,53 0-16,-53 0 15,93 0-15,-119 0 16,-1 0-16,1 0 0,-14 0 0,1 0 16,79 0-1,-80 0-15,27-13 16,-40 13-16,14 0 0,-1 0 15,-13 0-15,1 0 0,12-13 16,-13 13-16,1 0 0,12 0 16,-13 0-16,0-13 15,1 13-15,-1 0 16,0 0 0,-13-14 30</inkml:trace>
  <inkml:trace contextRef="#ctx0" brushRef="#br0" timeOffset="72853.41">9657 6747 0,'40'13'31,"-27"0"-31,14 1 16,-14-1-16,0 0 15,14-13-15,-14 13 0,0 0 0,-13 1 16,26 25-16,-26-25 16,-13 39-1,-13-27-15,-1 0 0,-12 14 0,-1 0 16,-132 66 0,106-67-16,-53 41 15</inkml:trace>
  <inkml:trace contextRef="#ctx0" brushRef="#br0" timeOffset="76108.8">5120 3823 0,'-53'0'15,"26"0"1,-12 0-16,25 0 0,-12 0 15,13 0-15,-14 0 0,1 0 0,-1-13 16,-26 13-16,27 0 16,-1 0-16,-39 0 15,27 0-15,-14 0 16,26 0 0,-12-13-1,25 13-15,1 0 16,0 0-16,0 0 15,-1 0 1,1 0 0,0 0 62,0 13 0,26 0-62,0 0-1</inkml:trace>
  <inkml:trace contextRef="#ctx0" brushRef="#br0" timeOffset="82891.33">17291 9208 0,'0'39'0,"0"-26"16,26 133 0,-26-106-16,13 39 15,-13-53-15,13 120 32,-13-120-32,14 14 0,-14-13 15,0-14-15,0 0 0,0 0 0,0 0 16,0 1-16,0-1 0</inkml:trace>
  <inkml:trace contextRef="#ctx0" brushRef="#br0" timeOffset="83530.5">17277 9208 0,'-92'158'15,"78"-131"-15,-12 26 16,26-40-16,-13 13 0,13-12 0,-13 12 16,-1-13-16,28-39 46,-14 13-46,13-27 16,0 27-16,-13-1 0,0 1 16,0 0-16,13 13 0,-13-13 15,13 13-15,-13-14 0,27 14 16,-1 14 0,-12-14-16,-1 13 0,40 13 15,-40-26-15,40 27 31,-40-14-31,0-13 0,1 13 0,-1-13 16,0 0-16,0 0 0</inkml:trace>
  <inkml:trace contextRef="#ctx0" brushRef="#br0" timeOffset="97073.49">11060 4352 0,'-14'0'16,"54"0"0,13 0-1,-13 0-15,39 0 16,-39-13 0,13 13-16,13 0 0,0 0 0,0-13 0,172 0 15,-79-14 1,13 14-1,13 0-15,-92 0 0,-1-1 16,1 14-16,0-13 0,-14 13 0,14-13 0,-14 13 16,14-13-16,145-1 15,-185 14-15,105-13 32,-118 13-32,13 0 0,-27 0 0,54 0 31,-67 0-31,0 0 0,0 0 15,1-13 1,-1 13 0,-13-13-1</inkml:trace>
  <inkml:trace contextRef="#ctx0" brushRef="#br0" timeOffset="97360.75">13639 4022 0,'93'39'15,"-53"-25"-15,-1-1 0,-12 0 16,12 14-16,41 12 15,-54-12-15,-13-14 0,1 0 16,-1 0-16,-13 27 16,0-27-16,-13 14 0,-53 39 15,39-40-15,-13 1 16,14-14-16,-14 13 0,-52 14 16</inkml:trace>
  <inkml:trace contextRef="#ctx0" brushRef="#br0" timeOffset="99155.6">10993 4948 0,'27'0'31,"-14"0"-15,0 0-16,1 0 15,38-14 1,-25 14-16,-14 0 0,14 0 0,-1 0 15,40 0-15,-39-13 16,-1 13-16,106-13 16,-79 13-16,-13 0 0,13 0 0,0 0 15,0-13-15,0 13 0,172 0 32,-172-13-32,66 13 0,-66 0 15,13 0-15,0 0 0,106-14 16,-106 14-16,106-13 15,-119 13-15,0 0 16,13-13-16,93 13 16,-106 0-16,52-13 15,-52 13-15,-13 0 0,13 0 16,0 0-16,-13 0 0,79-14 16,-80 14-16,94 0 15,-94 0 1,27 0-16,-26 0 0,-13 0 15,12 0-15,-12 0 0,12 0 0,54 14 16,-53-14-16,26 0 16,-40 0-16,80 0 15,-79 0-15,12 0 16,-12 0-16,12 0 0,41 0 16,-27 0-1,-27 0-15,-13 0 0,14 0 0,-14 0 16,0 0-16,40 0 15,-40 0-15,1 0 0,-1 0 16,13-14 0,1 14-16,-14 0 15,13 0 1,-12-13 0</inkml:trace>
  <inkml:trace contextRef="#ctx0" brushRef="#br0" timeOffset="99478.48">14764 4710 0,'53'13'15,"-40"-13"1,0 13-16,0-13 0,1 13 0,-1-13 0,26 40 31,-39-27-31,0 14 16,-13-14-16,0 0 15,-13 14-15,-1-14 0,1 13 0,-40-13 16,26 14-16,-145 39 31</inkml:trace>
  <inkml:trace contextRef="#ctx0" brushRef="#br0" timeOffset="101231.92">11139 5398 0,'13'0'63,"0"0"-48,-13-14 1,14 14-1,-1 0 1,0 0-16,0 0 16,1 0-1,-1 0 1,13 0-16,1 0 16,12 0-1,-25 0 1,25 0-16,-25 0 0,12 0 15,-13 0-15,14 0 16,12 0-16,-12 0 0,-1 0 16,-12 0-16,12 0 0,0 0 0,67 0 15,-53 0 1,-14 0-16,40 0 0,-26 0 16,-14 0-16,14 0 0,79 0 15,-79 0-15,92 0 16,-105 0-16,26-13 15,-14 13-15,1 0 0,92 0 16,-105 0-16,65-13 16,-26 13-1,-39 0-15,13 0 0,13 0 0,-14 0 16,-12 0-16,118-13 16,-92 13-16,79 0 15,-92 0-15,0 0 16,66-14-16,-67 14 15,-12 0-15,-1 0 0,80 0 16,-80 0-16,80 0 16,-79-13-16,12 13 15,-12 0-15,13 0 0,39 0 16,-53 0-16,1 0 16,-1 0-16,-12 0 0,12 0 0,14-13 15,-14 13-15,-13 0 16,1 0-16,-1 0 15,0 0-15,0 0 0,1 0 0,25 0 16,-25 0-16,-1 0 0,13 0 16,1 0-1,-14 0-15,13 0 0,-12 0 0,38 0 32,-25 0-32,13 13 15,-1-13 1,-25 0-16,-1 0 15,13 0 1,-13 0-16,1 0 0,-1 0 0,0 0 16,0 0-16,14 0 15,-1 0 1,-12 0 0,-1 0-16,0 0 0,0 0 15,0 0-15,1 0 16,-1 0-1,0 0-15,0 0 32,1 0-17,-1 0-15</inkml:trace>
  <inkml:trace contextRef="#ctx0" brushRef="#br0" timeOffset="101612.54">14711 5199 0,'40'13'31,"-27"-13"-31,0 0 16,-13 14-16,13-14 0,0 0 0,1 13 16,-1-13-16,13 13 15,1 0-15,-14 0 16,0 1-16,0-14 0,1 13 0,-1 13 15,0-12-15,-13-1 16,0 13 0,0-12-16,0 12 15,-13-13-15,-14 40 0,14-40 16,0 14-16,0-14 0,-40 27 16,26-27-16,14 0 15</inkml:trace>
  <inkml:trace contextRef="#ctx0" brushRef="#br0" timeOffset="103803.71">11073 6310 0,'13'0'0,"0"0"0,14 0 16,-14 0-16,0 0 15,0 0-15,1 0 0,12 14 16,1-14-16,12 0 0,14 0 0,66 0 15,-66 0-15,27 0 0,-1 0 16,0 0-16,1 0 0,-1 0 16,0-14-16,14 14 0,-14 0 0,27 0 0,-13-13 15,92 13 1,13-13-16,-105 13 0,13 0 16,-13-13-16,-1 13 0,1 0 0,185 0 15,-186 0-15,67 0 16,-80 0-16,-26 0 15,0 0-15,0 0 0,0 0 0,-13 0 16,13 0-16,-27 0 16,0 0-16,1 0 15,-1 0-15,-12 0 0,-1 13 0,13-13 16,-12 0 0,-1 0-1,0 0-15,0-13 16,0 13-16,1-14 31</inkml:trace>
  <inkml:trace contextRef="#ctx0" brushRef="#br0" timeOffset="104116.96">14274 6085 0,'53'0'15,"27"27"1,-67-14-1,13 0-15,-13 1 0,1-14 16,-1 13-16,13 26 16,-26-25-16,0-1 0,0 0 0,-13 14 15,0-14-15,0 13 0,-14-12 16,1 12-16,-67 27 16,54-27-16,-1-12 0,-40 12 15,28 1-15</inkml:trace>
  <inkml:trace contextRef="#ctx0" brushRef="#br0" timeOffset="105167.57">11245 6879 0,'132'0'16,"-105"0"-16,-14 0 0,53 0 16,27 0-16,-54 0 15,80-13-15,-53 13 16,14 0-16,-14 0 0,13-13 0,1 13 16,-1-14-16,14 14 0,12-13 15,-12 13-15,13-13 0,-13 13 0,39-13 0,-26 13 16,0 0-16,-1-13 0,-12 13 15,238 0 1,-226 0-16,1 0 0,0 0 16,0 0-16,0 0 0,-14 0 0,14 0 0,172 13 15,-199-13 1,1 0-16,-14 13 0,53-13 16,-66 0-16,-13 0 0,-1 0 15,27 0-15,-52 13 16,-1-13-16,27 0 15,-27 0-15,0 0 0,0 0 16,1 0 0,-1-13-16,0 13 15,-13-13 17,0 0-1,-13 13-16,0 0 1,13-14-16</inkml:trace>
  <inkml:trace contextRef="#ctx0" brushRef="#br0" timeOffset="105586.83">14817 6575 0,'0'13'0,"13"0"16,0-13-16,0 14 0,1-14 15,-1 13-15,0-13 0,0 13 16,0 0-16,14-13 0,-14 14 0,14-1 16,-1-13-16,-13 13 0,27 13 15,-27-12-15,0-14 0,1 13 16,-1 0-16,0 0 0,-13 1 15,13-1-15,-13 0 0,-13 0 0,13 0 16,-26 14-16,-1-1 0,-12 1 0,-14-1 16,0 1-16,-80 39 15,1 0-15,53-39 0,13-1 16,-80 27-16,67-27 0</inkml:trace>
  <inkml:trace contextRef="#ctx0" brushRef="#br0" timeOffset="123269.67">15901 11271 0,'14'13'0,"-14"1"16,0-1-16,0 0 0,13 14 15,-13-1-15,0-13 0,0 14 0,0 12 16,0-12-16,0-1 0,0 1 0,0-1 16,0 1-16,0-1 0,0 1 15,0-1-15,0-13 0,0 1 0,0 12 16,0-13-16,0 1 0,0-1 15,13-13-15</inkml:trace>
  <inkml:trace contextRef="#ctx0" brushRef="#br0" timeOffset="123469.72">16192 11311 0,'0'13'15,"0"0"-15,14 1 16,-14-1-16,0 13 0,0-12 0,0 12 16,13 53-16,-13-52 15,0-1-15,0 1 0,0-1 16,0-13-16,13 14 0,-13-14 0,0 0 16,0 1-16</inkml:trace>
  <inkml:trace contextRef="#ctx0" brushRef="#br0" timeOffset="123724.07">15981 11748 0,'-13'-14'0,"26"14"16,0-13-16,0 13 0,1-13 0,12 13 15,27-27 1,-40 14-16,14 13 16,-1-13-16,-13 0 0,14-1 0,-14 14 0</inkml:trace>
  <inkml:trace contextRef="#ctx0" brushRef="#br0" timeOffset="124016.82">16444 11549 0,'0'66'0,"0"-53"0,13 1 16,-13-1-16,13 0 0,1 27 15,-1-40-15,0 13 0,0 0 0,14 1 16,-14-1-16,0-13 0,0 0 15,14 0-15,-14 0 0,14 0 16,-14 0-16,0-13 0,0 13 16,-13-14-16,0-25 31,-13 39-31,13-14 0,-13 14 16,0-13-16,-1 0 15,1 13-15,13-13 0,-13 13 0,0 0 16,-1 0-1</inkml:trace>
  <inkml:trace contextRef="#ctx0" brushRef="#br0" timeOffset="124205.71">16960 11509 0,'53'-26'0,"-40"26"16,0 0-16,0 0 15,1 0 1</inkml:trace>
  <inkml:trace contextRef="#ctx0" brushRef="#br0" timeOffset="124385.85">17052 11589 0,'14'13'0,"-1"0"16,13-13-1,-12 0-15,-1 0 0,0 0 16,27-13-16,-14 13 0,-13-13 16,14 13-16,-14 0 0,0-13 0,1 13 15,-1-14-15,0 14 0,0 0 16,0-13-16,1 0 0</inkml:trace>
  <inkml:trace contextRef="#ctx0" brushRef="#br0" timeOffset="127152.9">16722 11655 0,'-14'-13'31,"1"-1"-31,0 1 16,0 0-1,0 0 1,-1 13-16,1-13 16,0 13-16,0 0 15,-1 0-15,1 0 0,0 0 16,0 13-16,-1-13 0,1 0 0,0 13 15,-13-13-15,26 13 16</inkml:trace>
  <inkml:trace contextRef="#ctx0" brushRef="#br0" timeOffset="127708.85">16259 11615 0,'0'13'15,"0"1"-15,0 25 16,0-25-16,0 12 16,0-13-16,0 1 0,13 38 15,-13-38-15,13 12 16</inkml:trace>
  <inkml:trace contextRef="#ctx0" brushRef="#br0" timeOffset="128105.88">16007 11681 0,'0'53'15,"0"-39"-15,0-1 0,0 0 16,0 13-16,0-12 0,0 12 16,0 27-16,0-40 15</inkml:trace>
  <inkml:trace contextRef="#ctx0" brushRef="#br0" timeOffset="128941.98">17013 11470 0,'13'0'15,"0"-14"-15,0 14 16,1 0-16,-1 0 0,0 0 0,0 0 15,1-13-15,-1 13 0,13 0 16,-13 0-16,14 0 0,-1 0 16,-12 0-16,-1 0 0,0 0 15</inkml:trace>
  <inkml:trace contextRef="#ctx0" brushRef="#br0" timeOffset="129123.91">17211 11615 0,'13'13'0,"1"-13"16,-1-13-16,0 13 0,0 0 16,1 0-16,-1 0 0,0-13 15,0 13-15,0 0 16</inkml:trace>
  <inkml:trace contextRef="#ctx0" brushRef="#br0" timeOffset="135811.65">16100 12819 0,'0'-13'16,"-13"39"15,13-12-31,0-1 0,13 0 0,-13 13 16,0-12-16,0-1 0,0 13 0,13 27 15,-13-26-15,0-14 16,0 27-16,0 13 15,13-40-15,-13 0 16,0 0-16,14 0 16,-1-39-1</inkml:trace>
  <inkml:trace contextRef="#ctx0" brushRef="#br0" timeOffset="136000.92">16351 12740 0,'0'-27'0,"0"14"15,0 39 17,13 27-17,-13 40 1,14-40-16,-14 13 16,13-53-16,-13 40 15,0-40-15,0 1 16,13-1-16</inkml:trace>
  <inkml:trace contextRef="#ctx0" brushRef="#br0" timeOffset="136215.6">16140 13110 0,'-14'0'0,"14"-13"16,14 13-16,-1-13 0,0 13 16,27-14-1,-14 1-15,-13 13 0,1-13 0,12 13 16,-13 0-16,14 0 0,-14-13 0,13 13 16</inkml:trace>
  <inkml:trace contextRef="#ctx0" brushRef="#br0" timeOffset="136532.17">16682 12898 0,'-40'27'0,"27"-27"0,-13 26 16,12 1-1,14-14 16,14 0-31,12-26 16,-13 0-16,1 13 0,-1-13 16,0 13-16,0-14 0,0 14 15,1 0 1,-1 0-16,0 0 0,0 14 16,1-1-1,-1-13-15,0 13 0,0 0 16,1-13-1,-1-13-15,40-27 16</inkml:trace>
  <inkml:trace contextRef="#ctx0" brushRef="#br0" timeOffset="137872.54">18058 11655 0,'26'-13'47,"-26"-1"-31,14 1-16,-1 0 15,-13 0-15,13-14 0,-13 14 16,0 0-16,0-14 0,13 14 0,-13-27 16,0 14-16,0 13 15,0-14-15,0 14 0,0-27 16,-13 27-16,13 0 16,0 0-16,0-1 0,0 41 46,0 13-46,13-27 16,-13 0-16,13 0 0,-13 1 16,14-1-16,-1 0 0,0-13 15,0 13-15,1-13 16,12-13-16,-13 13 0,0-13 16,-13 0-16,14-1 0,-1 1 15,-13 0-15,13 0 0,0-1 16,-13 1-16,14 0 0,-1 0 31,-13 39-15,13-26-16,-13 13 0,0 1 0,0-1 15,13-13-15,-13 13 0,0 0 16,14 1-16,-1-1 16,13 0-16,-13 0 0,1 0 15,12 1 1</inkml:trace>
  <inkml:trace contextRef="#ctx0" brushRef="#br0" timeOffset="138768.67">18706 11443 0,'26'53'16,"-26"-40"-1,0 1-15,14-1 0,-14 0 16,13-13-16,0 0 15</inkml:trace>
  <inkml:trace contextRef="#ctx0" brushRef="#br0" timeOffset="139038.29">19169 11179 0,'13'-14'15,"14"1"1,-14 13-16,0 0 0,0-13 15,1 13-15,-1 0 16,0 0-16,0 0 0</inkml:trace>
  <inkml:trace contextRef="#ctx0" brushRef="#br0" timeOffset="139230">19156 11324 0,'40'0'16,"-27"-13"-1,0 13-15,13-13 16,-12 13-16,-1-14 0,0 14 0,0 0 16,1-13-16</inkml:trace>
  <inkml:trace contextRef="#ctx0" brushRef="#br0" timeOffset="139909.98">20016 11298 0,'26'-27'15,"1"-12"1,-27 12-16,0 14 16,13 0-16,-13-14 0,0 1 0,0-14 15,0 27-15,13 0 16,-13-14-16,-13 27 0,26-13 0,-13 0 16,-13-1-16,13 1 15,0 40 1,0-14-1,0 0-15,0 40 16,0-13-16,0-27 16,13 0-16,-13 0 0,13 1 15,-13-1-15,14 0 0,-1-13 16,0 13-16,0-13 0,-13-13 16,13 13-16,1 0 0,-1-13 0,0 0 15,-13-1-15,13 1 0,1 0 16,-1-27-16,-13 27 0,0-13 15,0 12-15,0 1 0,13 0 0,-13 0 16,0-1-16,0 1 0,0 0 31,13 39-15,-13-12-16,0-1 16,0 0-16,0 0 0,14 1 0,-14-1 15,0 0-15,13 0 0,-13 14 0,13-14 0,-13 0 16,13 0-1,0 1-15,-13-1 0,14-13 0,-1 13 16,0-13-16</inkml:trace>
  <inkml:trace contextRef="#ctx0" brushRef="#br0" timeOffset="140268.9">20651 11099 0,'39'13'0,"-39"1"0,0-1 16,0 0-16,0 0 0,0 1 15,-13-1-15,0 0 16,0 0-16,13 1 0,0-1 0,-13-13 15,13 13-15,-14-13 0,14 13 16,0 0-16,0 1 31,27-14-15,-14 0-16,13-14 16,-12 14-16,-1-13 15,0 13-15,-13-13 0,27 0 16,-14 13-16,-13-13 0,13 13 15,0-14-15</inkml:trace>
  <inkml:trace contextRef="#ctx0" brushRef="#br0" timeOffset="140503.79">21034 10927 0,'40'-26'16,"-27"26"-16,27 0 15,-27 0 1</inkml:trace>
  <inkml:trace contextRef="#ctx0" brushRef="#br0" timeOffset="140676.99">21034 11086 0,'27'0'31,"-14"-13"-15,0 13-16,14 0 0,-14-13 16,40-1-16</inkml:trace>
  <inkml:trace contextRef="#ctx0" brushRef="#br0" timeOffset="141360.31">21669 11112 0,'40'-79'16,"-27"53"-16,-13 12 15,14-12-15,-14 0 0,13-14 16,0 13-16,-13 1 0,0 13 0,13-1 16,-13-12-16,0 13 0,0 0 15,0-1-15,13 14 0,-26 27 32,13-14-17,0 13-15,0-12 0,0 25 16,0-25-16,0-1 0,0 0 0,13 0 15,1 1-15,-1 12 16,0-26-16,0 0 0,1 0 16,-1 0-16,0 0 0,0 0 0,1-13 0,-1 0 15,0-1-15,0 1 0,-13 0 16,13-14-16,14-39 16,-14 53-16,-13-13 0,13-1 15,-13 14-15,14 0 16,-14 26-1,0 0 1,0 66 0,0-39-16,0-13 15,13 26 1,-13-40-16,13 13 0,0 1 16,0-14-1,1-13-15</inkml:trace>
  <inkml:trace contextRef="#ctx0" brushRef="#br0" timeOffset="141867.97">22265 10927 0,'13'0'0,"0"0"15,0 14 1,1-14 0,-14 13-16,0 0 15,0 0 1,13-13-16,0 13 15,0-13-15,14 14 16,-14-14-16,13 13 0,-12 0 16,-1-13-16,-13 13 0,0 1 15,-13-1-15,-1 0 16,1 0-16,0 0 16,0-13-16,0 14 0,-1-1 0,1-13 15,-13 13-15,12-13 0</inkml:trace>
  <inkml:trace contextRef="#ctx0" brushRef="#br0" timeOffset="142579.93">17608 12872 0,'53'-26'0</inkml:trace>
  <inkml:trace contextRef="#ctx0" brushRef="#br0" timeOffset="142763.98">17648 13044 0,'53'-26'31,"-40"26"-31,0-14 16,14 14-16,12-13 15,-12 0-15</inkml:trace>
  <inkml:trace contextRef="#ctx0" brushRef="#br0" timeOffset="144226.38">18640 12687 0,'-13'-13'0,"-1"13"16,1 13-16,0 0 15,0-13-15,0 13 16,13 0-16,-14 1 0,14-1 0,-13 0 15,13 0-15,-13-13 0,13 14 0,0 12 16,0-13 0,13 1-16,0-14 15,14-14 1,-14 1-16,0 0 16,0 0-16,-13-1 0,14 14 15,-14-13-15,13 0 0,0 0 16,0 26 15,1 13-15,-1-26-16,-13 14 0,0-1 15,13-13-15,0 13 0,0 0 16,14-13 0,-1-13-16,1 0 15,-14 0-15,0-1 16,-13 1-16,14 0 0,-14 0 0,0-14 15,0 14-15,13-13 0,-13-1 0,-13 1 16,13-1-16,0 1 0,0-1 16,0 1-16,0 13 0,0-14 0,0 14 15,0 0-15,0-1 0,0 1 16,0 40 15,0-14-31,0 0 0,0 14 16,0-14-16,13 53 15,0-53-15,-13 14 0,13-14 16,-13 13-16,13-12 0,1-1 0,-1-13 16,-13 13-16,13-13 0,0 13 15,1-13-15,12 0 0,-13 0 16,1-13-16,-1 13 0,0-13 0,0 0 16,-13-1-16,13 14 0,1-13 15,-1-13-15,-13 12 0,13-12 31,-13 13-31,13 26 47,-13 0-47,14 0 16,-14 14-16,0-14 16,13-13-16,13 53 15,-12-40 1,-14 0-16,13 1 15,0-1-15,0-13 0,0 13 0,1-13 16,-1 0 0,0 0-1,0-13-15,-26 0 32</inkml:trace>
  <inkml:trace contextRef="#ctx0" brushRef="#br0" timeOffset="144437.73">18772 12687 0,'80'-40'0,"-67"40"0,13-13 16,-13 13-16,14 0 0,-14-13 15</inkml:trace>
  <inkml:trace contextRef="#ctx0" brushRef="#br0" timeOffset="145215.93">19420 12740 0,'-13'-27'31,"13"14"-31,-13 0 16,13 0-1,-13 26 17,13 0-17,0 0-15,0 0 0,0 1 16,13-14-16,-13 13 0,13-13 15,14 0 1,12-13 0,-25 13-16,-1-14 0,-13 1 15,13 13-15,0-13 0,-13 0 16,13 13-16,-13-13 0,0-1 16,14 1-16,-41 40 46,27-14-30,0 0 0,13-13-1,1 0 1,-1-13 0,0 13-16,14 0 15,-1 0 1,-13 26-1,-13 1 1,0-14 0,-13 0-1,13 0-15</inkml:trace>
  <inkml:trace contextRef="#ctx0" brushRef="#br0" timeOffset="145397.57">19751 12422 0,'0'-13'15,"13"39"1,-13-12 0,0-1-16,14 0 0,-14 27 15,13 13 1,-13-27-16,0 1 15,0-14-15,-13 13 0</inkml:trace>
  <inkml:trace contextRef="#ctx0" brushRef="#br0" timeOffset="145564.54">19738 12647 0,'0'-26'15,"26"12"1,-12 1-16,12 0 16,-13 13-16,1 0 0,-1-13 15,0-1-15</inkml:trace>
  <inkml:trace contextRef="#ctx0" brushRef="#br0" timeOffset="146480.63">20426 12396 0,'-13'0'16,"-1"13"-16,14 0 0,0 0 0,0 1 15,0 12 1,0-13-16,14 1 0,-14-1 0,13 0 15,0 0-15,0 0 16,1-13-16,-1 14 16,0-14-16,0 0 15,0 0-15,14-14 0,-14 14 16,-13-13-16,13 0 0,1 13 0,-14-13 16,0 0-16,13-1 0,-13-12 0,0 13 15,0-1-15,0 1 0,0-13 16,-13 26-16,13-14 0,-14 1 15,1 13 1,0-13-16,0 26 16,26 0 15,0-13-15,27 0-1,-14 14 1,-12-1-16,12 0 15,-26 0 1,13-13-16,-13 14 0,0-1 16,13-13-1,-13 13-15,14-26 47,-1 0-47,13-1 31,-12 1-31,-1 13 16,0 13-16,13-13 16,-12 14-1,-1-14-15,0 13 16,0-13-16,1 0 0,12 13 0,-13-13 16,1 0-16,12 0 0,-13 0 15</inkml:trace>
  <inkml:trace contextRef="#ctx0" brushRef="#br0" timeOffset="146900.49">21061 12475 0,'13'-26'16,"0"26"-16,-13-14 0,27-12 15,-27-1 1,0 14-1,-13 26 17,-1 1-17,14-1-15,0 0 0,14 14 16,-1-14 0,0-13-16,-13 13 15,13-13-15,14 0 0,-14 13 0,0-13 16,27-13-16,-27 13 0,0 0 15,27 0-15</inkml:trace>
  <inkml:trace contextRef="#ctx0" brushRef="#br0" timeOffset="147670.04">21709 12144 0,'-13'0'0,"0"14"0,-14 12 31,27 1-31,0-14 0,-13 0 16,13 0-16,0 0 0,0 14 0,13-1 15,-13-12-15,13-1 16,-13 0-16,14 0 16,12-13-1,-13-13-15,1 13 0,12-13 16,-13 13-16,0-13 16,14-1-16,-14 14 15,0 0-15,1 0 0,-1 0 16,27 14-1,-40-1-15,13-13 0,0 13 16,0 0-16,-13 0 0,13-13 0,-13 14 16,0-1-16,14 0 15,-14 0-15,0 1 16,0 12 0,0-13-1,-14-13 1,14-26 31,14-1-32,-14 14-15,13 13 0,0-13 16,-13 0-16,13-1 0,1 1 0,-1-13 16,0 13-16,0-1 0,-13 1 15,13 13-15,1-13 0,-14 0 16,13 13-16,0-14 15,0 14-15,1-13 16,-1 0 0</inkml:trace>
  <inkml:trace contextRef="#ctx0" brushRef="#br0" timeOffset="149417.69">22265 12158 0,'-14'-14'0,"1"28"15,13-1 1,-13-13-16,13 13 16,0 0-16,0 1 0,0-1 15,0 0-15,0 0 0,0 0 16,13 1-16,-13-1 16,13-13-16,-13 13 0,14-13 0,-1 0 15,13 0 1,1-13-1,-14 13-15,0-13 0,1-1 16,-14 1-16,13 0 16,-13 0-16,0 0 15,0-1 1,0 1-16,0 0 16,0 0-1,-13-1 1,13 28 78,0-1-79,-14 0-15,14 0 31,14-13 1,-14-13-1,0 0-15,-14 0-1,1-1 1,0 14-1,0 0 1,-1 14-16,1-14 16,0 13-16,0 0 15,13 0 1,-14 1-16,28 12 16,-1-26-1,0 0 1,40 0-1,-40-13-15,1 13 0,-1-13 16,0 13-16,0-14 0,0 1 16,1 13-16,-1-13 0,0 0 0,14-1 15,-14 14 1,0-13 0,-13 0-16,0 39 31,13-12-16,-13-1 1,13-13 0,1 0-1,-1 0-15,0 0 16,0 0-16,1-13 16,-1-1-16,0 1 15,0 0-15,1 0 16,-1-1-1,-13 1-15,13 26 47,-13 1-31,0-1-16,0 0 16,0 0-16,0 1 15,0-1-15,13 0 16,-13 0-1,0 1 1,13-1 15,1-26 16,-1-1-31,-13 1-1,0 0-15,0 0 16,13 13-16,-13-14 0,0 1 0,0 0 16,13 0-16,-13-1 0,0 1 15,0 0-15,14 0 16,-14 0-16,0-1 0,0 1 31,0 0-31,0 0 0,13 13 16,-26 26 31,13-13-47,13 27 31,-13 0-31,0-14 0,13 27 16,0 13-1,-13-39-15,0-14 0,0 13 16,0 14-16,-13-14 0,13-12 15,0-1-15,0 13 0,-13-12 0,13-1 16,0 0-16,0 0 16,0 1-16,0-1 15,-13-13-15,13-27 32,0 14-17,0 0-15,0 0 0,13-14 0,-13 1 16,0-1-16,13 1 0,0-14 15,-13 14-15,14-1 0,-1 14 0,0-13 16,-13 12-16,13-12 0,0 26 16,-13-13-16,14 13 15,-1-14-15,0 14 0,-13 14 16,13-1 0,-26 0-1,13 0-15,-13-13 0,13 14 16,-13-1-16,-1-13 15</inkml:trace>
  <inkml:trace contextRef="#ctx0" brushRef="#br0" timeOffset="149639.79">23032 12025 0,'0'27'32,"0"-14"-32,0 0 15,0 0-15,0 1 16,-13-1-16,13 0 0,0 0 0,-13 1 16,-1-1-16,14 0 0,-13 0 15,0-13-15,0 14 16,-1-14-16,1 0 15</inkml:trace>
  <inkml:trace contextRef="#ctx0" brushRef="#br0" timeOffset="150345.84">23760 11986 0,'0'26'16,"0"-13"0,0 1-16,0-1 0,0 0 15,0 0-15,13 0 16,-13 1-16,13-28 47,0 14-47,-13-13 15,13 0-15,1 0 0,-1 13 16,0 0-16,0-13 16,1 13-16,-1 0 0,13 0 15,-12 0-15,-1 13 16,0-13-16,-13 13 15,13-13-15,-13 13 16,13-13 0,-13 13-16,14-13 15,-14-13 1,13 0 0,0 0-1,0 0 1,1 13-16,-1 0 15,0 0-15,14 0 16,-14 0 0,0 0-16,13 13 31,-12-13-31,-1 0 0,0 0 16</inkml:trace>
  <inkml:trace contextRef="#ctx0" brushRef="#br0" timeOffset="151116.19">24328 12012 0,'0'-26'0,"0"12"16,0 1-1,-26 40 1,26-14-1,-13-13-15,13 13 0,0 0 16,0 14 0,13-14-16,13 0 15,-12-13 1,-1 0-16,0 0 0,14 0 16,-1 0-16,-13 0 0,1-13 15,12 13-15,-13-13 0,14 13 16,-14-13-16,13-1 0,-12 1 15,-14 0-15,13 13 0,-13-13 0,13 13 16,-13-14-16,0 1 16,-13 13-1,0 0 1,-1 0-16,14 13 0,-26 1 31,13-1-31,-1 0 0,1 0 16,13 1-16,0-1 15,-13 0 1,26-13-16,-13 13 0,13-13 16,1 0-1,-1 0 1,0-13-16,0 13 16,1-13-16,-1 13 15,-13-13 1,13 13-1,0 0 1,0 13 15,1 0 1,-1 0-1,0-13-16,0 0-15,1 13 16,-1-13-16,0 0 0,14 0 16,-14 0-16,0 0 15,-13-13-15,13 13 16,0 0-16,-39 13 31</inkml:trace>
  <inkml:trace contextRef="#ctx0" brushRef="#br0" timeOffset="151621.85">20135 13454 0,'0'40'0,"0"-27"16,13 13-16,-13-12 15,0 12-15</inkml:trace>
  <inkml:trace contextRef="#ctx0" brushRef="#br0" timeOffset="151805.76">20122 13335 0,'-14'0'0</inkml:trace>
  <inkml:trace contextRef="#ctx0" brushRef="#br0" timeOffset="152081">20360 13388 0,'0'13'0,"0"-26"0,0 39 0,0-12 16,0-1-16,13-13 0,-13 13 15,13 14-15,-13-14 16,0 0-16,13-13 15,-13 13-15,-13 0 0,13 1 0,-13-1 16,13 0-16,-13 0 0,-1 1 16,1-14-16,13 13 15,-13-13-15,0 0 16</inkml:trace>
  <inkml:trace contextRef="#ctx0" brushRef="#br0" timeOffset="152793.07">21392 12951 0,'0'0'15,"0"27"-15,0-14 16,0 0-16,0 14 0,0-14 15,0 13-15,0 1 0,0-14 0,0 40 16,13-40-16,-13 14 0,0 12 16,13-25-16,-13-1 15,0 0-15,0 0 0,0 1 16,0-1 15,-26-26-15,26-1-16,-14 14 0,1 0 15,0-13 1,-14 26-16,14 1 16,0-14-16,0 13 15,-1 0-15,14 0 16,0 0-16,0 1 16,0-1-16,14-13 15,-1 0-15,27-13 16,-1-1-1,-25 1-15,12 0 0,-13 13 16,14-13-16,-14-14 0,13 14 16,-26 0-16,14 13 0,-1-13 15,0 13-15,-13-14 0,13 14 16,1 14 0,-1-14-16,-13 13 15,13-13-15,-13 13 0,13-13 0,-13 13 16,0 1-1,0-1-15,13-13 16</inkml:trace>
  <inkml:trace contextRef="#ctx0" brushRef="#br0" timeOffset="154100.7">21736 12832 0,'0'-13'15,"0"40"1,13-14 0,-13 0-16,13 27 0,0-27 0,-13 13 15,13 1-15,1 13 0,12 26 16,14 0-16,-14 13 15,-12-39-15,-1 0 16,0 39-16,0 0 16,-13-52-16,0-1 0,0 1 15,-13-1-15,13 1 0,-13 12 16,13-26-16,-13 1 0,13-1 16,-27 0-16,27 0 0,-13-13 15,0 0 1,-14-13-1,27 0-15,0 0 16,0-1-16,0 1 0,0 0 16,13-13-16,-13-1 15,0 1-15,14-14 0,-1 0 0,0 1 16,0-41-16,1 27 16,-14 0-16,13 0 0,0-52 15,0 65-15,-13 0 0,13 14 16,-13 13-16,14-14 0,-14 14 0,0-14 15,13 27-15,-13-13 0,13 40 32,0-14-32,-13 13 15,14 1-15,-1-14 0,-13 27 16,13-14-16,0 14 0,14 26 16,-27-26-16,26 26 15,-13-13-15,-13-27 16,0 14-16,0 0 0,0-14 15,0 1-15,-13-1 0,13-13 16,-13 14-16,13-14 16,-13 0-16,-1 0 0,1-13 15,13-13-15,-13 0 16,13-14 0,0 14-16,0 0 15,0 0-15,13 0 0,-13-27 16,13 27-16,-13-14 15,14 14-15,-1-40 0,0 27 0,0-14 16,1 13-16,-14 14 16,13 0-16,-13 0 0,0-1 15,13-25-15,-13 26 16,0-1-16,0 41 47,-13-14-32,13 0-15,0 0 16,13-13-16,0 14 16,1-14 15,-1 0-31,0-14 0,0 14 16,0-13-1,1 13-15,-1 0 16,0 0-16,-13 13 15,13-13-15,1 0 16,-14 14-16,13-1 16,0-13-1,-13 13-15,13-13 16,1 0 15,-14-13-15,13 13-16,-13-13 0,0-1 15,13 14-15,-13-13 16,13 0-16,0 0 16,1 13 15,-1 0-15</inkml:trace>
  <inkml:trace contextRef="#ctx0" brushRef="#br0" timeOffset="154700.74">22556 13137 0,'-27'13'31,"27"0"-15,13 0 0,-13 0-16,14 1 15,-1-14-15,0-14 16,0 14-16,1 0 16,-1 0-1,0-13 1,0 13-16,1 0 15,-1 0-15,0-13 16,0 0 0,0 13-16,1-27 0,-1 14 15,0 0-15,0-14 0,1 14 16,-1-13-16,-13 13 0,13-14 16,0 1-16,-13 12 15,14 14-15,-14-13 0,13 26 31,-13 1-31,0-1 16,0 13 0,-13-12-16,13-1 0,0 0 15,0 0-15,-14 0 0,14 1 16,0-1-16,-13-13 0,13 13 0,-13-13 0,13-13 47,0 0-47,13-1 15,0 1-15,-13 0 16,14 0-16,12-14 16,-13 14-16,0 0 15,1 0-15,-1-1 0,0-12 0,0 13 16,14-14-16</inkml:trace>
  <inkml:trace contextRef="#ctx0" brushRef="#br0" timeOffset="-7275.03">5159 2289 0,'-26'-14'0,"-1"14"16,1 0-16,13 0 16,-14 14-16,-39 25 15,53-12-15,-14-14 0,14 13 16,-13 1-16,13-14 0,-14 27 15,27-27-15,0 14 0,-13-14 16,13 0-16,0 0 0,26 14 16,-12-27-16,25 13 15,-12-13 1,-14 0-16,0 0 0,14 0 0,-14-13 0,27 13 16,-27 0-1,0 0-15,0 0 0,14 13 16,-14-13-16,0 13 15,-13 0-15,13 1 0,-13 12 16,0-13-16,14 27 16,-1-27-16,-13 0 0,0 1 15,13-1 1,14-13 0</inkml:trace>
  <inkml:trace contextRef="#ctx0" brushRef="#br0" timeOffset="-7059.64">5543 2315 0,'-13'40'0,"13"-27"0,-13 53 15,13-13 1,0 26-1,-14-52-15,14-14 0,0 0 16,0 14-16,0-14 16,0 14-16,-13-14 0,13 13 15</inkml:trace>
  <inkml:trace contextRef="#ctx0" brushRef="#br0" timeOffset="-5831.77">10306 3003 0,'-40'0'15,"27"0"-15,-40 40 16,39-27-16,-25 27 16,26-27-16,-1 13 15,1 14-15,26-14 16,1-12-16,-1-14 0,13 13 15,-13-13-15,1 0 0,25-13 16,-25 13-16,-1 0 16,0 0-16,0 0 0,1 0 0,-1 0 15,0 0-15,0 0 0,14 13 16,-27 0-16,13 0 16,0-13-16,-13 14 0,0-1 0,13 0 0,-13 27 15,14-27-15,-14 0 16,0 0-1,0 1-15,13-14 0,-13 13 16</inkml:trace>
  <inkml:trace contextRef="#ctx0" brushRef="#br0" timeOffset="-5248.15">10676 3201 0,'26'14'0,"-26"-1"15,0 0-15,0 0 0,0 1 16,-13-1-1,13 0-15,-13 0 16,26 1-16,0-1 16,14-13-1,-14 0-15,0-13 0,1 13 16,-1 0-16,13-14 0,-13 14 16,14 0-16,-14 0 0,0-13 0,14 13 15,13-13-15,-27 13 16,13 0-16</inkml:trace>
  <inkml:trace contextRef="#ctx0" brushRef="#br0" timeOffset="-4537.3">15266 2686 0,'-119'52'16,"106"-25"-16,-13-1 0,12-12 0,14-1 16,-13 0-16,13 0 0,0 1 0,13-1 15,1 0-15,-1 0 0,0-13 16,0 0-16,1 13 0,-1-13 16,0 0-16,0 14 0,1-14 0,-1 13 15,0-13-15,-13 13 0,13 0 16,0 1-16,1-1 0,-14 0 15,13 0-15,-13 14 16,13-1-16,-13-13 16,0 1-16,13-1 15,-13 0 1</inkml:trace>
  <inkml:trace contextRef="#ctx0" brushRef="#br0" timeOffset="-3924.94">15491 2871 0,'14'-13'0,"-1"26"16,0 0 15,-13 0-31,13 0 16,1 1-16,-14-1 0,13 0 16,0-13-16,-13 13 15,13 1-15,-13-1 0,13-13 16,-13 13-16,0 0 0,0 0 0,-13-13 0,13 27 15,-13-14-15,0 0 16,0-13-16,-1 14 0,-12 12 16,13-26-16,-1 13 0,1-13 15,-13 0-15,26 14 0,-14-14 0</inkml:trace>
  <inkml:trace contextRef="#ctx0" brushRef="#br0" timeOffset="19876.68">10464 8771 0,'-26'40'0,"26"-27"0,-13 13 15,-1 40 1,14-39-16,0 13 0,-13-14 0,13 14 0,0-27 16,-13 13-16,13 1 15,-13-1-15,13-12 0,-27 52 16,27-40 0,0-13-16,0 1 15</inkml:trace>
  <inkml:trace contextRef="#ctx0" brushRef="#br0" timeOffset="20342.9">10504 8797 0,'-26'14'15,"12"-14"-15,1 13 0,-13 27 16,12-27-16,1 0 0,0 13 16,0-12-16,-27 25 15,40-25-15,-26 12 16,12-13-1,28-52 1,-1-1 0,-13 27-1,0-14-15,13 14 0,-13 0 0,0 0 16,13 13-16,-13-14 0,13 1 0,1 13 16,12 0-1,-13 13 1,14 1-16,-14-14 0,0 13 15,1-13-15,38 26 16,-38-13 0,-1-13-16,0 0 0,0 14 0,1-14 15,-1 0-15,0 13 0,0-13 16,0 0-16,1 0 0,-1 0 0,0 0 16</inkml:trace>
  <inkml:trace contextRef="#ctx0" brushRef="#br0" timeOffset="26217.51">3029 12144 0,'-13'27'47,"0"-1"-31,0-12-16,-14 52 15,27-53 1,0 0-16,-13-13 0,13 13 15,0 1-15,-13-1 0,13 0 16,13-26 15,0-40-15,1 40-16,-14-1 0,13 1 16,0 13-16,0-13 0,0 0 15,14 13 1,-27 13-16,13 0 15,0 67 1,1-67-16,-14 13 0,0-13 0,0 14 16,0-14-16,-14 40 15,14-40-15,0 1 0,14-1 16,-14 0-16</inkml:trace>
  <inkml:trace contextRef="#ctx0" brushRef="#br0" timeOffset="26537.56">3241 12303 0,'-26'53'15,"26"-40"-15,0 0 0,0 1 0,0-1 16,0 0-16,13 0 0,0 1 15,0-14-15,1 0 0,-14 13 16,53-26 0,-40-1-1,0 14-15,-13-13 0,13 13 0,-13-13 16,0 0-16,-13-1 0,13 1 16,-13-13-1,0 13-15,-1 13 0,1-14 16,0 14-16,0-13 15</inkml:trace>
  <inkml:trace contextRef="#ctx0" brushRef="#br0" timeOffset="26795.64">3321 12263 0,'39'27'0,"-26"-27"15,1 40 1,-1-27-16,-13 13 15,13-13-15,-13 1 16,13-1 0,1-26-1,-1-14 1,0 27-16,-13-13 16,13 0-16,-13 0 0,40-27 15,-27 40 1,0-13-16,1 13 0,-1 0 0,0 0 0,0 0 15,1 0-15,-1 0 16,0 0-16,0 0 0,0 13 0</inkml:trace>
  <inkml:trace contextRef="#ctx0" brushRef="#br0" timeOffset="27417.01">3744 12211 0,'0'-14'16,"-27"41"-1,27-14-15,0 0 0,0 14 16,-13-14-16,13 0 15,0 0-15,0 1 0,0-1 16,0 0 0,13-26 15,1 13-31,-1-13 16,0 13-16,0 0 15,1 0-15,-1 0 16,0 13-1,0-13-15,0 0 16,1 13 0,-1-13-1,0 0 1,0 0 15,1 13-15,-1-13-1,0 0-15,0 0 16,1 0-16,-1 0 0,0 0 0</inkml:trace>
  <inkml:trace contextRef="#ctx0" brushRef="#br0" timeOffset="27924.19">4154 12290 0,'-26'-13'15,"12"26"-15,1-13 16,13 13-16,-13-13 15,13 13 1,-13-13-16,13 14 16,13-1-1,0-13 1,0 0 0,-13 13-16,14-26 15,-1 13 1,0 0-16,-13-13 0,13 13 0,-13-14 15,13 1-15,1 0 0,12-14 16,-13 14-16,-13 0 16,14 0-16,-14 0 15,13 13-15,-13-14 0,13 28 32,-13-1-32,0 0 15,0 13-15,0-12 16,13-1-16,-13 0 0,13 0 0,-13 1 15,14-1-15,12 0 16,-13-13-16,-13 13 0,14-13 16</inkml:trace>
  <inkml:trace contextRef="#ctx0" brushRef="#br0" timeOffset="29028.89">4723 12065 0,'13'0'0,"-26"13"16,13 0-16,-13 14 0,13-14 15,-14 27-15,1 0 16,13-14-16,0-13 0,0 14 0,0-14 16,0 0-16,0 0 15,0 14-15,0-14 0,0 0 16,-13-26 15,0 13-31,13-13 16,-27 0-16,14 13 15,0-14-15,0 14 16,-1 0-16,1 0 16,0 0-16,0 0 15,-1 0-15,14 14 0,-13-14 16,0 13-16,13 0 0,-13 0 16,13 0-16,13 1 15,-13-1-15,26 0 16,1 0-1,-14-13-15,0 0 0</inkml:trace>
  <inkml:trace contextRef="#ctx0" brushRef="#br0" timeOffset="29877">4921 12224 0,'-39'13'15,"25"0"-15,1 0 16,13 1 0,0-1-1,0 0 1,27-26 0,-14 0-1,0 13-15,-13-14 16,13 14-1,0 14 17,1-14-17,-1 0 1,0 0-16,0 0 16,1-14-16,-1 14 15,0 0 1,0-13-16,1 13 15,-14 13-15,13-13 16,-13 14-16,0-1 16,0 0-16,13 0 0,-26 14 15,13 12-15,-13-25 16,-1 25 0,1-25-16,-40 25 0,40-25 15,-27-1-15,27 0 0,0-13 16,0 0-16,-1-13 15,1 13-15,13-13 16,13-14-16,1 14 16,12-14-16,-13 14 0,0 0 15,14 0-15,-1-1 0,-12 1 0,12 0 16,1 0-16,25-14 16,-38 27-16,12 0 0,-13-13 15,1 13-15,-1 0 0</inkml:trace>
  <inkml:trace contextRef="#ctx0" brushRef="#br0" timeOffset="30632.16">3360 12647 0,'0'-13'0,"106"0"16,-66-1 0,13 14-16,26 0 15,159 0 1,-145 0-16,-14 0 0,14 14 0,-14-14 0,106 13 15,-105-13 1,12 0-16,-12 0 0,-1 0 0,0 0 0,67-13 16,-93 13-16,0 0 0,0-14 15,53 1-15,-54 0 16,28 0-16,-1-14 16,-52 14-16,-1 0 0,1 0 15,-14-1-15,0 1 0,13 0 16,1-27-16,-14-26 15,-13 40-15,13-1 0,-26 1 16,13-14-16,-40-26 16,14 26-16,-14 0 0,-92-65 15,79 65-15,0 13 16,-13-12-16,-66-14 0,52 26 16,1-12-16,0 12 0,-14 1 15,14 13-15,-1-14 0,-198-39 16,186 53-16,-1 0 15,14 13-15,-14-14 0,-105 14 0,105 0 16,1 0-16,-1 14 0,14-1 16,-14-13-16,14 26 0,-14-13 15,-132 40-15,159-26 16,0-1-16,0 1 0,13-1 16,-40 27-16,54-26 0,12-1 15,-39 27-15,53-27 16,-14 14-16,14-13 0,0-1 0,0 14 15,13-14-15,0 27 0,0-13 16,13-1-16,0-12 0,0 13 16,27 26-16,-14-40 15,14 1-15,66 65 0,-66-65 16,-1-14-16,1 13 0,0-12 16,-1-1-16,1 0 0,39 14 15,-39-27-15,-13 0 0,-1 0 16,14 0-16</inkml:trace>
  <inkml:trace contextRef="#ctx0" brushRef="#br0" timeOffset="33100.93">2355 12158 0,'13'0'0,"-39"0"31,-1 0-16,14 0-15,0 0 16,-1 0-16,-12 0 0,-1 0 16,14-14-16,-13 14 0,-1 0 15,1-13-15,-1 13 0,1-13 16,-14 0-16,14-1 0,-14 1 0,0 0 0,14-13 16,-14 12-16,1-25 0,-1 12 15,-13 1-15,13-14 0,1 0 0,-1 14 16,-13-14-16,13 1 0,-13-1 15,14-13-15,-41-26 0,27 26 16,14 13-16,-1-13 0,0 0 0,1 0 16,12 0-16,-12 0 0,12 0 15,-39-52-15,13-14 16,27 52-16,-1 14 0,1-13 0,-1 13 16,14-13-16,0 0 0,0 13 15,-1-13-15,14 0 0,-13-66 16,13 65-16,0 15 0,0-1 15,13-14-15,-13 1 0,14 13 0,-14-13 16,13 13-16,0 0 0,0-13 16,0 13-16,1 0 0,-1 1 15,13-1-15,-12 0 0,-1 13 0,13-13 0,1 0 16,-1 0-16,-13 0 0,54-52 16,-41 52-16,14 0 15,-14 13-15,14-13 0,39-53 16,-26 53-16,-13 0 0,13 0 15,0-13-15,13 0 0,-26 13 0,26-13 16,-13 0-16,-1 13 0,15-13 0,-1 0 16,13 0-16,-13 0 0,14-1 15,-14 14-15,13-13 0,-13 0 0,14 13 16,-1-13-16,0 13 0,1-13 0,-14 13 16,13 0-16,1 0 15,-1 0-15,0 0 0,93-39 16,-13-1-16,-66 40 0,-14 14 15,1-14-15,12 13 0,93-39 16,-105 52-16,12-12 0,80-28 16,-26 14-16,-67 27 15,-13 0-15,1 12 0,-15-12 16,1 13-16,0-1 0,-13 1 0,0 0 16,39-27-16,-66 40 15,27-13 1,0 0-1,-27 13-15,0-13 16</inkml:trace>
  <inkml:trace contextRef="#ctx0" brushRef="#br0" timeOffset="33516.64">4776 6257 0,'13'14'16,"0"-14"-16,27 13 15,-27-13 1,0 13-16,1 0 0,-1-13 15,0 14-15,0-1 0,0 0 16,1 0-16,-1 0 0,0 1 16,-13 12-16,13-13 0,-13 1 0,14 12 15,-14-13-15,0 14 0,-14-1 0,14 1 16,-13-1-16,0 14 16,-14 0-16,-12-1 0,12 1 0,-12 0 0,-1-1 15,0 1-15,-13 0 0,14-1 16,-1 1-16,-13 0 0,13-1 15</inkml:trace>
  <inkml:trace contextRef="#ctx0" brushRef="#br0" timeOffset="35298.73">5900 13401 0,'0'27'16,"-13"-27"-16,13 13 16,-13-26 15,13-1-31,-13 1 0,-1 0 16,14 0-16,-39-53 15,12 39-15,14 1 0,0-14 16,-14 13-16,14-12 0,-27-27 15,14 13-15,-14-13 16,14 26-16,12 0 0,-12 14 0,13-1 16,13 14-16,-13 0 0,-1 0 0,14-1 15,-13 1-15,0 0 16,13 0-16,-13 13 0,13-14 0,-14 14 16,1 14 15,0-14-31,13 13 15,0 0-15</inkml:trace>
  <inkml:trace contextRef="#ctx0" brushRef="#br0" timeOffset="35583.72">5490 12779 0,'-53'67'16,"40"-54"-16,0 40 15,-14-14-15,27-12 16,-13-1-16,0 40 15,0-52-15,13-1 0,0 13 0,-14-12 16,14 12-16,0-13 16,-13 0-16,13 1 0,0-1 15,0 0-15</inkml:trace>
  <inkml:trace contextRef="#ctx0" brushRef="#br0" timeOffset="35866.83">5345 12885 0,'0'0'16,"13"-13"-16,13 13 16,-12 0-16,-1 0 15,13 0-15,-13 0 0,14 13 0,-14-13 0,14 0 16,-14 13-16,13-13 15,27 14-15,-40-1 16,14-13-16,-14 13 0,0-13 0,14 13 0,-14-13 16,0 0-16,-13 14 0,13-14 15,1 0-15,-1 13 0,0-13 16,0 0 0,1 13-1</inkml:trace>
  <inkml:trace contextRef="#ctx0" brushRef="#br0" timeOffset="62596">18164 9313 0,'-53'0'0,"40"0"0,13 14 16,-14-14-16,1 13 16,13 0-16,0 13 15,0-12-15,13 12 16,1-13-16,-14 1 0,13-1 16,-13 0-16,0 0 15,13-13-15,-13 14 0,0-1 0,0 0 16,0 0-16,-26 27 15,12-40-15,1 13 0,0 0 16,0 1-16,-1-14 0,-12 13 0,13 0 16,-14 0-16,14-13 15,0 0-15,0 0 16</inkml:trace>
  <inkml:trace contextRef="#ctx0" brushRef="#br0" timeOffset="63257.77">18256 9591 0,'27'-26'0,"-14"-1"16,-13 14-1,0 0-15,13 13 0,-13-13 0,0-1 16,0 1-1,0 0-15,-13 13 0,0 26 32,13-12-32,0 25 15,13-26 1,-13 1-16,13 12 16,14-13-1,-14-13-15,0 0 16,0-13-16,1 13 0,-1-13 0,0 0 15,0-1-15,0 1 0,-13-13 16,14 13-16,-14-14 0,13 1 0,0 12 0,-13-12 16,0 13-16,13-1 15,-13 1-15,0 0 16,0 0-16,0 52 16,0-12-1,-13-1-15,13 1 0,-13 52 16,13-39-16,-13 0 0,13-1 0,0-12 15,0-1-15,0 1 0,0-1 16,0-13-16,0 1 0,-14 25 16,14-26-16,0 1 15,0-54 1,0 27 0,0-27-16,14 0 0,-14 1 15,13 12-15,0-12 0,14 12 16,-14 14-16,0-14 0,0 14 0,1 0 15,-1 13-15,0 13 16,0 0 0,-13 1-16,0-1 0,0 0 15,-26 27-15,26-14 16,-13-12-16,13-1 0,-14 0 16,1 0-16</inkml:trace>
  <inkml:trace contextRef="#ctx0" brushRef="#br0" timeOffset="63511.76">18825 9353 0,'-26'-26'15,"-1"39"1,14 0 15,13 0-31,13 0 0,0 1 16,-13-1-16,14-13 0,-1 13 15,13 27 1,-39 13 15,0-27-15,-14 14-16</inkml:trace>
  <inkml:trace contextRef="#ctx0" brushRef="#br0" timeOffset="63929.81">18296 9909 0,'13'13'16,"67"-26"-1,-54-1-15,14 1 0,13 0 16,39-27-16,-39 14 0,0-1 15,13 1-15,53-27 0,-66 27 16,0-1-16,0-13 16,66-26-16,-79 27 0,13-1 0,-14 0 15,1 0-15,26-52 16,-26 39-16,-14 0 0,1 0 0,-1 0 16,-13 0-16,-13 14 0,0-1 15,-13 13-15,0-12 0,-13-1 0,-14 14 16,-26-1-16,13 14 0,-27 0 0,1-1 15,-93 14-15,79 0 16,-26 27-16,0-14 0,0 14 0,0 12 16,13 1-16,1 0 0,12 13 15,0 0-15,14-1 0,0 1 0,26 0 16,13 0-16,0-13 0,14 13 16,-1 0-16,14-14 0,13 1 15,0 0-15,27-1 0,-14-12 0,27 13 0,-1-14 16,14 1-16,13-1 0,0-13 15,1 0-15,12 1 0,0-1 16,1-13-16,-14 0 0,0-13 0,13 13 16,-26-14-16,0 14 0</inkml:trace>
  <inkml:trace contextRef="#ctx0" brushRef="#br0" timeOffset="64561.84">19553 8969 0,'26'-39'16,"-13"-1"0,-13 27-16,-13 0 15,13-1-15,0-12 0,-13-1 0,0 1 16,-40-93-16,26 79 15,1 0-15,-14 1 0,1-14 16,-1 13-16,0 1 0,0-1 16,-12 0-16,12 0 0,-13 14 0,0-14 15,0 14-15,0-1 0,0 1 16,0-1-16,-66-25 0,66 38 0,-13-12 16,13 13-16,0-14 0,-13 14 15,27 0-15,-1 0 0,-13-1 16,13 1-16,14 13 0,-14-13 0,27 0 15,-14 13-15,14 0 0,0-14 0,0 14 16,0 14 0</inkml:trace>
  <inkml:trace contextRef="#ctx0" brushRef="#br0" timeOffset="64900.41">18230 8162 0,'-40'-39'0,"40"25"0,-53-52 15,27 40-15,-1-1 16,1 1-16,-1 0 0,1-1 0,-1 1 15,-12-14-15,26 27 16,-1-1-16,1 1 0,0 0 16,13 0-16,13 0 0,0-1 15,1 1-15,12 13 0,0-13 16,27 0-16,-13-1 0,26 14 0,80-26 16,-80 26-16,13-13 0,-13-1 15,14 14-15,-14 0 0,13-13 16,-13 13-16,14-13 0,105-13 15</inkml:trace>
  <inkml:trace contextRef="#ctx0" brushRef="#br0" timeOffset="66416.4">19778 9022 0,'79'-26'16,"-39"13"-16,-1-1 0,80-25 15,-66 25-15,-13 1 16,13 13-16,-13-13 0,-1 0 0,1 0 15,-14 13-15,1-14 0,-1 1 0,-12 13 16,-1-13-16</inkml:trace>
  <inkml:trace contextRef="#ctx0" brushRef="#br0" timeOffset="66641.68">20426 8652 0,'26'0'0,"40"26"16,1 14 0,-41-14-16,27 14 0,-27 0 15,27 39 1,-53-39-16,14-14 0,-14 1 16,0-1-16,0-12 0,0 12 0,0 0 15,-14 1-15,1-14 0,13 14 16,-13-14-16,0 13 0,-1-12 0</inkml:trace>
</inkml:ink>
</file>

<file path=ppt/ink/ink22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52:53.343"/>
    </inkml:context>
    <inkml:brush xml:id="br0">
      <inkml:brushProperty name="width" value="0.05292" units="cm"/>
      <inkml:brushProperty name="height" value="0.05292" units="cm"/>
      <inkml:brushProperty name="color" value="#0070C0"/>
    </inkml:brush>
  </inkml:definitions>
  <inkml:trace contextRef="#ctx0" brushRef="#br0">5120 4511 0,'-40'0'15,"80"0"17,-14 0-32,40 0 15,40 0-15,-66-13 16,13 13-16,0 0 0,0 0 15,-1 0-15,54-13 0,-53 13 16,0 0-16,-13 0 0,13 0 16,0 0-16,-27 0 15,1 13-15,-1-13 16,0 0-16,-12 13 16</inkml:trace>
  <inkml:trace contextRef="#ctx0" brushRef="#br0" timeOffset="330.98">5226 4710 0,'39'0'0,"80"-14"16,-66 1-1,0 0-15,53 0 0,-13-1 16,39-12 0,-92 13-16,26 0 15,-27 13 1,-12 0-16,-14-14 16,0 14-16,0 14 15,-26-1 32,13 0-47,-13-13 16,0 13-1</inkml:trace>
  <inkml:trace contextRef="#ctx0" brushRef="#br0" timeOffset="1711.21">4379 3876 0,'92'-26'0,"-39"12"16,0 14-16,0-13 0,13 13 0,14-13 16,-14 13-16,13 0 0,-13-13 0,93 13 15,-106 0-15,13 0 16,-13 0-16,0 0 0,-13 0 0,39 0 16,-52 0-16,-1 0 15,14 0-15,-14 0 0,-13 0 16,1 0-16,-14 13 0,-14 0 31,1-13-31,0 0 0,-14 13 16,-12 1-16,-1-14 0,-26 26 15,0-13-15,0 1 0,-14-1 0,1 0 16</inkml:trace>
  <inkml:trace contextRef="#ctx0" brushRef="#br0" timeOffset="3010.93">754 4564 0,'27'0'16,"-14"0"-16,119-13 16,-79 13-16,13-13 0,13 13 0,1 0 15,-1 0-15,14-14 0,66 14 16,-67 0-16,-12 0 0,12 0 15,-12 0-15,-1 0 0,-13 0 16,0 0-16,-13 0 0,0-13 0,0 13 16,-13 0-16,-1 0 0,-12 13 0,-1-13 15,1 0-15,-14 0 0,0 0 16,14 0-16,-14 0 0,0 0 16,0 0-16,1 0 0,-1 0 15,0 0-15,0 0 16,0 0-1,1 0 17,-1 0-1,0 0 47,-39 14-31,12-1-31,1-13-16,13 13 15,-13-13-15,0 13 0,0-13 0,13 14 16</inkml:trace>
  <inkml:trace contextRef="#ctx0" brushRef="#br0" timeOffset="5362.09">9379 1852 0,'0'-13'0,"0"0"31,-13-1-15,13 1-16,-13 0 16,0 0-1,0-1-15,13 1 0,-14 0 0,-12-13 16,-1-1-16,14 14 15,0 0-15,-13-1 0,-41-52 16,41 53 0,13-13-16,-1 12 0,-12 1 0,13 0 15,-14 0-15,14-1 0,-13 1 0,-1 0 16,-52-13 0,39 26-16,0-14 0,-13 14 15,14 0-15,-1 0 0,0 0 0,1 0 16,-14 0-16,13 0 0,-13 14 0,14-14 15,-1 13-15,-13 0 0,13-13 16,1 13-16,-1 0 0,-40 27 16,41-27-16,-1 1 0,0 12 15,1 1-15,-1-1 0,0 0 0,1 14 16,12 0-16,-39 39 0,40-39 16,-1 0-16,1-1 0,-27 41 15,40-41-15,-14 1 16,14 13-16,-14-13 0,14 12 0,-27 54 15,27-53-15,0 13 16,0-13-16,0 13 0,-1 1 0,1-1 16,13 0-16,-13-13 0,13 13 0,-13 0 15,13 0-15,0-26 0,0 13 16,0 13-16,0 0 0,13 0 0,0 53 16,0-66-16,1 0 15,-1 53-15,0-53 16,13 13-16,1 40 0,-14-66 15,0 13-15,1-14 0,-1 1 16,13 0-16,1 39 0,-1-39 16,-13-14-16,14 14 0,-14-1 0,14-12 15,-1-1-15,1 14 0,12-13 16,-12-1-16,-1 0 0,1 1 16,12-14-16,1 14 0,-14-1 0,14-13 0,0 14 15,-1-14-15,28 13 16,-28 1-16,-12-14 0,12-13 0,-12 13 15,-1 1-15,1-14 0,-14 13 0,14-13 16,-1 13-16,0-13 0,1 13 16,13-13-16,-14 0 0,0 0 0,27 0 15,-26 0-15,13 0 16,-14 13-16,14-13 0,-14 0 16,40 0-16,-26 0 0,-14 0 15,41 0-15,-28 0 0,-12 0 16,12 0-16,28 0 15,-14 0-15,-14 0 0,-12-13 16,-1 13-16,1 0 0,-1-13 16,0 13-16,14-13 0,-27 13 15,14-13-15,39-14 0,-26 14 0,-14-14 16,1 14-16,-1 0 16,1-13-16,-1 12 0,0 1 0,1-13 0,-1 12 15,-12 1-15,12-13 0,0 12 16,1-12-16,-14 13 0,40-40 15,-26 40-15,-14-14 0,13 1 16,-13-1-16,14 1 0,-14-14 0,14 14 16,-14-14-16,13 0 0,1-26 15,-14 26-15,0 1 0,0 12 16,1-12-16,-1 12 0,-13-13 16,13-12-16,-13 25 15,13-39-15,-13 26 0,0 14 0,0-14 16,0-13-16,-13 13 0,13 1 15,0-1-15,-13 0 0,13 1 0,-13-1 16,13 0-16,-14 1 0,14-1 16,-13 0-16,13 1 0,-13-1 15,13 0-15,-13 14 0,0-14 0,-1-26 16,14 40-16,-13-14 0,0 13 16,13 1-16,-13 13 0,-1-14 15,1-12-15,13 12 0,-13 1 0,0-1 16,13 1-16,-14-1 0,1-12 15,0 12-15,0 1 16,13 12-16,-13-12 0,-1-1 0,1 14 16,-27-26-16,27 12 0,0 14 15,0 0-15,-1-1 0,1 1 0,-13 0 16,13-14-16,-1 14 0,1 0 16,0 0-16,-27-14 0,27 14 15,-13-13-15,-1 12 0,1-12 16,12 0-16,-39-14 0,27 27 15,0-14-15,-1 14 0,1 0 16,-1-14-16,1 14 0,-1 0 0,14 0 16,-13 13-16,-27-27 0,39 14 15,-12 13-15,0 0 0,12-13 16,1 13-16,-13 0 0,12-14 16,1 1-16,0 13 0,0-13 0</inkml:trace>
  <inkml:trace contextRef="#ctx0" brushRef="#br0" timeOffset="7841.57">1217 10041 0,'-132'26'15,"158"-26"1,40 0 0,-13 0-16,93-26 0,-67 13 15,93-14-15,-79 14 0,26 0 16,-40 0-16,14-1 0,-14 1 15,1 0-15,-1 0 0,0-1 0,-13 1 16,-13 0-16,0 13 0,-13-13 0,0 13 16,-14 0-16,-13 0 0,1-14 15,-1 14-15,0 0 0,0 0 16</inkml:trace>
  <inkml:trace contextRef="#ctx0" brushRef="#br0" timeOffset="8105.03">1072 10372 0,'0'0'0,"26"0"0,0-14 15,14 14-15,26-13 0,0 0 16,14 0-16,-1 0 0,14-1 0,13-12 15,13-1-15,-13 14 0,-14 0 0,1 0 16,79-27 0,-93 27-16,-13 13 0,14-13 0,-14-1 15,-13 14-15,0-13 0,0 13 0,-14 0 0,1 0 16,-14 0-16,14 0 16,-13 0-16,-1-13 0</inkml:trace>
  <inkml:trace contextRef="#ctx0" brushRef="#br0" timeOffset="8942.39">9009 9723 0,'199'40'0,"-133"-40"0,92 13 15,-78-13-15,12 14 0,14-14 16,0 0-16,106 13 0,-80-13 16,14 0-16,-14 0 0,13 0 0,-12-13 15,12 13-15,-13 0 0,-26-14 16,0 14-16,0 0 0,79 0 16,-92 0-16,-1 0 0,-12 0 15,-27 0-15,0 0 0,-1 0 0,-25 0 16,-1 0-16,1 0 0,-1 0 15,-39-13 17,0 13-17</inkml:trace>
  <inkml:trace contextRef="#ctx0" brushRef="#br0" timeOffset="9257.91">11933 9459 0,'158'66'16,"-65"0"-16,-66-53 15,-1 14-15,0-14 0,-12 14 0,-1-1 16,-13-13-16,13 14 0,-26-14 16,13 13-16,-13 1 15,-1-1-15,-12 1 0,0-1 0,-14 1 0,0-1 16,-13 1-16,0-14 0,0 13 0,0-13 16,14 1-16,-14-14 15,0 13-15,0-13 0,0 13 0,-13-13 16,-13-13-16</inkml:trace>
  <inkml:trace contextRef="#ctx0" brushRef="#br0" timeOffset="9758.04">9208 9327 0,'-27'0'0,"14"13"16,-80 66-16,54-39 15,-14 0-15,13-1 0,0 1 0,1 0 16,-1-1-16,0 14 0,0-13 15,14 0-15,0-14 0,12 0 16,-12 41-16,26-28 0,13-25 16,0 12-16,14 0 0,-1-12 15,1 12-15,12-13 0,147 40 16,-120-53-16,79 14 16,40-1-1,-132-13-15,14 0 0,65 0 16</inkml:trace>
  <inkml:trace contextRef="#ctx0" brushRef="#br0" timeOffset="10855.75">14936 9631 0,'39'0'16,"-12"0"-16,13 0 0,-1 13 0,173-13 15,-119 0 1,92 0-16,-93 13 0,14-13 16,0 0-16,0 0 0,0 0 15,-1 0-15,-12 0 0,13 0 0,-13 0 0,-1 0 16,80 0-16,-92 0 15,-1 0-15,-13 0 0,-13 0 16,-13 0-16,-1 0 0,-12 0 0,-1 0 16,1 0-16,-1 0 0,-13 0 15</inkml:trace>
  <inkml:trace contextRef="#ctx0" brushRef="#br0" timeOffset="11197.96">17079 9406 0,'40'0'31,"26"13"-31,-40 0 16,1 1-16,12-1 0,1 0 0,-14 0 16,14 1-16,-13-1 0,-1 0 15,0 0-15,1 0 0,-1 14 16,1-14-16,-27 0 0,13 1 16,-13-1-16,0 0 0,-13 0 0,13 14 15,-27-14-15,1 13 0,-80 41 16,53-41-16,-13 0 0,0 1 15,0-1-15,-14 1 0,14-14 0,-13 14 16,13-14-16,-14 0 0,14-13 0,-13 13 16,-1-13-16,14 0 15,-26 0-15,12-13 0</inkml:trace>
  <inkml:trace contextRef="#ctx0" brushRef="#br0" timeOffset="11676.98">14777 9194 0,'-40'40'0,"14"-14"0,-80 80 16,80-66-16,-14 0 16,0 13-16,14-14 0,-1 1 0,14 0 0,13-1 15,-13-12-15,13-1 16,13 1-16,13-1 0,1 1 0,13-14 16,13 13-16,-1-13 0,15 1 0,-1-14 15,13 0-15,0 0 0,1 0 16,-14-14-16,13 14 0,54-26 15,-67 13-15,-13 0 0,-14-1 0,1 1 16,-13-13-16,-1 12 0,-13-12 16</inkml:trace>
  <inkml:trace contextRef="#ctx0" brushRef="#br0" timeOffset="15618.14">9274 1918 0,'13'0'32,"-13"13"-17,0 1-15,13 25 16,0-25-1,-13 12-15,0 1 0,0-1 16,14 0-16,-1 27 0,-13 0 16,13 0-16,0 13 0,0 14 0,1-14 15,-14 13-15,13 27 0,13 0 16,-12-13-16,12 92 0,-13-93 16,1-12-16,-1-1 0,0 0 15,0 1-15,0-14 0,1 13 0,-1-13 16,-13 1-16,13-1 0,-13-13 0,0 0 15,0 0-15,13 26 16,-13-39-16,0-1 0,0-12 0,0-1 16,0 1-16,0-1 0,0 1 0,0-14 15,0 13-15,0-13 0,14 1 16,-14-1-16,0 0 0,0 0 16,0 1-16,0-1 0,0 0 15,0 0-15,0 1 16,0-1-1,0 0 17,0 0-17,13-13 32,-26-26 125,13 13-172,0-14 16,0 1-1,0 12 1,0 1-16,-14 0 16,14 0-16,0-14 31,0 54 47,0-14-62,0 0-16,14 0 15,-14 1 16,0-41 1,-14-26-17,14 40-15,0-27 16,-13 1 0,13 25-16,0 1 0,0 0 0,0 0 15,0 0-15,0-1 16,-13 54 15,13-27-31,13 0 0,-13 1 16,0-1-16,0 0 0,0 0 0,0 1 15,0-1-15,0 0 16,0 0-16,0 0 0,0 1 16,0-1-16,0 0 0,-13-26 78,0 0-63,13-1 1,-14 1 0</inkml:trace>
  <inkml:trace contextRef="#ctx0" brushRef="#br0" timeOffset="17254.16">5609 4670 0,'27'0'31,"-1"0"-31,-13-13 0,1 13 16,12 0-16,0 0 0,14-14 15,13 14-15,-26-13 0,12 13 16,-26 0-16,14 0 0,-1 0 0,1-13 16,-14 13-16,0 0 0,0 0 15,1 0-15,-1 0 0</inkml:trace>
  <inkml:trace contextRef="#ctx0" brushRef="#br0" timeOffset="17489.95">5662 4749 0,'93'-13'0,"-80"13"0,13-13 16,1 13-16,13 0 0,-14-13 15,0 13-15,-12-14 0,12 14 0,1 0 16,-14 0-16,0 0 0,13 0 16,-12 0-16,-1 0 0</inkml:trace>
  <inkml:trace contextRef="#ctx0" brushRef="#br0" timeOffset="20567.15">9141 9366 0,'-26'-13'16,"-1"26"-1,27 0-15,-26 1 0,13 12 0,-14 1 16,1-1-16,-1 1 0,-12 12 0,-1 1 15,14-14-15,-107 107 16,107-94-16,-14 1 16,0 0-16,27-14 0,-13 1 0,12-1 15,14-13-15,-13 27 16,26-27-16,1 14 16,12-14-16,-13 0 0,14 0 15,65 1 1,-52-14-16,0 0 0,0 0 0,105 0 15,-105 0-15,-1 0 16,-12 0-16,13 0 0,-14 0 0,1 13 16,12-13-16,-12 0 0,-1 13 15</inkml:trace>
  <inkml:trace contextRef="#ctx0" brushRef="#br0" timeOffset="21144.86">12343 9948 0</inkml:trace>
  <inkml:trace contextRef="#ctx0" brushRef="#br0" timeOffset="22591.15">12078 13600 0,'13'13'0,"14"-13"0,26 13 0,0-13 0,13 0 16,106 0-1,-80 0-15,14 0 0,-13 0 0,26 0 16,13 0-16,-26 0 0,0 0 0,0 0 16,0 0-16,13 0 0,-14 0 15,-12 0-15,13 0 0,-13 0 0,-14-13 16,0 13-16,1 0 0,-14 0 0,-13 0 15,0 0-15,26 0 16,-53 0-16,1-13 0,-14 13 16,0 0-16,-79 13 31,13-13-31,0 0 0</inkml:trace>
  <inkml:trace contextRef="#ctx0" brushRef="#br0" timeOffset="23017.68">12052 13838 0,'-291'53'0,"317"-53"16,1-14-1,26 14-15,-1 0 0,160-26 16,53-1-1,-173 27-15,14 0 16,-13-13-16,105 13 0,-92 0 16,0 0-16,-14-13 0,1 13 15,0 0-15,-1 0 0,1 0 0,66 13 16,-93-13-16,0 0 16,-13 0-16,0 0 0,-14 0 15,1 13-15,0-13 0,26 14 16,-53-14-16,0 0 0,1 0 15,-1 0-15,0 0 0,14 0 16,-14 0-16,-13 13 16,13-13-1,-26 0 17,-27 0-17,27 0-15,0 0 16,-14-27-16</inkml:trace>
  <inkml:trace contextRef="#ctx0" brushRef="#br0" timeOffset="24617.34">13507 6257 0,'66'27'0,"-39"-27"15,12 0-15,1 13 0,13-13 16,0 13-16,0-13 0,0 14 16,26-14-16,-13 0 0,14 0 0,-1 13 15,0-13-15,1 0 0,-1 0 16,80 0-16,-67 0 15,80 13-15,-79-13 0,0 0 0,-14 0 16,14 0-16,-14 0 0,14-13 16,-1 13-16,-12 0 0,-1 0 15,80-13-15,-106 13 0,13 0 16,-13-14-16,0 14 0,-14-13 0,14 13 16,-13-13-16,-14 0 0,14 13 15,-27-14-15,14 1 0,-1 0 0,-13 0 16,14-1-16,-14 1 0,0 0 15,0-13-15,1 12 0,-14-12 0,13-1 16,-13 14-16,0-40 0,0 27 16,0-1-16,0 1 0,0-14 15,-13 1-15,13-1 0,-14 0 0,-25-26 16,12 40-16,1-1 0,-1 1 16,1-1-16,-14-13 15,1 14-15,-14 0 0,0 12 0,0-12 16,-66-14-16,53 14 0,13 13 15,-13-1-15,-1-12 0,1 13 16,-13-1-16,13 1 0,-14 0 0,14 0 16,-13-1-16,-146-12 15,146 26-15,12-13 0,-12 13 16,13 13-16,-13-13 0,12 0 0,-12 13 16,13 0-16,-146 27 15,146-27-15,0 14 16,0-14-16,-53 40 0,66-40 0,0 14 15,0-1-15,0 14 0,-40 13 16,54-14-16,-1-12 16,14-1-16,-1 1 0,-13 39 0,14-40 15,13 1-15,13-1 0,0 27 16,0-26-16,13-14 16,0 27-16,14-14 0,-1-13 0,1 14 15,12-14-15</inkml:trace>
  <inkml:trace contextRef="#ctx0" brushRef="#br0" timeOffset="25517.28">20651 4154 0,'66'0'0,"-53"-13"0,14 13 0,-14 0 16,13 0-16,1-13 0,-14 13 0,13 0 15,-12 0-15,12 0 0,-13 0 16,1 0-16,-1 13 0</inkml:trace>
  <inkml:trace contextRef="#ctx0" brushRef="#br0" timeOffset="25694.06">20809 4299 0,'0'0'16,"27"0"15,-14-13-31,0 13 0,40 0 15,-39-13-15,-1 13 16,0 0-16,0 0 0,0 0 0,14-13 16,-14 13-16,0 0 0,14 0 15</inkml:trace>
</inkml:ink>
</file>

<file path=ppt/ink/ink22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53:28.514"/>
    </inkml:context>
    <inkml:brush xml:id="br0">
      <inkml:brushProperty name="width" value="0.05292" units="cm"/>
      <inkml:brushProperty name="height" value="0.05292" units="cm"/>
      <inkml:brushProperty name="color" value="#0070C0"/>
    </inkml:brush>
  </inkml:definitions>
  <inkml:trace contextRef="#ctx0" brushRef="#br0">9432 3016 0,'-13'0'15,"40"0"-15,-1 0 16,1-13-16,12 13 0,14 0 16,27 0-16,-14-13 0,13 13 0,14 0 0,-1-13 15,1 13-15,-1 0 0,14 0 16,0 0-16,0 0 0,0 0 16,0 0-16,-14 0 0,14 0 0,-27 0 15,1 0-15,-1 0 0,-26 0 0,0 0 16,0 13-16,13-13 15,-53 0-15,1 0 0,-1 0 0,0 0 16</inkml:trace>
  <inkml:trace contextRef="#ctx0" brushRef="#br0" timeOffset="229.93">10081 3241 0,'145'0'0,"-92"-13"0,13 13 0,159-13 16,-146 13 0,1-14-16,-1 14 0,1 0 0,-1 0 15,0 0-15,-26-13 0,13 13 16,-13 0-16,0 0 0,27 0 0</inkml:trace>
  <inkml:trace contextRef="#ctx0" brushRef="#br0" timeOffset="1437.07">21564 3492 0,'0'106'0,"-14"0"16,14-40-16,0 0 0,-13 1 16,13 12-16,0 0 15,0-12-15,0 12 0,-13 0 0,13-13 0,0 14 16,0-14-16,-13 0 0,13 0 0,0 40 15,0-53-15,0-13 16,0 13-16,0-14 0,0 1 16,-14 0-16,14-14 0,0 1 0,0-1 15,0-13-15,0 14 0,0-14 16,-13 0-16,13 0 0,0 1 16</inkml:trace>
  <inkml:trace contextRef="#ctx0" brushRef="#br0" timeOffset="3220.14">21458 6310 0,'0'14'15,"0"-1"-15,0 13 0,0 14 0,26 119 16,-13-80-16,-13 0 16,14 27-16,-1 0 0,-13 13 15,13 0-15,-13 0 0,13 0 0,-13 14 16,0 92-16,0-106 0,0-27 16,0 1-16,0-1 0,0-12 15,0-1-15,0 1 0,0-14 0,-13 0 16,13-13-16,0-14 0</inkml:trace>
  <inkml:trace contextRef="#ctx0" brushRef="#br0" timeOffset="4162.83">21590 9525 0,'0'40'16,"0"-14"-16,0 54 15,0-14-15,0 0 0,13 13 16,-13 80-16,0-66 16,0-14-16,13 14 0,-13-1 0,0 80 15,0-93-15,0 14 0,0-14 16,0 1-16,0-14 0,14 13 15,-14-13-15,0-13 0,0 0 0,0 0 16,13 27-16,-13-41 0,0-12 16,0-14-16,0 13 0,0-12 15,0-1-15,0 0 0,0 0 0</inkml:trace>
  <inkml:trace contextRef="#ctx0" brushRef="#br0" timeOffset="4550.82">21405 11284 0,'26'53'15,"-26"-39"1,13 52-16,14 0 0,-27-26 16,13-1-16,0 27 15,-13-39-15,14-1 0,-14-12 16,13 25-16,0-25 0,-13-1 16,13 0-16,1 0 0,-1-13 15,0 0-15,0 0 0,0 0 16,1-13-16,12 13 0,1-13 0,-14 0 15,13-1-15,-12 14 0,12-13 16,0 0-16,-12 0 16,-1-1-16,0 14 0,0-13 0,1 0 15,-1 13-15,0 0 16,-13-13-16,13 13 0</inkml:trace>
  <inkml:trace contextRef="#ctx0" brushRef="#br0" timeOffset="6273.7">6628 3638 0,'40'0'15,"-14"0"-15,40 0 16,-13-13-16,66 13 16,-40-13-16,-12 13 0,-1-14 15,13 14-15,-26-13 0,0 13 0,0 0 16,0-13-16,0 13 0,-14 0 0,-12-13 15,13 13-15,-27 0 0,13 0 16,-13 0-16,1 0 0,-1 0 0</inkml:trace>
  <inkml:trace contextRef="#ctx0" brushRef="#br0" timeOffset="6709.78">6615 3903 0,'251'-40'0,"-185"27"0,0-1 16,14 1-16,-14 0 0,13 0 0,-13 0 15,0-1-15,53-12 0,-79 26 16,13-13-16,-13 13 0,-1-14 16,-12 14-16,-1 0 0,-12-13 15,12 13-15,-13 0 0,14-13 16,-14 13-16,0 0 0,14 0 16,-14 0-1,0 0-15,0-13 16,1 13 15,-1 0-15,0-14 46</inkml:trace>
  <inkml:trace contextRef="#ctx0" brushRef="#br0" timeOffset="7374.4">16933 2871 0,'-13'0'0,"40"13"16,-14-13-16,13 0 0,54 13 16,-41-13-16,-12 0 15,12 13-15,28-13 0,-41 0 16,14 0-16,-14 0 0,-13 0 15,14 0-15,-14-13 0,0 13 0,1 0 16,-1 0-16</inkml:trace>
  <inkml:trace contextRef="#ctx0" brushRef="#br0" timeOffset="7593.9">17092 3003 0,'27'13'16,"-14"-13"-16,0 0 15,13 0-15,27-13 0,-13 13 0,0-13 16,13 13-16,-14-13 0,14-1 16,-13 14-16,13-13 0,-13 0 15,12 13-15,-25-13 0,-14 13 16,0 0-16,-39-14 16,-53 1-1,-1 26-15,-12-13 0,-27 0 16,-27 0-16</inkml:trace>
  <inkml:trace contextRef="#ctx0" brushRef="#br0" timeOffset="8327.6">1535 3717 0,'53'14'31,"-14"-14"-31,1 0 0,105 0 16,-92 0-1,80-14-15,-67 1 0,-13 13 16,0-13-16,-1 13 0,1-13 16,0 13-16,-13-14 0,0 14 0,-14 0 15,-13 0-15,14 0 0</inkml:trace>
  <inkml:trace contextRef="#ctx0" brushRef="#br0" timeOffset="8543.29">1892 4061 0,'251'-92'0,"-52"39"16,-133 26-16,0 1 0,13 13 16,-13-1-16,14 1 0,-14-13 0,0 26 15,66-27-15,-66 27 16,1-13-16</inkml:trace>
  <inkml:trace contextRef="#ctx0" brushRef="#br0" timeOffset="9520.37">21352 833 0,'0'14'15,"0"-1"-15,0 0 0,13 0 0,-13 1 16,0 12-16,0 0 0,0-12 15,0 12-15,13 1 0,-13-14 0,0 0 16,0 14-16,0-14 0,0 13 16,0 1-16</inkml:trace>
  <inkml:trace contextRef="#ctx0" brushRef="#br0" timeOffset="9959.43">21206 714 0,'27'40'31,"-14"-40"-15,0 13-16,14 14 0,-14-14 0,13 0 15,1 14-15,-1-14 0,1 13 16,-1-12-16,1 12 0,-1-13 0,1 14 16,-14-14-16,0 0 0,0 0 15,1 1-15,-1-1 16,-13 0-16,13-13 0,-13 13 0,0 14 15,0-1-15,-13-13 0,13 1 16,-27 12-16,14 1 16,0-14-16,13 0 0,-13 0 15,-14 14-15,14-14 0,0 0 16,-1 0-16,1 1 16,13-1-1</inkml:trace>
  <inkml:trace contextRef="#ctx0" brushRef="#br0" timeOffset="10774.76">22185 886 0,'-39'0'0,"25"0"0,1 0 0,-27 14 16,14-1 0,13-13-16,0 0 0,13 13 15,-14 0-15,1-13 0,13 13 16,0 1-16,13-1 15,-13 0-15,14 0 0,-1-13 16,0 14-16,13-1 0,-26 0 16,14 0-16,-1-13 15,0 14-15,0-14 0,-13 13 16,14 0-16,-14 0 16,-14 0-16,1 1 15,13-1-15,-13-13 0,0 13 16,-1-13-16,1 13 0,0-13 0,0 0 15,0 0-15,-1 14 0,1-14 16,0 0-16,0 0 16,13-14-1</inkml:trace>
  <inkml:trace contextRef="#ctx0" brushRef="#br0" timeOffset="11124.85">22331 873 0,'-80'13'16,"67"1"-16,13 12 31,13-13-31,1 0 0,12 1 15,-13-1-15,1-13 0,12 40 16,-13-40-16,1 13 16,-1 0-16,-13 0 15,0 1 1,0-1-16,-13 0 16,-1 0-16,1-13 0,0 13 0,0 1 15,-1-14-15,1 13 0,0-13 16,0 13-16,-1 0 0,1-13 15,0 0-15,0 0 0</inkml:trace>
  <inkml:trace contextRef="#ctx0" brushRef="#br0" timeOffset="12259.04">22635 952 0,'-13'-13'0,"13"40"47,0-14-31,0 0-16,13 27 15,-13-27-15,13 0 16,-13 1-16,14-14 15,-14 13-15,13-13 16,0 0-16,0-13 0,0 13 16,1 0-16,-1-14 15,0 1-15,0 13 0,1-13 16,-1 13 0,0 13-1,0-13-15,-13 13 16,14-13-16,-14 14 15,13-14-15,0 13 16,0-13-16,0 0 0,1-13 16,-1-1-1,0 1-15,0 13 0,-13-13 16,14 0-16,-14-1 0,13-12 16,-13 13-16,13-14 15,-13 14-15,0 0 0,0 0 16,13-1-16,-13 1 15,-26 40 1,13-14-16,-14 0 16,1 13-16</inkml:trace>
  <inkml:trace contextRef="#ctx0" brushRef="#br0" timeOffset="12782.92">21431 1786 0,'27'-13'0,"-14"13"0,-13-14 16,13 14-16,0 0 0,1 0 15,-14 14-15,0-1 0,0 0 16,0 14-16,-14-14 16,1 13-16,0 14 15,0-27-15,13 0 0,-14 1 16,14-1-16,-13 13 16,13-12-16,0-1 15,13-13-15,-13 13 16,14-13-16,-1 0 0,13 0 15,-12 0-15,-1 0 0,0 0 16,0-13-16,1 13 0,-1 0 16,0-13-16,0 13 0,-13-14 0,13-12 15</inkml:trace>
  <inkml:trace contextRef="#ctx0" brushRef="#br0" timeOffset="12994.62">21616 1654 0,'53'26'15,"14"67"1,-67-67-16,0-13 0,13 14 0,-26-1 0,13 1 16,0-1-16,-14 1 0,14-14 15,-13 13-15,13-12 0,-26 25 16,12-12-16,14-14 15</inkml:trace>
  <inkml:trace contextRef="#ctx0" brushRef="#br0" timeOffset="13347.35">22119 1707 0,'-53'0'0,"40"13"32,26 13-17,-13-13-15,0 1 0,13-1 16,-13 13-16,14-12 0,-1 12 15,0-13-15,-13 14 16,13-14-16,-13 0 0,0 0 16,0 1-16,-13-1 15,13 0-15,-13 0 0,0 1 0,-1-14 16,1 13-16,0-13 16,0 0-16,0 0 15,-1 0-15,14-13 16</inkml:trace>
  <inkml:trace contextRef="#ctx0" brushRef="#br0" timeOffset="13687.24">22304 1693 0,'-13'0'15,"0"14"-15,0-1 16,26 0 0,-13 0-16,0 0 0,13 1 15,-13-1-15,13 0 0,1 0 16,-14 1-16,13-1 0,0 0 0,-13 0 0,13 1 16,1-1-1,-14 0-15,0 0 0,0 0 16,-14 14-16,1-27 15,13 13-15,-26 0 0,26 1 16,-27-1-16,1-13 16,12 0-16,1 0 0,13 13 15,-13-13-15,0 0 0,0 0 16,13-13 0</inkml:trace>
  <inkml:trace contextRef="#ctx0" brushRef="#br0" timeOffset="14159.12">22648 1588 0,'14'13'0,"-14"0"16,0 0-16,0 0 0,13 14 15,-13 26-15,0-27 16,0 1-16,0-1 0,0-13 0,0 14 15,13-14-15,-13 14 0,0-14 0,0 0 16,0 0-16,0 0 0,0 1 16,0-1-16,0 0 15</inkml:trace>
  <inkml:trace contextRef="#ctx0" brushRef="#br0" timeOffset="14522.95">22714 1627 0,'27'-26'0,"-14"39"16,0-13-16,1 13 15,-14 0-15,-14 1 16,14-1-16,0 0 0,-13 0 16,13 1-1,0-1-15,0 0 16,13-13-16,-13 13 0,14 0 0,-1 1 16,-13-1-1,13 0-15,0 0 0,-13 14 16,0-14-16,0 0 15,-13 1-15,13-1 0,-13-13 0,0 13 16,-1 0-16,1 0 0,0 1 16,-14-1-16,1 0 0,13-13 15</inkml:trace>
  <inkml:trace contextRef="#ctx0" brushRef="#br0" timeOffset="15274.09">21524 2474 0,'13'-13'0,"0"-1"0,1 14 15,-1 0-15,0 14 16,0-14-16,-13 13 16,0 0-16,-13 0 15,13 1-15,-13-1 0,13 0 16,-13-13-16,13 13 0,0 0 15,13 1 1,-13-1-16,13-13 0,0 13 0,14 0 16,-27 1-16,13-14 15,0 13-15,-13 0 0,13 0 0,-13 1 16,0-1-16,0 0 16,0 0-16,0 0 0,-13 1 15,13-1-15,-13 0 0,-14 0 16,1 1-16,13-1 15,0-13-15,-1 0 0,1 0 16,0 0-16,0-13 16,13-1-1</inkml:trace>
  <inkml:trace contextRef="#ctx0" brushRef="#br0" timeOffset="15591.24">21749 2183 0,'185'159'15,"-159"-133"-15,1 27 0,-14-13 16,14 39-16,-27-39 16,13-1-16,-13 14 0,0-26 0,-13 52 15,13-52-15,-14 39 16,1-40-16,0-13 0,13 14 16,-13-14-16,13 0 0,-14 1 0,1-14 15,13 13-15,-13 0 0,0-13 16,13 13-16</inkml:trace>
  <inkml:trace contextRef="#ctx0" brushRef="#br0" timeOffset="16382.52">22662 2447 0,'-53'0'0,"39"0"0,1 0 16,0 14-1,13-1 1,13 0-16,-13 0 15,27 14 1,-14-27-16,0 13 0,0 0 0,-13 0 16,14-13-16,-1 14 0,-13-1 15,0 0-15,13 0 0,-26-13 16,13 27-16,-13-14 0,-1 0 16,1 1-16,0-14 0,-14 13 15,14 0-15,-13-13 0,12 13 16,-12 0-16,13-13 0,0 0 0,-1 0 15,1 0-15,26-26 32</inkml:trace>
  <inkml:trace contextRef="#ctx0" brushRef="#br0" timeOffset="16699.96">22873 2394 0,'-53'0'16,"40"14"-16,0-1 15,26 13 1,-13-12-16,13-1 0,1 0 16,-1 0-16,0 1 0,0-1 15,-13 0-15,13 0 0,-13 0 16,14 1-16,-14-1 0,0 0 0,0 0 15,0 1-15,0-1 0,-14 0 16,-12 14-16,13-14 16,0 0-16,-1-13 0,1 13 0,-13 0 15,12-13-15,1 0 16,0 14-16,0-14 0,-1 0 16,14-14-16</inkml:trace>
  <inkml:trace contextRef="#ctx0" brushRef="#br0" timeOffset="17162.86">23085 2381 0,'-13'0'0,"39"13"16,-13-26-16,27 13 16,-13-13-16,-1 13 0,-13-13 0,14 13 15,-1-13-15,1-1 0,-14 1 16,26-13-16,-25 12 0,-14 1 15,13 0-15,0 13 0,-13-13 0,13-1 16,1 1 0,-28 40-1,1-14-15,13 13 0,-13 1 16,0-1-16,-1 14 16,1 0-16,0-1 0,13 1 0,-13 0 15,13-1-15,-13 1 0,13-13 0,0 12 16,0 1-16,0-14 15,0-12-15,0-1 0,0 0 0,0 0 16,0 1-16,0-1 0,13-13 16,-13 13-16,13-26 31</inkml:trace>
  <inkml:trace contextRef="#ctx0" brushRef="#br0" timeOffset="19916.06">8334 4630 0,'40'-13'15,"-13"13"-15,12 0 0,67-13 16,-40 0-16,14 13 0,-14-14 16,0 1-16,13 13 0,-13-13 0,1 0 15,-1 13-15,79-27 16,-118 27-16,26-13 15,-27 13-15,14 0 16,-27 0-16,-53-13 31,1 26-15</inkml:trace>
  <inkml:trace contextRef="#ctx0" brushRef="#br0" timeOffset="20552.57">8440 4710 0,'-53'0'0,"93"0"16,92-14-1,-79 14-15,13-13 16,0 13-16,1-13 0,-1 0 0,0-1 16,0 1-16,-13 13 15,0-13-15,0 13 0,0-13 0,-14 13 16,-12-13-16,-1 13 0,1 0 0,-1 0 15,-13 0-15,1 0 0,-1-14 16,0 14-16,0 0 0,1 0 0,-1 0 16,0 0-1,0 0-15,1 0 16,-1 0 0,0 0 30,0 0 1,-39 14 188,13-14-220,-1 0 1</inkml:trace>
</inkml:ink>
</file>

<file path=ppt/ink/ink22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53:53.307"/>
    </inkml:context>
    <inkml:brush xml:id="br0">
      <inkml:brushProperty name="width" value="0.05292" units="cm"/>
      <inkml:brushProperty name="height" value="0.05292" units="cm"/>
      <inkml:brushProperty name="color" value="#0070C0"/>
    </inkml:brush>
  </inkml:definitions>
  <inkml:trace contextRef="#ctx0" brushRef="#br0">2103 10901 0,'40'0'0,"-13"0"0,-1 0 0,27-13 15,13 13-15,13 0 0,1-14 0,-1 14 16,14-13-16,-1 13 0,14-13 0,-13 13 15,105-13 1,1-1-16,-107 14 0,1-13 16,-14 13-16,14-13 0,-27 13 0,13 0 15,-26-13-15,0 13 0,0 0 16,-26 0-16</inkml:trace>
  <inkml:trace contextRef="#ctx0" brushRef="#br0" timeOffset="249.5">2805 11311 0,'0'0'15,"119"-13"-15,-66-1 16,13 14-16,13-13 0,0 0 15,67 0-15,26 0 16,-79 13-16,-14-14 0,14 14 0,-1 0 16,-12 0-16,-1-13 15,0 13-15,1 0 0,-1 0 0,0 0 0,-12 0 16</inkml:trace>
  <inkml:trace contextRef="#ctx0" brushRef="#br0" timeOffset="933.29">6204 11271 0,'120'-13'16,"-68"13"-16,15 0 0,-1-13 0,13 13 15,14 0-15,-1-13 0,27 13 16,120 0-16,-107 0 0,13 0 0,133 0 16,-146 0-1,14-14-15,-14 14 0,14 0 0,-14 0 16,-26 0-16,0 0 0,105-13 0</inkml:trace>
  <inkml:trace contextRef="#ctx0" brushRef="#br0" timeOffset="1252.43">9313 11271 0,'133'0'0,"740"-26"15,-701 13-15,172-14 0,-159 14 16,0 0-16,199-1 16,-186 1-16,1 0 0,-1 13 15,0-13-15,1-1 0,185 1 16,-199 0-16</inkml:trace>
  <inkml:trace contextRef="#ctx0" brushRef="#br0" timeOffset="1568.26">17912 10980 0,'543'-53'0,"-279"27"16,14-1-16,-146 14 15,14 13-15</inkml:trace>
  <inkml:trace contextRef="#ctx0" brushRef="#br0" timeOffset="4054.91">4379 12965 0,'40'26'0,"-14"-26"0,0 0 15,27 13-15,-13-13 0,26 0 16,93 14-16,39-28 16,-105 14-16,13 0 0,39 0 15,-12-13-15,12 13 0,1-13 0,145 0 16,-146 13-16,-12 0 0,-1-14 16,93 14-16,-14-13 15,-118 13-15,0 0 0,-14 0 16,0 0-16,-13-13 0</inkml:trace>
  <inkml:trace contextRef="#ctx0" brushRef="#br0" timeOffset="4306.96">6773 13057 0,'424'-26'15,"-345"13"-15,0 13 0,107-14 16,12 14-16,-105-13 16,-1 13-16,213 0 15,-200 0-15,-12 0 0,119-13 16,13 0-1,-106 13-15</inkml:trace>
  <inkml:trace contextRef="#ctx0" brushRef="#br0" timeOffset="7649.68">8070 12753 0,'13'0'0,"13"13"16,-12-13 0,-1 13-16,13-13 0,1 14 15,-1-14-15,27 13 16,0 0-16,27 0 16,-54-13-16,14 0 0,-14 0 0,1 0 15,-1 0-15,14 0 0,13-13 16,-27 0-16,40-14 15,-26 1-15,-27 13 16,0-14-16,14 14 0,-14 0 0,0-27 16,1 27-16,-1 0 0,0-27 15,-13 27-15,13-1 16,-13-12-16,13 0 0,-13-1 16,0 14-16,0-27 0,0 14 15,0-1-15,0 1 16,0-1-16,0-26 0,0 40 15,-13-40-15,13 27 0,-13-1 16,13 14-16,-13-13 16,0-14-16,-40-53 15,-27 27 1,54 53-16,-1 0 16,-12-14-16,-1 14 0,13 0 0,-52 0 15,39-1-15,-12 14 0,12-13 16,0 13-16,-39 0 15,39 0-15,-13 13 0,13-13 0,-52 14 16,39-1-16,-26 13 16,39-12-16,0-1 0,-39 26 15,52-12-15,-26 26 16,1 13-16,38-26 16,-12 39-16,13-39 15,-1-1-15,28 41 0,-14-41 0,13 1 16,0 0-16,0 0 0,14 12 15,-1-12-15,1 0 0,52 39 16,14-26-16,-40-26 16,39 12-16,-52-12 15,0-14-15,92 13 16,-92-26-16,39 14 0,14-28 16,-54 1-16</inkml:trace>
  <inkml:trace contextRef="#ctx0" brushRef="#br0" timeOffset="9587.2">8004 13388 0,'-119'93'16,"105"-67"-16,1 0 0,0 1 15,13-14-15,0 0 0,0 1 0,0-1 16,13 0-16,-13 0 0,13 0 16,1 1-16,-1-1 0,0-13 0,0 13 15,14-13-15,-14 13 0,0-13 16,14 0-16,-14 0 0,0 0 0,14-13 15,-14 13-15,0-13 0,0 13 0,0-13 16,1-1-16,-1 1 16</inkml:trace>
  <inkml:trace contextRef="#ctx0" brushRef="#br0" timeOffset="9830.87">8229 13520 0,'0'40'0,"13"0"16,-13-27-1,0 0-15,13 0 0,-13 0 16,0 1-16,13-14 0,-13 13 0,13 0 16,1 0-1,-1-13-15,0-13 16,0-13 0,-13 12-16,14 14 15,-14-13-15,0 0 0,0 0 16,13 13-16,-13-13 0,0-1 15,26 1-15,27-40 16</inkml:trace>
  <inkml:trace contextRef="#ctx0" brushRef="#br0" timeOffset="10667.84">11139 12912 0,'53'0'16,"-27"0"-16,1 0 0,-1 0 0,27 0 15,-13-14-15,66 14 0,-53 0 16,0-13-16,-1 13 0,1 0 15,0 0-15,0 0 0,-13 0 0,-14 0 16,14 0-16,-14-13 16,1 13-16,13 0 0,-27 13 0,0-13 15,0 0-15,1 0 0,-1 0 16,0 0-16,0 0 0,0 0 16,1 0-16,-1 0 15,0 13-15,0-13 0,1 0 0,-1 0 16</inkml:trace>
  <inkml:trace contextRef="#ctx0" brushRef="#br0" timeOffset="11242.8">12832 12872 0,'53'0'0,"27"0"15,-41 0-15,14 0 0,0 0 16,13 0-16,-13 13 0,13-13 0,0 0 16,14 0-16,-14 0 15,66 0-15,-52 0 0,-14 0 0,-13 0 16,26 0-16,-13 0 16,0 0-16,-13 0 0,0-13 0,0 13 15,0 0-15,-13 0 0,-14 0 0,27 0 16,-40 0-16,27 0 15,-27 0-15,0 0 16,-13 13 15</inkml:trace>
  <inkml:trace contextRef="#ctx0" brushRef="#br0" timeOffset="12035.35">16814 12872 0,'53'-13'0,"-26"13"0,26 0 16,-1 0-16,1 0 0,14-13 15,-1 13-15,13 0 0,14-14 0,-1 14 16,1-13-16,-1 13 0,14-13 15,27 13-15,-28 0 0,15-13 0,-15 13 16,1 0-16,-13 0 0,13-14 16,-14 14-16,1 0 0,-1 0 15,-12 0-15,-14 0 0,0 0 0,-26 14 16,13-14-16,-14 0 0,-12 13 0,-14-13 16,0 0-16,1 0 0,-1 13 15</inkml:trace>
  <inkml:trace contextRef="#ctx0" brushRef="#br0" timeOffset="12466.34">17211 13163 0,'146'-13'0,"39"0"16,-119-1 0,13 14-16,-12-13 0,12 13 15,0 0-15,-13-13 0,14 13 0,-1 0 16,1 0-16,-28-13 0,15 13 16,-14 0-16,52 0 0,-65 0 15,0 0-15,-1 0 0,-25 0 0,12 0 16,-13 0-16,14 0 0,-14 0 15,0 0-15,14 0 0,-14 0 16,0 0 0,0 0-1,-26-27 32,0 27-31,13-13-1,0 0 1,13 13 0</inkml:trace>
</inkml:ink>
</file>

<file path=ppt/ink/ink22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54:13.013"/>
    </inkml:context>
    <inkml:brush xml:id="br0">
      <inkml:brushProperty name="width" value="0.05292" units="cm"/>
      <inkml:brushProperty name="height" value="0.05292" units="cm"/>
      <inkml:brushProperty name="color" value="#0070C0"/>
    </inkml:brush>
  </inkml:definitions>
  <inkml:trace contextRef="#ctx0" brushRef="#br0">17304 2619 0,'238'-26'0,"-185"13"0,-14 13 15,54-14-15,-53 14 0,13 0 16,-27 0-16,1 0 15,-14 0-15,13 0 0,-12 0 0,-1 0 16</inkml:trace>
  <inkml:trace contextRef="#ctx0" brushRef="#br0" timeOffset="273.62">17119 2765 0,'66'0'16,"-40"0"-16,67-13 15,-40-1-15,39 14 16,-39-13-16,0 13 0,-13-13 16,66 13-16,-27-13 15,-39 13-15,-14 0 0,1 0 16,-1-13-16,-13 13 15,14 0-15,-14 0 0,0 0 16,0 0-16</inkml:trace>
  <inkml:trace contextRef="#ctx0" brushRef="#br0" timeOffset="8007.82">2844 4882 0,'27'0'31,"-1"0"-15,-13 0-16,-13-14 16</inkml:trace>
  <inkml:trace contextRef="#ctx0" brushRef="#br0" timeOffset="8543.25">2937 5622 0,'-13'0'16,"39"-13"0,-13 13-16,1-13 0,-1 13 15,0-13-15,0 13 16,0 0-16</inkml:trace>
  <inkml:trace contextRef="#ctx0" brushRef="#br0" timeOffset="8921.21">2924 6019 0,'13'-13'0,"-13"0"0,26 13 15,1-13 1</inkml:trace>
  <inkml:trace contextRef="#ctx0" brushRef="#br0" timeOffset="9339.87">2884 6654 0,'13'-13'0,"0"13"0,1-13 16</inkml:trace>
  <inkml:trace contextRef="#ctx0" brushRef="#br0" timeOffset="9540.79">3016 6959 0,'40'-14'16</inkml:trace>
  <inkml:trace contextRef="#ctx0" brushRef="#br0" timeOffset="19234.25">3757 4882 0,'13'13'15,"1"-13"-15,-1 0 16,0 0-16,-13 13 16,40-13-1,-27 0-15,0 0 0,27 0 16,-27 0-1,0 0-15,1 13 0,-1-26 0,0 13 16,0 0-16,0 0 0,1 0 16,-1 0-16,27-13 15,-27 13-15,0-13 0,0 13 0,1-14 16,-1 14-16,-13-13 0,39 0 16,-25 13-16,-14-13 15,13 13-15,0 0 0,-13-14 16,13 14-16,-13-13 0,14 13 0,-1-13 15,-13 0 1,13 13-16,-13-14 0,13 1 16,-13 0-16,13 0 15,-13 0 1,0-14 0,0 1-1,-13 12 1,13 1-16,0 0 0,-13 13 0,13-13 15,-13 0-15,0-14 16,-1 14-16,1 0 16,0-1-16,0 1 15,-1 0 1,1 13-16,13-13 0,-26-1 16,13 14-1,-14-13 1,14 0-16,0 13 0,-1 0 15,-12-13-15,13 13 16,-1 0-16,14-13 0,-13 13 0,0 0 16,0 0-16,0 0 0,-1 0 15,-12 0 1,13 0-16,-1 0 0,1 0 0,0 0 16,0 13-16,-1-13 0,1 0 15,0 0-15,-13 13 16,12 0-16,1 0 15,0-13-15,13 14 0,-13-14 16,-1 13-16,1 0 16,13 0-16,-13 1 0,13-1 0,-13 0 15,13 0-15,-14 14 0,14-14 0,0 0 16,-13 0-16,13 1 0,0 12 16,-13 1-16,13-1 0,0-13 15,0 14-15,0-14 0,0 13 0,0-12 16,0 12-16,13 1 0,-13-14 15,0 13-15</inkml:trace>
  <inkml:trace contextRef="#ctx0" brushRef="#br0" timeOffset="22941.12">5331 7435 0,'14'-13'31,"-28"-1"1,1 1-17,0 0-15,0 0 16,-1 13-16,1-14 0,0 1 15,0 13-15,0-13 0,-1 0 0,1 13 16,-13-14-16,12 1 0,-25 0 16,-1 0-1,27 13-15,-14 0 0,1 0 0,-1 0 16,-26 0-16,14 0 0,-27 13 16,39 0-16,-13 0 15,14 1-15,0-14 0,-1 13 0,-13 13 16,14-12-16,0-1 0,12 13 15,1-12-15,0-1 0,0 0 0,-1 13 16,14-12-16,-13-1 0,13 13 0,0 1 16,0-14-16,13 14 0,-13 12 15,14-12-15,25 26 16,-25-14-16,12-12 0,0-1 0,27 14 16,-26-14-16,-1-12 0,1 12 15,12-13-15,-12 1 0,39 12 16,-40-26-16,14 13 0,-13-13 15,-1 0-15,1 0 0,12 0 0,94-26 32,-94 13-32,-12-1 0,12 1 15,-12 0-15,-1-14 0,1 14 0,-1 0 16,-13-14-16,1 14 0,-1 0 0,0 0 16,0-14-16,1 14 0,-1 0 15,0 0-15,-13-1 0,13-12 0,-13 13 16,13-1-16,-13 1 0,14-13 0,-14 13 15,0-27-15,0 27 16,13-1-16,-26-12 0,13 13 16,0-14-16,0 14 0,0 0 0,-14-14 15,14 14-15,0 0 16,-13 0-16,13-1 0,-13-12 0,13 13 0,-13-1 16,0 1-16,-1 0 0,1 0 0,0 0 15,0-1-15,-27-12 16,27 13-16,0-1 0,-14 14 15,14-13-15,0 0 0,-1 13 0,1-13 16,0 13-16,0 0 16,-1-13-16,1 13 0,0 0 15,0 0-15,0 0 16,-1 13 0,14 0-16,0 0 0</inkml:trace>
  <inkml:trace contextRef="#ctx0" brushRef="#br0" timeOffset="34708.76">5305 7845 0,'40'-40'0,"-27"40"0,-13-13 0,13 0 16,-13 0-16,13-1 16,-13 1-16,0 0 0,0 0 15,0-14-15,0 1 0,0 12 16,-13-12-16,0 0 0,0-14 15,-27-13-15,27 26 0,-14 1 16,1 0-16,-1-1 0,1 14 0,-1 0 16,1-1-16,-1 1 0,1 13 15,-14 0-15,14 0 0,-14 0 0,0 13 16,1 1-16,-1-1 0,0 13 16,-13 1-16,27-14 0,-14 27 0,-26 13 15,40-14-15,-1 27 16,14-26-16,13 0 0,0 0 15,0-14-15,0 14 0,13-14 16,-13 14-16,27-14 0,-14 1 0,0-1 16,0 1-16,14-14 0,-14 13 0,0-12 15,14-1-15,-14-13 0,0 13 16,14 0-16,-14-13 0,0 0 16,0 0-16,1 0 0,-1 0 0,0 0 0,0-13 15,1 13-15,-1-13 0</inkml:trace>
  <inkml:trace contextRef="#ctx0" brushRef="#br0" timeOffset="36253.98">8692 4670 0,'13'0'0,"13"0"15,1 0 1,-1 0-1,-13 0 1,1 0-16</inkml:trace>
  <inkml:trace contextRef="#ctx0" brushRef="#br0" timeOffset="36422.19">8718 4723 0,'13'13'31,"14"-13"-15,-14 0-16,0-13 0,0 13 15,1 0-15,-1 0 0,0 0 16</inkml:trace>
  <inkml:trace contextRef="#ctx0" brushRef="#br0" timeOffset="37867.87">9538 4683 0,'27'0'16,"-14"0"-1,0 0-15,0 0 16,1 0-16,-1 0 0,13-13 16,-39 39 31,-13-12-32,12-1-15,1-13 16,0 0-16,0 13 0,-14-13 15,27 13-15,-13-13 16,39 0 31,-12 0-31,-1-13-16,0 13 0,0 0 15,1 0 1,-1 0-1,0 0 17,0-13 46,1 0-63</inkml:trace>
  <inkml:trace contextRef="#ctx0" brushRef="#br0" timeOffset="39202.5">11112 7316 0,'0'-80'0,"0"67"0,0 0 15,0-40 1,-13 27-16,13-1 0,-13-13 0,13 1 16,-13 12-16,0 1 0,-1 13 15,1-14-15,0 14 0,-14-14 16,14 14-16,0 13 0,-13 0 0,-1 0 16,-13 13-16,1 1 0,-1 12 15,-13 1-15,13-1 0,-13 14 16,-13 39-16,27-26 0,12-13 0,1 13 15,-1-1-15,14-12 0,13 0 16,-13 0-16,13-1 0,0 1 0,26 39 16,27-13-1,-13-26-15,0-13 0,79 12 16,-66-25-16,-1-1 16,1-13-16,66-13 0,-52-1 15,-15 1-15,15-13 0,-28-1 16,1 14-16,13-14 0,-27 1 0,54-53 15,-67 52-15,0-13 16,-13 14-16,0 0 0,0-1 16,0 1-16,-13-14 0,0 0 0,0 14 15,-14-1-15,1 1 0,-27-27 16,26 27-16,1 12 0,-14 1 16,14 0-16,-1 0 0,-13-1 15,-12 14-15,38-13 0,-12 13 16,-1 0-16,1 0 0,0 0 15,12 0-15,-12 0 0,13 0 0,-1 0 16,1 0-16,0 0 0,0 0 0,-1 0 16,1 0-16,0 0 15,0 0-15,0 13 16,-1-13-16,1 0 16,13 14-1</inkml:trace>
  <inkml:trace contextRef="#ctx0" brushRef="#br0" timeOffset="40253.87">12991 4736 0,'27'-13'16,"-27"0"-16,13 13 0,0 0 0,0 0 15,14-14-15,-14 14 0,0 0 16,0-13-16,1 13 0,25 0 15,-26 0 1</inkml:trace>
  <inkml:trace contextRef="#ctx0" brushRef="#br0" timeOffset="40884.71">12978 4789 0,'40'-13'47,"-1"13"-31,-12 0-16,-14 0 0,13-14 0,-12 14 15,-1 0-15,13 0 0,-13 0 16,1-13-16,-1 13 0,27 0 16,-27 0-1,13 0 1,-12-13-1,-1 13 17,0 0 46,0-13 187,40 0-233,-40 13-32</inkml:trace>
  <inkml:trace contextRef="#ctx0" brushRef="#br0" timeOffset="41639.82">13904 4696 0,'0'0'0,"40"0"15,-27 0 1,0 0-16,0-13 0,14 13 16,-14 0-16,0-13 0,14 13 0,-14-13 15,13-1-15,-12 14 0,-1-13 16,13 0-16,-13 0 0,1 0 15,12-1-15,-13 1 0,14-27 0,-14 27 16,0-13-16,1 12 16,-14-12-16,13 0 0,-13-14 15,0 13-15,0 14 0,0-13 0,-13 12 16,13-12-16,-14 13 0,1 0 16,-13-1-16,12 1 0,1 0 0,-13 0 15,-1-1-15,1 14 0,-1 0 0,-12 0 16,12 0-16,-13 0 0,1 0 15,-1 14-15,14-14 0,-14 13 0,0 0 16,14 14-16,-1-14 0,1 13 16,-1-13-16,14 14 0,-13-1 0,12 1 15,1-1-15,13 1 0,-13-14 16,13 13-16,0 1 0,0-14 0,13 14 16,-13-1-16,13-13 0,1 14 15,-1-14-15,0 13 0,0-12 0,27 12 16,-27-13-16,14 1 15,-1-1-15,1-13 0,-1 0 0,1 13 16,-1-13-16,1 0 0,-14 13 0,13-13 16</inkml:trace>
  <inkml:trace contextRef="#ctx0" brushRef="#br0" timeOffset="42653.02">14896 7474 0,'251'-26'15,"-211"13"-15,0 13 0,-1-13 0,1-1 16,0 14-16,-14-13 0,27 13 16,-40-13-16,1 13 15,-41 13 17,14 0-32,-13-13 0,-14 14 0,0-1 15,0 0-15,-118 27 16,78-27-1,41 0-15,12 0 16,40-13 15,1 0-31,12 0 16,-13 0-16,67-13 16,-14 13-16,-40 0 0,40-13 15,-39 13 1,13-13-1,-27 13-15,0 0 16,-13-14 0</inkml:trace>
  <inkml:trace contextRef="#ctx0" brushRef="#br0" timeOffset="43665.01">8586 11192 0,'39'0'0,"-12"0"15,-1 0-15,186-13 16,-27-1-16,-79 14 16,132 0-16,159-13 15,-265 0-15,-26 13 0,40-13 16,-40 13-16,-14 0 0,107 0 15,-94-14-15,-25 14 16,12 0-16,-12 0 0,-27 0 0,0 0 16,-1 0-16,-25 0 0,-1 0 0,-12 0 15,-1 0-15,-13 14 0</inkml:trace>
  <inkml:trace contextRef="#ctx0" brushRef="#br0" timeOffset="43930.22">8625 11404 0,'93'0'0,"-40"0"15,198-14 1,-52 14-16,-67 0 0,0-13 0,1 13 15,197-13 1,54 0 0,-305 13-16,-12-14 0,-1 14 0,-27 0 15,14 0-15,-13 0 16,-14 0-16,1-13 0,-1 13 0,1 0 16</inkml:trace>
  <inkml:trace contextRef="#ctx0" brushRef="#br0" timeOffset="47043.78">5001 8123 0,'0'26'16,"-14"-13"-16,14 1 16,0 12-1,-13-13-15,13 1 0,0-1 16</inkml:trace>
  <inkml:trace contextRef="#ctx0" brushRef="#br0" timeOffset="48818.78">10993 7951 0,'0'26'16,"0"-13"-16,14 27 16,-14-27-16,0 14 0,0-14 15,13 13-15,-13 1 0,0-1 16,0 14-16,0 13 0,13-27 16,-13 1-16,0-1 0,0 1 0</inkml:trace>
  <inkml:trace contextRef="#ctx0" brushRef="#br0" timeOffset="54024.92">15333 8057 0,'0'79'0,"0"-53"16,0-12-16,0 12 0,0-13 16,0 1-16,0 12 0,0-13 0,0 0 15</inkml:trace>
  <inkml:trace contextRef="#ctx0" brushRef="#br0" timeOffset="54720.99">15306 8057 0,'-79'79'16,"66"-66"-16,-1 0 0,1 1 15,0-1 1,39-40 15,-26 14-31,14 13 16,-1-13-16,13 0 15,-13-1-15,40 14 16,-39 0-16,-1 14 16,0-1-16,0-13 0,1 13 15,-14 0-15,13 14 0,0-27 0,-13 26 16,13-12-16,0-1 0</inkml:trace>
  <inkml:trace contextRef="#ctx0" brushRef="#br0" timeOffset="110080.24">16722 9710 0,'211'-13'0,"-171"13"0,119 0 16,-252 26-1,14-12 1,-1-1-16,41 0 0,-1 0 15,14-13-15,12 0 16,1 14-16,0-14 0,13 13 16,13-13-1,0 0-15,1 13 0,-1-13 16,0 0-16,14 0 0,12 0 16,-12-13-16,12 13 0,-12 0 15,-14 0-15,13 0 0,1 0 16,-14 0-16,0 0 15,1 0-15,-1 0 16,0 0-16,0 0 16,1 0-1,-1 0 1,-40 13 15,1-13-15,13 13-16,-54 0 0,41 1 0,-14-1 15,-145 40 1,106-27-16,-278 54 16,251-54-16,-13-13 15,13 14-15,-119 26 0,-13-14 16,119-12-16,13-1 0,-79 1 16,105-1-16,1-12 15,-80 12-15,93 0 16,0-12-16,-53 12 0,39 1 15,41-14-15,-1-13 16,-26 26-16,53-26 16,-14 14-16,1-14 0,13 0 15,-14 13-15,14-13 0,0 0 16,-1 0-16,1 0 16,0 13-1</inkml:trace>
  <inkml:trace contextRef="#ctx0" brushRef="#br0" timeOffset="110414.27">14340 10186 0,'-52'27'15,"25"-1"-15,-66 41 16,41-28-16,-15 27 16,54-39-1,0-1-15,13-12 0,0 12 16,13-13-16,0 0 0,1 1 16,52 12-16,-27-13 15,1-13-15,0 14 0,13-14 16,-14 13-16,54-13 0,-53 13 15,-1-13-15,14 0 0,-26 0 16,-1 0-16,-13 0 0,27-13 16,-13 13-16,-14 0 15,0 0-15,0 0 0</inkml:trace>
</inkml:ink>
</file>

<file path=ppt/ink/ink22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55:16.454"/>
    </inkml:context>
    <inkml:brush xml:id="br0">
      <inkml:brushProperty name="width" value="0.05292" units="cm"/>
      <inkml:brushProperty name="height" value="0.05292" units="cm"/>
      <inkml:brushProperty name="color" value="#0070C0"/>
    </inkml:brush>
  </inkml:definitions>
  <inkml:trace contextRef="#ctx0" brushRef="#br0">1349 3757 0,'0'-26'0,"0"12"0,-13 14 16,0-13-16,0 13 15,-14 0-15,1 0 0,13 0 16,-14 13-16,1-13 0,-1 14 16,1-1-16,-40 13 15,26 1-15,13-14 0,-12 13 0,12 1 16,-12-14-16,12 14 0,1-1 15,-1 1-15,14-1 0,-13 0 0,12 27 16,1-39-16,13 12 0,-13 1 16,13-14-16,13 40 15,-13-14-15,0 1 0,13 0 0,1-1 16,-1 54-16,-13-53 0,13 13 16,-13-14-16,0 14 0,0-13 15,0 13-15,-13 0 0,13 0 0,-13 13 16,-1-13-16,1 0 0,-13 13 15,12-13-15,-12 0 0,-1 0 0,-12-1 16,12 1-16,-12 0 0,12 0 16,-13 0-16,1-13 0,-1-1 15,0 1-15,-12 0 0,25 0 0,-13-14 16,14-13-16,-40 14 0,53-14 16,-1-13-16,-25 0 15,25 0-15,14-13 0,-13 13 0,13-14 16,-13 1-16,13 0 0,0 0 15,13 0-15,-13-1 0,0 1 0,13 0 16,1 0-16,-1-1 0,0 1 0,0 13 16,1 0-16,-1-13 0,13 13 15,-13 0-15,1 13 0,12-13 16,-13 13-16,14 1 0,-1 12 0,1-13 16,-1 14-16,-13 12 0,14-12 0,-14 13 15,0-1-15,14 1 0,-1 53 16,-13-41-16,1 1 0,-14 14 15,13-15-15,-13 15 0,13-1 0,-13 0 16,0 0-16,0 0 0,0 0 16,0 1-16,0 144 15,0-145-15,0 14 0,-13-14 0,13 13 16,0-13-16,0 14 16,0-14-16,0 13 0,-13 1 0,26 65 15,-13-79-15,0 14 0,13-14 16,-13 0-16,0 0 0,0 13 15,0-12-15,13-1 0,-13 0 0,0 146 16,0-160-16,-13 15 16,13-1-16,-13 13 15,13 53-15,-13-79 0,-1 14 0,1-1 16,-13 66-16,13-66 16,-1 13-16,1-12 0,0-1 15,-14 0-15,14 0 0,0 13 0,0-12 16,-27 65-16,27-66 0,0 13 15,-1-12-15,1-1 0,0 0 0,13 0 16,-13 13-16,13-12 0,-14-1 16,14 0-16,-13 66 0,13-66 15,0-13-15,0 66 16,0-53-16,13 0 0,-13-13 0,14 66 16,-1-52-16,0-14 0,-13-1 15,13 1-15,1 0 0,25 40 16,-25-53-16,25 39 15,1-39-15,13 26 16,-27-40-16,1 1 0,12-14 16,-12 13-16,13-12 0,39 12 15,-13 1-15,-13-14 16,-40-13-16,14 0 16,-1 0-16,27 0 0,-27 0 0</inkml:trace>
  <inkml:trace contextRef="#ctx0" brushRef="#br0" timeOffset="2019.01">20320 5159 0,'-53'-26'16,"40"26"-16,0 13 16,-14-13-16,-39 27 0,40-14 15,-14 13-15,13-12 0,1-1 16,-1 13-16,14-13 0,-13 1 15,26-1-15,0 0 0,0 0 16,13 1-16,0-1 16,0 0-16,1-13 0,12 13 15,14 14-15,-27-27 0,14 13 16,-14 0-16,13-13 0,-13 13 16,14 1-16,-14-14 0,0 13 15,-13 0-15,14-13 0,-14 13 16,-14 1-16,14-1 15,-26 13-15,13-26 0,-1 13 16,-12 1-16,13-14 0,0 13 16,-1-13-16,1 13 0,0-13 15,-14 0-15,14 13 16,0-13-16,26-26 31,0 26-31</inkml:trace>
  <inkml:trace contextRef="#ctx0" brushRef="#br0" timeOffset="2360.19">20518 5278 0,'-158'40'16,"144"-40"-16,14 13 15,-13 1-15,13-1 16,0 13-16,13-26 0,1 27 16,12-1-16,-13-13 15,14 1-15,-14-14 0,14 26 16,-14-13-16,0-13 0,-13 14 16,13-1-16,0 0 15,-26 0-15,13 0 16,-13 1-16,-27 12 15,27-26-15,-13 13 0,12 1 16,-12-14-16,13 13 0,-14 0 16,1-13-16,13 0 0,-1 0 15,1 0-15</inkml:trace>
  <inkml:trace contextRef="#ctx0" brushRef="#br0" timeOffset="2760.48">20677 5331 0,'40'0'31,"-27"-13"-31,0 13 16,1-13-16,12 13 0,-13-13 0,0 13 15,1-14-15,-1 14 16,-13-13-16,13 13 0,0 0 16,-13 13-16,0 1 15,0-1 1,-13 0-16,13 0 0,0 1 0,-13-1 15,13 13-15,0-12 0,-13-1 0,13 13 16,-14-13-16,14 1 0,-13 52 16,0-40-1,13 1 1,13-14 0</inkml:trace>
  <inkml:trace contextRef="#ctx0" brushRef="#br0" timeOffset="2987.84">21167 5358 0,'66'-27'16,"-53"14"-16,13 13 0,1 0 15,-14 0 1,0 13-16</inkml:trace>
  <inkml:trace contextRef="#ctx0" brushRef="#br0" timeOffset="3183.59">21180 5530 0,'-27'0'15,"67"0"17,-27 0-32,1-13 15,-1 13-15,0 0 0,0-14 0,0 14 16,1-13-16,-1 13 0,0-13 15,0 13-15,1-13 16</inkml:trace>
  <inkml:trace contextRef="#ctx0" brushRef="#br0" timeOffset="3703.93">22172 5093 0,'-66'13'0,"53"-13"0,-1 14 15,1-14-15,0 13 16,0 0 0,0 0-16,13 1 15,0-1-15,13 0 0,-13 0 0,13-13 16,-13 14-16,13-1 0,0 0 15,1 0-15,12 14 0,-13-14 0,1 0 16,-1 0-16,0 1 0,0-1 0,-13 0 16,14 0-16,-14 1 15,13-14-15,-13 13 0,-13 0 16,-1 0-16,1 0 0,0 1 0,0-14 16,-1 13-16,-12-13 15,13 13-15,-1-13 0,-12 0 0,13 0 16,0 0-16,-1 0 0,1 0 0,0 0 0,0 0 15,26-13 17,0 0-32</inkml:trace>
  <inkml:trace contextRef="#ctx0" brushRef="#br0" timeOffset="4024.93">22410 5120 0,'-66'13'16,"53"-13"-16,-27 26 15,40-12 1,-13-14-16,13 13 0,0 0 0,13-13 16,0 40-16,1-27 15,-14 0-15,13 0 0,0 1 16,0-1-16,27 27 15,-40-27-15,13 0 16,-13 0-16,-13-13 16,0 27-16,13-14 0,-13 0 15,-1-13-15,1 13 0,-13 1 0,12-14 16,1 13-16,0-13 0,0 13 16,-1-13-16,1 0 0,0 0 0,13 13 15,-13-13-15,0 0 0,-1 0 16</inkml:trace>
  <inkml:trace contextRef="#ctx0" brushRef="#br0" timeOffset="4567.1">22595 5199 0,'-26'13'16,"26"1"-1,-13-1-15,13 0 0,0 0 16,0 0-16,0 1 15,0-1-15,13 0 0,-13 0 16,26 1 0,-12-14-16,12-14 15,-13 14 1,1-13 0,-1 13-1,0 13-15,0-13 16,14 14-1,-14-14 1,0 0 0,0 0-16,-13-14 0,14 14 0,-1-13 15,0-13 1,-13 12 0,13 14-16,-13-13 0,0 0 15,0-13 1,-13 12-16,13 1 0,-13 13 15,0-13 1</inkml:trace>
  <inkml:trace contextRef="#ctx0" brushRef="#br0" timeOffset="4812.43">23257 5014 0,'-13'40'0,"13"-14"16,0-13-16,0 67 16,0-54-16,0 1 15,13-1-15,-13-13 0,0 14 0,0-1 16,0-13-16,13 1 0,-13 12 0,0-13 15,0 1-15,0-1 16,0 0-16</inkml:trace>
  <inkml:trace contextRef="#ctx0" brushRef="#br0" timeOffset="5012.07">23125 5318 0,'53'-40'15,"-40"40"-15,93-26 16,-93 26-16,13-13 0,-13 13 0,27-13 16,-27 13-16,1 0 0,-1-14 15,0 14-15</inkml:trace>
  <inkml:trace contextRef="#ctx0" brushRef="#br0" timeOffset="5385.43">23733 5027 0,'-92'40'0,"78"-27"15,28 13 1,12 14 0,-13-27-16,0 14 0,1-14 15,-1 0-15,0 1 0,27 12 16,-40-13-16,13 0 15,-13 1-15,0-1 0,-13 0 16,0-13-16,-1 13 0,1-13 16,0 14-16,0-14 0,-1 0 15,1 13-15,0-13 0,0 0 0,0 0 16,-1 0-16,-12 0 16</inkml:trace>
  <inkml:trace contextRef="#ctx0" brushRef="#br0" timeOffset="5706.88">23998 5054 0,'-53'13'15,"40"0"1,13 0-16,13 0 0,-13 1 16,13-1-16,0 27 15,0-27-15,-13 0 16,14 0-16,-14 1 16,0-1-16,0 0 0,-14 0 0,1 0 15,0 1-15,0-1 0,0 0 16,-1 0-16,1-13 15,-13 14-15,12-14 0,1 13 0,-13-13 16,12 13-16,1-13 16</inkml:trace>
  <inkml:trace contextRef="#ctx0" brushRef="#br0" timeOffset="6896.8">24289 5040 0,'13'-13'16,"-13"40"-16,0-14 15,0 0-15,0 0 0,-13 0 16,13 1-16,0 12 0,0-13 15,0 1-15,0 12 0,0-13 0,-13 1 0,13-1 16,0 0-16,0 0 0,0 0 16,0 14-16,-14-14 15,14 0-15,0 1 16</inkml:trace>
  <inkml:trace contextRef="#ctx0" brushRef="#br0" timeOffset="7370.8">24315 5067 0,'53'-13'15,"-40"13"-15,1 0 16,-1 13 0,-13 13-1,0 14 1,0-27 0,0 0-1,0 1-15,13-1 0,0 13 16,-13-12-16,0-1 0,0 0 15,0 0-15,-13-13 16,13 13-16,0 1 0,-13-14 0,0 13 16,-14 0-1,14 0-15,0-13 0,-1 0 0,1 14 16,0-14-16,-13 0 0,12 13 16</inkml:trace>
  <inkml:trace contextRef="#ctx0" brushRef="#br0" timeOffset="10130.98">22119 4736 0,'13'40'16,"-26"-27"-16,13 0 15,0 14-15,0-14 16,0 0-16,13 0 16,14-13-1,-14 0-15,27-13 0,-14 0 16,14-14-16,13 1 0,-13-1 16,12 1-16,1-14 0,-13 14 0,0-1 15,-1 1-15,1 0 0,-13-1 16,-1 14-16,0 0 0,-12-1 0,12 1 15,-13 0-15,1 0 0,-1-1 16,0 1 0,0 13-16,1-13 0</inkml:trace>
  <inkml:trace contextRef="#ctx0" brushRef="#br0" timeOffset="11215.32">20188 4776 0,'26'13'31,"-26"0"-31,0 0 0,13-13 0,-13 14 0,0-1 16,14 0-16,-14 0 0,13 1 0,-13-1 16,13 0-16,0 0 15,1 0-15,-1-13 16,0 14-16,0-14 0,0 0 0,14-14 16,-1 14-16,1-13 0,13-13 0,-1 13 15,-12-14-15,52-13 16,-52 14-16,12 13 0,-12-14 0,12 1 15,-12-1-15,-1 14 0,1-13 0,-1 12 16,27-12 0,-40 0-16,1 26 15,-1-14-15,0 14 0,-13-13 16,13 13 0,0-13-16,1 13 15,-41 13 48</inkml:trace>
  <inkml:trace contextRef="#ctx0" brushRef="#br0" timeOffset="12118.96">24090 5675 0,'66'-26'0,"-39"26"15,-14 13-15,0 0 16,1-13-1,-14 14-15,0-1 0,13 0 0,-13 0 16,0 0-16,0 1 0,0-1 0,0 0 16,0 0-16,0 27 15,-13-27-15,13 1 0,0-1 0,0 13 16,0-13-16,-14 1 0,14-1 16,0 0-16</inkml:trace>
  <inkml:trace contextRef="#ctx0" brushRef="#br0" timeOffset="12291.6">24196 6218 0,'13'-14'0,"-13"1"15,14 13 1</inkml:trace>
  <inkml:trace contextRef="#ctx0" brushRef="#br0" timeOffset="13435.29">24143 5569 0,'93'14'0,"-80"-14"15,14 0-15,-1 0 0,27-14 16,-27 14-16,14 0 16,-13-13-16,12 0 0,1 13 0,-14-13 15,-12 13-15,12-13 0,0-1 0,54-25 16,-67 25-1,0 1-15,1 0 0,-1 0 0,0-14 0,0 14 16,0 0-16,1-14 0,-14 14 16,13-13-16,-13 12 0,13-12 15,-13-14-15,0 27 0,0-13 16,0 12-16,0-12 0,0-1 0,-13 1 16,0 13-16,13-14 0,-14 14 15,-12-13-15,13-1 0,-14 1 16,-12-14-16,-28 0 15,41 14-15,0 13 0,-1-1 0,-13-12 16,14 13-16,-14-1 0,14 1 16,-14 0-16,0 0 0,14 0 15,0-1-15,-1 14 0,1-13 16,-1 13-16,1-13 0,-27 0 16,26 13-16,1-14 0,13 14 15,-14 0-15,1 0 0,-1-13 0,-12 13 16,12 0-16,14 0 15,-14 0-15,14 13 0,-13-13 0,12 0 16,-12 14-16,13-14 0,-14 13 16,14 0-16,-27 14 0,27-14 15,0 0-15,0 0 0,-14 0 0,14 14 16,13-14-16,-13 14 0,-14-1 16,14 1-16,13-14 0,-13 13 0,0 1 15,-1-14-15,14 13 0,-13 1 16,0-1-16,0 1 0,13-1 0,-13 1 15,13-14-15,-14 40 16,14-27-16,0-12 0,0-1 0,0 13 16,0-13-16,0 14 0,14-14 15,-1 14-15,-13-14 0,26 13 0,-13-12 16,14 12-16,-1-13 0,14 0 0,-13 1 16,12-1-16,1 0 0,0 0 15,-14-13-15,0 14 0,14-1 0,-13-13 16,-1 0-16,1 13 0,-1-13 15,0 0-15,-12 0 0,-1 0 16,27 13-16,-27-13 0</inkml:trace>
  <inkml:trace contextRef="#ctx0" brushRef="#br0" timeOffset="14956.9">20730 7104 0,'-132'13'16,"105"-13"-16,-12 14 0,12-1 16,14 0-16,0-13 0,0 13 0,13 0 15,13 14 1,0-27-16,0 13 0,0 0 15,14 1-15,-14-1 0,14 13 16,-1-13-16,-13 1 0,14-1 16,-14-13-16,0 13 0,0 0 0,-13 1 15,14-14-15,-14 13 0,0 0 0,0 14 16,-14-27 0,1 13-16,0 0 0,0-13 0,-40 26 15,26-26 1,14 14-16,-40-1 15,27-13 1,26-13 0,13-1-1</inkml:trace>
  <inkml:trace contextRef="#ctx0" brushRef="#br0" timeOffset="15270.14">20836 7223 0,'-79'0'0,"65"0"15,1 13-15,13 1 0,0-1 16,13 0-16,-13 0 16,27 14-16,-27-14 0,13 0 15,0 0-15,0 1 0,-13-1 16,14 0-16,-14 0 0,13-13 0,-13 14 15,0 12-15,0-13 16,0 0-16,-13-13 0,13 14 16,-14-1-16,1-13 0,0 13 0,0 0 15,0-13-15,-1 0 16,14 14-16,-13-14 0,0 0 0,0 0 16</inkml:trace>
  <inkml:trace contextRef="#ctx0" brushRef="#br0" timeOffset="16280.08">21008 7223 0,'0'13'0,"13"-13"0,0 14 15,27-28-15,-13 14 16,-1 0-16,14-13 0,-14 0 16,14 0-16,-27-1 15,0 1-15,0 13 0,1-13 16,-14 0-16,13 13 0,0-13 16,-13 39-1,0-13 1,-13 0-16,0 27 15,13-13-15,-14-1 0,14 0 16,-13 1-16,13-1 0,-13-12 16,13 12-16,0-13 0,0 14 0,-13 12 15,13-25-15,0-1 0,0 0 16,0 0-16,0 1 0,0-1 16,0 0-1,13-13 1</inkml:trace>
  <inkml:trace contextRef="#ctx0" brushRef="#br0" timeOffset="16601.07">21471 7369 0,'0'13'16,"13"-13"-1,0 0-15,1 0 16,-1 0-16,0 0 0,0 0 15,1 0-15,-1 0 16,0 0 0,13 0-16,-12 0 15,-1 0-15,0 0 0</inkml:trace>
  <inkml:trace contextRef="#ctx0" brushRef="#br0" timeOffset="16980.21">22146 7223 0,'-53'0'0,"39"0"15,1 13-15,13 1 16,0-1-16,0 26 16,0-25-1,13-1-15,-13 0 0,14 0 16,-14 1-16,13 12 0,-13-13 16,0 1-16,0-1 0,0 0 15,0 0-15,-13 0 16,-1-13-16,1 14 15,0-14-15,0 0 0,13 13 0,-13-13 16,-1 0-16,1 0 0,0 0 16,0 0-16,39-13 31,-26-1-31</inkml:trace>
  <inkml:trace contextRef="#ctx0" brushRef="#br0" timeOffset="17277.55">22291 7223 0,'-79'0'0,"66"0"32,13 13-32,13 14 15,0-14 1,-13 0-16,13-13 0,0 13 15,-13 1-15,14-1 0,-14 0 16,13 0-16,-13 1 16,-13-1-16,-14 13 15,14-26-15,0 14 16,0-1-16,-1-13 0,14 13 0,-13-13 16,0 13-16,0-13 15</inkml:trace>
  <inkml:trace contextRef="#ctx0" brushRef="#br0" timeOffset="17753.62">22490 7250 0,'0'-14'15,"-14"41"17,14-14-17,0 0-15,-13 0 0,13 1 16,0-1-16,0 0 16,13 0-1,1 1 1,-1-14-1,13 0-15,-13-14 0,1 14 16,-1 14 0,0-14-16,0 0 15,14 13 1,-14-13 0,14 0-1,-14-13 1,0 13-16,-13-14 0,13 1 15,-13 0-15,13 0 16,-13-1-16,0 1 31,14 0-15,-1 13 0</inkml:trace>
  <inkml:trace contextRef="#ctx0" brushRef="#br0" timeOffset="17943.72">23111 7250 0,'53'-14'0,"-39"1"16,-1 13-16,0 0 0,13 0 15,-12 0 1</inkml:trace>
  <inkml:trace contextRef="#ctx0" brushRef="#br0" timeOffset="18100.98">23058 7369 0,'40'-14'0,"-27"14"0,1 0 16,39-13 0,-40 13-16,0 0 0,0 0 0,0-13 15,1 13-15,-1 0 0,0 0 16</inkml:trace>
  <inkml:trace contextRef="#ctx0" brushRef="#br0" timeOffset="20078.83">24051 7104 0,'-146'0'0,"133"0"15,-14 0-15,1 0 0,-1 13 16,1 1-16,26-1 0,0 0 15,0 0-15,13 0 16,0 1-16,1-1 0,-1 13 16,13 1-16,1-14 0,-14 13 0,-13-12 15,13-1-15,1-13 0,-14 13 16,13 14 0,-26-1-16,-1-13 15,1-13-15,0 0 0,-14 14 16,14-14-16,-27 0 15,27 0-15,0 0 16,26-27 0,0 27-16</inkml:trace>
  <inkml:trace contextRef="#ctx0" brushRef="#br0" timeOffset="20372.99">24196 7197 0,'-26'-14'16,"-1"14"-16,27 14 0,-13-14 15,13 13-15,0 13 16,0-12 0,13-1-16,-13 0 0,13 0 15,-13 0-15,0 1 0,14-1 16,-14 0-16,0 0 0,0 1 15,-14-14-15,14 13 0,0 0 0,-13 0 16,0-13-16,13 14 0,-13-1 16,0-13-16,-1 13 0,1-13 0,0 13 15,0-13-15,-1 0 16</inkml:trace>
  <inkml:trace contextRef="#ctx0" brushRef="#br0" timeOffset="20572.07">24408 7236 0,'13'-13'16,"-13"26"-16,0 14 16,0-14-16,0 0 15,0 0-15,-13 1 0,13-1 0,-13 0 16,13 0-16,-14 14 0,1 13 15,13-27 1,-13 0-16,13 0 16</inkml:trace>
  <inkml:trace contextRef="#ctx0" brushRef="#br0" timeOffset="21332.88">24421 7263 0,'53'0'0,"-40"0"0,-13 13 0,13-13 15,1 13 1,-28 0-1,14 1-15,-13-14 0,0 13 16,13 0 0,13 14-1,0-14-15,1 0 16,-14 0-16,0 1 16,13 12-16,-13 0 15,-13-12-15,13-1 16,-14-13-16,1 13 0,0 0 15,0-13-15,-40 27 16,26-27-16,14 13 0,-13-13 0,-1 0 16,1 13-16,-14-13 0,0 14 15</inkml:trace>
  <inkml:trace contextRef="#ctx0" brushRef="#br0" timeOffset="21657.45">22079 7726 0,'265'-27'15,"-186"27"-15,14 0 0,13 0 0,0 0 16,26 0-16,0 0 0,1 14 16,-28-14-16,41 0 0,-40 0 0,92 13 15,-13-13-15,-105 0 16,-27 13-16,0-13 0,-14 0 16,-12 0-16,-14 0 0,0 0 0,-52 0 31,12 0-31,-26 0 0</inkml:trace>
  <inkml:trace contextRef="#ctx0" brushRef="#br0" timeOffset="21888.84">22066 7898 0,'265'0'15,"-173"0"-15,14 0 0,27 0 0,-1 0 0,119-13 16,-118 13 0,-28 0-16,1 0 0,-13 13 0,-14-13 15,1 0-15,-28 0 0,1 0 0,-13 0 0,-14 0 16,-12 0-16,-1-13 16,0 13-16,0 0 0,-13-14 0,0 1 15,-13 0-15</inkml:trace>
  <inkml:trace contextRef="#ctx0" brushRef="#br0" timeOffset="22211.55">21894 6734 0,'212'13'0,"-133"-13"0,107 0 16,-94 0-16,14 0 15,106 13-15,-107-13 0,1 0 0,0 0 16,-13 0-16,13 0 0,-14 0 0,1-13 15,-14 13-15,-13 0 16,-13 0-16,13 0 0,-52 0 16,-1 0-16,0 0 0</inkml:trace>
  <inkml:trace contextRef="#ctx0" brushRef="#br0" timeOffset="22471.06">22291 6906 0,'66'0'0,"-13"0"15,0-14-15,13 14 0,14 0 0,-1-13 16,14 13-16,-14 0 0,14-13 16,-1 13-16,1 0 0,-14 0 0,14 0 15,-14 0-15,-13 0 0,0 0 0,-13 0 16,0 0-16,13 13 15,-39-13-15,-14 0 0,14 0 0,-14 0 16,0 0-16,-13 13 0,13-13 0,-13 14 16,0-1 15</inkml:trace>
  <inkml:trace contextRef="#ctx0" brushRef="#br0" timeOffset="30151.13">1455 12330 0,'93'-27'0,"-67"14"15,1 13-15,-1 0 0,54-13 16,-54 13-16,0 0 16,1-14-16,-14 28 0,14-14 0,-14 0 15,0 0-15,0 0 0,1 0 16,-14 13-16</inkml:trace>
  <inkml:trace contextRef="#ctx0" brushRef="#br0" timeOffset="30399.87">1310 12594 0,'158'-40'0,"-105"40"0,27-26 16,-41 26-16,1-13 0,0 13 16,-14-13-16,1 13 0,-1-14 0,-13 14 15,14 0-15,-1-13 0,-12 13 16,-1 0-16,0 0 0,0 0 0,0 0 16,1-13-16,-1 13 0</inkml:trace>
  <inkml:trace contextRef="#ctx0" brushRef="#br0" timeOffset="32062.5">1482 12898 0,'-14'0'0,"1"0"0,-13 0 15,13 14 1,-1-14-16,1 13 0,13 0 16,0 0-16,0 1 0,0-1 15,0 0-15,13 14 16,-13-14-16,14 0 0,-14 0 15,13 0-15,-13 1 0,0 12 0,13-13 16,-13 1-16,0-1 0,0 0 16,0 0-16,-13 0 0,13 1 15,0-1-15,-13-13 0,13 13 16,-14-13-16,1 0 16,13-13-1,13-14-15,1 14 16,-14 0-16,13 0 15,-13 0-15,13-14 0,0 14 0,-13 0 16,0-1-16,13 1 0,-13 0 16,0 0-16,0 0 0,0-1 15,-13 1-15,0 0 0,13 0 16,-13 13-16,0-14 0,-1 14 16,1 0-16,0-13 0,0 13 15,-1 0-15,1-13 0,0 13 16,0 13-1,13 0-15</inkml:trace>
  <inkml:trace contextRef="#ctx0" brushRef="#br0" timeOffset="32193.12">1588 13004 0</inkml:trace>
  <inkml:trace contextRef="#ctx0" brushRef="#br0" timeOffset="32492.25">1733 12925 0,'13'0'16,"-13"26"-1,13-26-15,-13 14 0,14-14 16,-14 13-16,13-13 0,0 13 0,0 0 15,-13 1-15,14-14 0,-14 13 16,13 0-16,-13 0 16,0 14-1,-13-1 1,-1-13-16,1 1 16,0-1-16</inkml:trace>
  <inkml:trace contextRef="#ctx0" brushRef="#br0" timeOffset="33026.44">1323 13441 0,'0'0'0,"40"-13"16,-14 13-16,14-14 15,-1 14 1,1-13-16,40 0 0,-28 0 0,1-1 15,40 1-15,-40-13 0,0 13 16,39-14-16,-52 14 16,0 0-16,-14-14 0,14 14 0,0-14 15,-27 14-15,13 0 16,-13-13-16,1 12 0,-14-12 0,0-1 16,13 14-16,-26-13 0,13-14 15,-14 0-15,1 1 0,-13-1 0,-14-13 16,14 13-16,-14 1 0,-53-41 15,54 54-15,-67-27 16,53 40-16,-13-1 0,13 14 16,0 0-16,-26 0 0,-54 27 15,67-1-15,0 1 0,0-1 0,13 14 16,0-14-16,0 14 0,13 0 16,1 0-16,12-1 0,1 14 0,13-26 15,-1 12-15,1 14 0,13-13 0,0 0 16,13-1-16,1-12 0,-1 12 15,13 1-15,40 26 0,-13-39 16,-13-14-16,0 0 0,66 0 16,-54 1-16,-12-14 15,53 0-15,-67-14 0,14 14 16,-14 0-16,1-13 0,-1 13 0,1-13 16,-14 0-16,0-1 0,14 1 15,-14 0-15,0 0 0,0-27 16</inkml:trace>
  <inkml:trace contextRef="#ctx0" brushRef="#br0" timeOffset="34444.12">3598 4273 0,'-13'13'0</inkml:trace>
  <inkml:trace contextRef="#ctx0" brushRef="#br0" timeOffset="35613.19">6284 4471 0,'397'-52'0,"-344"38"0,0 1 15,-1 0-15,1-14 0,93-26 16,-106 40 0,-14-13-16,14-1 0,-14 14 0,1-13 15,-1-1-15,-13 1 0,1-1 0,-1 1 16,-13-1-16,0 14 0,0-13 16,-13-14-16,-1 14 0,-12-1 0,-1-13 15,1 14-15,-14-1 0,1-12 16,-1 26-16,-13-14 0,0 1 0,0 12 15,13 1-15,-92-13 0,-53 12 32,132 14-32,-26 0 0,13 0 0,-14 14 0,14-1 15,0 0-15,0 0 16,0 1-16,-1 12 0,15 1 0,-15-1 16,14 14-16,-13-1 0,13 1 0,0 0 0,1 13 15,-1-14-15,0 1 16,13 13-16,14-13 0,-14-1 0,13 1 15,14 0-15,0-1 0,13-12 0,-13-1 16,26 14-16,13 0 16,-12-14-16,25-13 0,-12 14 0,13-1 15,-1-12-15,1-1 0,26 0 16,0 0-16,0 0 0</inkml:trace>
  <inkml:trace contextRef="#ctx0" brushRef="#br0" timeOffset="37827.97">9750 4392 0,'13'13'0,"14"1"16,-1-14-16,0 13 15,14 0-15,0-13 0,0 13 0,12 0 16,-12-13-16,0 14 0,13-1 0,-14-13 16,14 13-16,-13-13 15,13 13-15,0-13 0,0 0 0,0 0 0,13 0 16,-13 0-16,0-13 0,53 0 16,-40 0-16,-13-14 15,13 14-15,-13-13 0,-14 12 0,1 1 0,0-13 16,-14 12-16,1-12 0,-1 13 15,1-14-15,-14 14 0,0-13 16,0-14-16,0 13 0,-13 14 16,0-13-16,-26-67 15,-14 14 1,-13 26-16,27 26 16,-40-12-16,26 25 0,-39-25 15,39 26-15,-13-1 0,13 14 16,-132-26-1,1 13-15,118 13 0,-66 0 16,52 13 0,1-13-16,-13 13 0,-40 14 15,53-14-15,26 0 0,-13 0 0,0 14 16,13-14-16,-12 13 0,12-12 16,0-1-16,0 13 0,-26 14 15,40-27-15,-1 14 0,1-14 0,13 0 16,-1-13-16,1 13 0,0 1 15,0-14-15,13 13 0,-27 0 16,14 0-16,0-13 16,13 14-1,-13-14 1,13 13-16,-14-13 16,1 13 30,0 0 189,26 0-204,0 1-31,-13-1 0,27-13 16,-1 13-16,1-13 0</inkml:trace>
  <inkml:trace contextRef="#ctx0" brushRef="#br0" timeOffset="39098.44">9723 13070 0,'14'14'0,"12"-14"0,-13 0 15,14 13-15,12-13 0,67 13 16,-53-13-16,0 0 0,0 0 0,13 0 15,0 0-15,14-13 0,184-14 32,-145-12-32,-66 26 0,0-14 15,0 14-15,79-67 16,-39-25 0,-80 91-16,0-12 0,-13-1 15,14 14-15,-28-53 16,-12 26-16,13 27 0,-80-66 15,54 66-15,-1-1 16,-13 1-16,13 0 0,-13 0 16,0 13-16,0-14 0,1 14 0,-1-13 15,13 13-15,-39 0 16</inkml:trace>
  <inkml:trace contextRef="#ctx0" brushRef="#br0" timeOffset="40652.04">13996 9088 0,'225'-13'0,"-172"13"0,93-13 16,-93 13-16,-14-13 15,1 13-15,0 0 0,-14 0 16,1 0-16,-1-13 0,-13 13 0,14 0 16,-54 13 15</inkml:trace>
  <inkml:trace contextRef="#ctx0" brushRef="#br0" timeOffset="41743.96">13824 9168 0,'0'0'0,"40"0"16,-13-13-1,12 13-15,1 0 0,119-27 16,-106 27-16,119-13 15,-119 13 1,-1-13-16,-12 13 0,0 0 0,-14 0 0,14 0 16,-14 0-16,1-14 15,-14 14-15,0 0 0,1 0 0,-1 0 16,0 0-16,0 0 0,1 0 0,-1-13 31,0 13-31,-13-13 47,13 13 16,0 13 483,-26 0-452,0-13-63,13 14-15,-13-14 15,26 13-15,0 0 0</inkml:trace>
  <inkml:trace contextRef="#ctx0" brushRef="#br0" timeOffset="42770.44">15729 9049 0,'40'13'0,"-27"-13"0,14 0 15,-14 0-15,14 0 0,25-13 16,-25 13-16,-1 0 0,-12 0 15,12 0-15,-13 0 0,1 0 16,-1 0-16,0 0 0,0 13 0,-39 0 31,13-13-15,-1 0-16,-39 13 0,27-13 16,-1 0-16,1 14 0,0-14 15,-1 0-15,1 0 0,-1 0 0,14 0 16,-14 0-16,14 0 0,0 0 15,0 0-15,52 0 32,-25 0-32,12 13 15,1-13-15,-1 0 0,1 0 0,-1 0 16,0 0-16,1 0 0,-1 0 0,1 0 16,-14 0-16,14 0 0,-14 0 15,0 0-15,0 13 0,0-13 16,1 0-16,-1 0 15,-40-13 32,14 13-31,0 0 0</inkml:trace>
  <inkml:trace contextRef="#ctx0" brushRef="#br0" timeOffset="49711.01">20770 7686 0,'-13'0'15,"-1"0"-15,41 13 32,-14 1-32,13-14 0,-12 0 15,-1 0-15,0 0 16,14 13-16,-1-13 15,-13 0-15,1 0 0,-1 13 16,0-13 0,-13 13-16</inkml:trace>
  <inkml:trace contextRef="#ctx0" brushRef="#br0" timeOffset="50636.64">20479 8586 0,'13'-14'0,"0"14"16,0 0-16,27 0 15,-27 14 1,1-1-16,-14 0 16,-14 14-16,1-1 15,-13-13-15,-27 40 16,40-40-16,-14 1 0,14-1 0,0 0 16,-14 0-16,14 1 0,-14-1 15,14 0 1,53-13 15,-27-13-31,0 13 0,27 0 16,-27 0-16,27-13 15,-27 13-15,14 0 0,-14 0 16,0 0-16,0-14 0,14 14 16,-14 0-16,0 0 0,1 0 15,-1-13-15</inkml:trace>
  <inkml:trace contextRef="#ctx0" brushRef="#br0" timeOffset="50999.66">20942 8625 0,'-66'14'16,"39"-14"-16,14 13 16,0-13-16,-1 0 0,1 13 15,13 0 1,0 1-16,13-1 16,14 0-16,-14 0 15,0-13-15,1 13 16,12 1-16,-26-1 15,13-13-15,-13 13 16,-13 0-16,0 1 16,-14-1-16,14 0 15,-13 0-15,12-13 16,1 0-16,0 0 16</inkml:trace>
  <inkml:trace contextRef="#ctx0" brushRef="#br0" timeOffset="51262.09">21061 8559 0,'53'-13'0,"-40"13"15,0 0-15,0 26 16,-13 1 0,0-14-16,0 27 0,0-27 15,0 0-15,0 14 0,-13-1 16,13 1-16,-13 26 16,13-40-1</inkml:trace>
  <inkml:trace contextRef="#ctx0" brushRef="#br0" timeOffset="51462.67">20995 8784 0,'0'-13'15,"0"26"-15,13-26 16,0 13-16,0-13 15,1 13-15,12 0 0,-13 0 16,1 0-16,-1 0 0,13 0 16,-13 0-16,14 0 15</inkml:trace>
  <inkml:trace contextRef="#ctx0" brushRef="#br0" timeOffset="51896.27">21656 8705 0,'40'0'31,"-14"0"-15,1 0-16,-14 0 15,13 0-15,-12 0 0</inkml:trace>
  <inkml:trace contextRef="#ctx0" brushRef="#br0" timeOffset="52380.48">22251 8612 0,'-52'0'31,"52"13"-31,-14-13 0,-25 0 16,25 14-16,-12-14 15,13 13-15,13 0 32,0 0-32,13 1 0,0-1 15,0 0-15,-13 0 16,14-13-16,-14 13 0,13-13 15,-13 14 1,-13-1-16,-1 0 16,1-13-16,-13 0 15,12 13-15,-12-13 16,13 0-16,0 0 16</inkml:trace>
  <inkml:trace contextRef="#ctx0" brushRef="#br0" timeOffset="52682.73">22542 8612 0,'14'0'15,"-28"13"1,-12 1-1,13-1-15,0-13 16,13 13-16,-14 0 0,-12 1 0,13-1 16,-1 0-16,14 0 0,-13 0 15,13 1-15,0-1 16,0 0 0,13-13-16,-13 13 15,14-13-15,12 0 0,1 0 16,-1 0-16,-13 0 15,0 0-15,1 0 0,-1-13 16</inkml:trace>
  <inkml:trace contextRef="#ctx0" brushRef="#br0" timeOffset="52888.18">22635 8692 0,'-13'-14'15,"0"14"-15,-1 0 16,1 0-16,13 14 15,-13-1-15,0 0 16,13 0-16,-14 0 0,14 14 16,0-14-16,-13 0 0,13 1 15,0-1-15,0 0 16,0 0-16,0 1 0,106-186 0,-199 357 16,93-172-16,14 0 15,-1-13-15</inkml:trace>
  <inkml:trace contextRef="#ctx0" brushRef="#br0" timeOffset="53087.91">23019 8625 0,'66'-13'16,"-53"13"-1</inkml:trace>
  <inkml:trace contextRef="#ctx0" brushRef="#br0" timeOffset="53254.21">22913 8771 0,'13'13'0,"14"-26"0,-1 13 15,-13 0-15,14-13 0,-1 13 16,-13 0-16,40-14 16,-39 14-16,25-13 0</inkml:trace>
  <inkml:trace contextRef="#ctx0" brushRef="#br0" timeOffset="53849.14">16999 9102 0,'67'0'0,"12"-14"0,-225 28 16,345-28-16,-146 1 0,13 0 16,13 13-16,1-13 0,145-14 15,-133 14-15,80 0 16</inkml:trace>
  <inkml:trace contextRef="#ctx0" brushRef="#br0" timeOffset="54616.63">23627 8639 0,'27'-14'15,"-27"1"-15,13 13 0,0 0 16,0 0-16,14-13 15,-14 26-15,0-13 0,1 0 16,-14 13 0,0 1-16,-14-1 0,-12 13 15,13-12-15,-14-1 16,14 0-16,-40 13 16,40-12-16,0-1 15,13 0 1,13 0-1,0-13-15,14 0 16,-14 14-16,40-14 16,-40 0-16,13 13 0,-12-13 15,12 0-15,-13 0 0,14 0 16,-14 0-16,0 0 0,14 0 16,-14-13-16</inkml:trace>
  <inkml:trace contextRef="#ctx0" brushRef="#br0" timeOffset="54924.23">24077 8612 0,'-40'27'0,"27"-14"0,13 0 15,0 0 1,13 1-16,1-1 15,-1 0-15,0 0 0,0-13 16,1 0-16,-1 0 0,0 0 0,-13 13 16,13-26-16,0 0 15,-26 0 1,13 0-16,-13 13 16,0-14-16,0 14 15,-1-13-15,-12 0 16,13 13-1</inkml:trace>
  <inkml:trace contextRef="#ctx0" brushRef="#br0" timeOffset="55325.17">24315 8572 0,'27'27'16,"-14"-14"0,-13 0-16,0 1 0,0 12 15,0-13-15,0 1 16,0-1-16,0 0 0,0 0 16,0 0-16,0 1 0,0-1 0,0 0 15,-13-13-15,13 13 0,0 1 16,-14-1-16,1 0 0,0 0 15,0 1 1,0-14-16,-1 13 0,1-13 0,0 13 16,0-13-16</inkml:trace>
  <inkml:trace contextRef="#ctx0" brushRef="#br0" timeOffset="60276.15">16431 10954 0,'-14'-13'0,"1"13"16,-13 26 0,12-26-16,1 13 15,0 14-15,0-14 0,13 0 0,-13 14 16,-1-14-16,1 26 15,13-12-15,-13-14 0,13 0 16,0 1-16,0-1 0,0 0 0,13 0 16,-13 1-16,13-1 15,14-13 1,-14-13-16,0 13 0,0-14 0,1-12 16,-1 13-16,0-14 0,0 14 15,1-14-15,-14 1 0,0 13 0,13-14 16,-13 1-16,0 13 0,-13-14 0,13 14 15,0 0-15,-14 0 0,14-1 16,-13 14-16,13-13 0,-13 13 16,-14 13-16,14-13 0,0 14 15,0-1-15,-14 0 0,14 0 16,13 14-16,-13-14 0,0 13 0,13-12 16,0-1-16,0 0 0,0 0 0,0 0 15,0 1-15,0-1 0,13 0 16,0 0-16,0-13 0,1 0 15,-1 0-15,0 0 0,13-13 16,14-27 0,-40 27-16,13 0 0,-13-13 0,14-1 15,-14 14-15,0 0 0,0-14 16,0 14-16,0 0 0,0 0 16,-14-1-16,14 1 0,-13 0 15,0 26-15,0-13 0,13 13 16,-14-13-16,1 14 0,13-1 15,-13 13-15,13-13 0,-13 1 0,13-1 16,0 0-16,0 14 0,0-14 16,0 0-16,13-13 0,-13 13 0,13 0 15,0-13-15,1 0 0,-1 0 0,0 0 16,14 0-16,-14-13 16,0 0-16,14 0 0,-14 0 0,0-1 0,0 1 15,-13 0-15,13 0 0,-13-1 16,0 1-16,0 0 15,-13 13-15,-13 0 16,13 13-16,-1 0 0,1 1 16,0-1-16,0 0 0,-27 40 15,27-27 1,-14 41 0,40-54-1</inkml:trace>
  <inkml:trace contextRef="#ctx0" brushRef="#br0" timeOffset="60979.39">16219 10583 0,'-27'14'16,"14"12"-1,13-13-15,-13 14 16,13-1-1,0 1 1,0-14-16,0 0 16,13-13-16,0 0 15,1 0-15,-1 0 16,0-13-16,0 13 0,1-13 16,-1-1-16,0 14 0,-13-13 0,13 13 15,1-13 1,-1 13-1,0 0-15,-13 13 0,13-13 0,-13 13 16,13-13-16,1 0 16,-1 14-16,0-14 15,0-14 1,1 14-16,-1-13 16,0 0-16,0 0 15,-13-1-15,0 1 0,0 0 16,14 0-16,-14-27 31,-14 53 0,1 27-15,0-27-16</inkml:trace>
  <inkml:trace contextRef="#ctx0" brushRef="#br0" timeOffset="-130265.44">16920 9062 0,'0'13'47,"13"27"-31,67-14 0,92 1-1,-66-14-15,-40-13 16,26 0-16,1 0 15,-27 0 1,-26 0-16,-14 0 0,14 0 16,-27 0-1,0 0-15,1 0 16,12-13-16,0 0 16,-26-1-16,27 1 15,-1-13-15,27 12 16,-26-12-16,26 26 15,-40-13-15,13-14 16,1 14-16,-1 0 16,-12 0-16,-1-1 15,-13-12 1,0-14 0,0 14-1,0-1-15,0 14 16,0-27-16,0 1 15,0 12-15,0-39 32,0 53-32,0 0 15,0-14-15,0 14 0,-13-27 32,13 14-17,-14 13-15,14-14 16,-13 14-16,0 0 15,0 13 17,-14-14-32,1 1 15,-14 13 1,-13-13-16,-13 13 16,13 0-16,-53 0 15,-26 0-15,26 0 16,-13 0-16,0 0 15,26 0-15,1 0 16,39 0-16,-13 0 16,39 0-16,-12 0 15,12 0-15,14 0 16,-14 0 0,14 0-16,0 13 15,0-13-15,-1 13 0,1 1 16,0-14-1,13 13 48,-26 13-32,12 1-15,1-1-1,13-13 64,0 1-48,0-1-16,0 0 1,0 0 0,-13 1 15,13-1-31,0 0 0,0 0 16,0 1-1,0-1 16,0 26-15,0 14 0,13-53-1,-13 27 1,0-14-16,13 27 16,1-27-16,12 27 15,-13-1-15,40 41 16,-53-67-16,27 40 15,-14-40-15,0 0 16,14 1-16,-27-1 16,13-13-1,-13 13 1,13-13-16,0 0 47,14 0-32,-14 0 1,-13-26 0,0-41 15</inkml:trace>
  <inkml:trace contextRef="#ctx0" brushRef="#br0" timeOffset="-129410.12">15968 8387 0,'0'14'15,"0"-1"1,26 13-1,14-13-15,39 1 16,-39-1 0,13-13-16,-14 0 15,41 0 1,-54 0-16,-13 0 16</inkml:trace>
  <inkml:trace contextRef="#ctx0" brushRef="#br0" timeOffset="-127834.42">13824 5305 0,'40'0'47,"13"0"-32,0 0-15,13 26 16,-13-12-1,13-1-15,-26-13 16,-14 0 0,14 0-16,39 26 15,27-26-15,53 0 16,-27 0-16,27 0 16,-53 0-16,26 0 15,-92 0 1,-14 0-16,1 0 15,-1 0 1,-13 0 0,40 0-16,40-13 15,0-13-15,-14 12 16,14-12-16,-14-1 16,-26 1-1,13 0-15,-40 12 16,-12 14-16,-1-13 78,0 13-62</inkml:trace>
  <inkml:trace contextRef="#ctx0" brushRef="#br0" timeOffset="-124537.29">15769 9049 0,'0'0'0,"13"0"31,1 0-31,-14 13 16,13-13 0,0 0-16,14 0 31,39 0-16,-27 0-15,1 0 16,13 0 0,-27 0-1,-12 0 1,-1 0-16,13 0 16,-12-13-1,-1 0-15,0-14 16,0 27-16,0-13 15,-13 0-15,0-14 16,0 14-16,0-40 16,0 13-1,0-13 1,0 14 0,0 12-1,0 1 1,0-1-16,0-12 15,-26-1 17,26 27-32,-13-1 0,-14-25 31,14 12-15,-13 14-16,12-13 0,-12-1 15,13 27-15,0-13 16,13 0-16,-14 13 15,14-13 1,-13 13 0,-13-14-16,12 1 15,1 0 17,-27 0-17,14 13 1,13 0-16,0 0 15,-14 0-15,1-27 16,12 27-16,1 0 47,0 0-31,0 0 15,-1 0 0,1 0-15,-13 13-1,26 1 1,-13-1-16,-14 0 16,27 0 15,-13-13-16,13 14-15,-13-14 47,13 26-31,-14-13 0,14 14-1,0-14-15,0 0 31,0 0-15,0 1 15,0-1-15,0 0-16,0 0 16,0 14-1,0-14 16,0 13-15,0-12 0,0 12-1,0-13 1,0 27 0,0-14-1,0 1 1,14-14-1,-14 0 1,0 1 0,0-1-16,13-13 15,-13 13 1,13 14 0,0-1-1,-13-13 1,14 0-1,-14 1 1,0-1-16,13 13 16,0-26-1,-13 14-15,13-14 0,0 13 16,1 0-16,25 27 31,-12-14-15,-14-26-1,0 13 17,1-13-32,12 0 15,-13 0 17,14 0-32,-27 14 0,13-14 31,0 0-16,0 0 1,1 0 15</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1.505"/>
    </inkml:context>
    <inkml:brush xml:id="br0">
      <inkml:brushProperty name="width" value="0.025" units="cm"/>
      <inkml:brushProperty name="height" value="0.025" units="cm"/>
      <inkml:brushProperty name="ignorePressure" value="1"/>
    </inkml:brush>
  </inkml:definitions>
  <inkml:trace contextRef="#ctx0" brushRef="#br0">53 1,'0'3,"-3"5,-2 4,-2 3,-4 3,0 1,2 1,2-3</inkml:trace>
</inkml:ink>
</file>

<file path=ppt/ink/ink23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5:58:58.192"/>
    </inkml:context>
    <inkml:brush xml:id="br0">
      <inkml:brushProperty name="width" value="0.05292" units="cm"/>
      <inkml:brushProperty name="height" value="0.05292" units="cm"/>
      <inkml:brushProperty name="color" value="#0070C0"/>
    </inkml:brush>
  </inkml:definitions>
  <inkml:trace contextRef="#ctx0" brushRef="#br0">4154 2646 0,'-26'0'0,"52"-13"15,-13 13-15,14 0 16,-1-14-16,27 1 0,-13 13 16,132-26-16,-119 12 15,0 1-15,-1 13 0,41-13 16,-40 0-16,-13 13 0,-1 0 15,-12-13-15,-1 13 0,1 0 16,-1 0-16,1 0 0,-14 0 0,13-14 16,-12 14-16,-14 14 15,13-14-15,-40 13 16,1-13 0</inkml:trace>
  <inkml:trace contextRef="#ctx0" brushRef="#br0" timeOffset="364.15">3942 2818 0,'-13'13'0,"79"-26"0,-26 13 16,13-13-16,0-1 0,79-12 15,-66 13-15,14-1 0,-14 1 16,13 0-16,-13 0 0,0 0 15,0-1-15,1 1 0,-14 0 0,-1 13 16,-12-13-16,0 13 0,0-14 16,-14 14-16,0 0 0,-12 0 0,-1 0 0,0 0 15,0-13-15,1 13 0,12 0 16,-13 0 0,1 0-16,-1 0 15,0 0 1,-13-13 46</inkml:trace>
  <inkml:trace contextRef="#ctx0" brushRef="#br0" timeOffset="7345.18">2593 3201 0,'-40'-26'0,"27"26"16,0-13-16,-14 13 0,14 0 16,-53 13-16,39-13 15,1 13-15,0-13 0,-14 13 0,0-13 16,27 14-16,-53 12 15,39-26-15,14 13 0,-13 14 16,26-14-16,-14 0 16,14 1-16,0 38 15,0-25-15,0-1 0,27 93 16,-14-79-16,0 13 16,1 13-16,-1-13 0,0 13 15,0 0-15,-13 1 0,27 157 16,-27-78-16,0-67 15,-14 159 1,1-145-16,0-14 0,0 1 0,0-1 16,-27 67-16,27-67 15,-1-13-15,1-13 0,0 13 0,0-13 16,-14 93 0,27-107-16,0 1 0,0-13 0,0-1 15,14 0-15,-14 1 0,13-14 16,0 14-16,-13-14 0,26 0 15,-12 0-15,-1 1 0,0-1 0,14-13 16,-14 0-16,0 0 0,0 0 16,14 0-16,-14-13 0,27-1 0,-14 1 15</inkml:trace>
  <inkml:trace contextRef="#ctx0" brushRef="#br0" timeOffset="8488.27">8572 3228 0,'40'-13'0,"-13"13"0,-14 0 0,0 0 16,0 0-16,1 13 0,-1-13 0,13 13 15,-13-13-15,1 13 16,-1 1-16,-13 12 0,13-13 0,0 14 15,1 12-15,12 107 16,-13-67 0,1-39-16,-14 13 0,13 0 0,0 0 15,-13 0-15,13 13 0,-13-26 0,13 12 16,1 54 0,-1-53-16,-13 0 0,13-13 0,-13-1 0,13 14 15,14 80 1,-14-94-16,14 80 15,-14-79-15,0 0 0,0-14 16,-13 14-16,13-14 0,14 27 16,-27-26-16,26 39 15,-12-26-15,12-1 16,-13-12-16,-13-1 0,14-13 0,-1 27 16,-13-27-1,13 14-15,0-1 0,-13-12 16,0 12-16,0-13 0,0 0 15,0 1-15,0-1 0,-13 0 16,0 0-16,0 14 0,-1-14 0,-25 27 16,12-27-16,14 0 15,-14 0-15,1 1 0,13-1 16</inkml:trace>
  <inkml:trace contextRef="#ctx0" brushRef="#br0" timeOffset="10239.21">19037 2858 0,'13'0'0,"0"-14"32,-26 1 14,0 26-46,-40 1 16,40-14-16,-54 26 16,41-13-16,13 0 15,0-13-15,-1 14 0,1-14 0,0 13 16,-14 0-16,27 0 16,-13 1-16,13-1 0,0 0 15,13 0 1,-13 0-16,40 1 15,-27-14-15,1 13 0,-1-13 16,13 13-16,-13-13 16,27 27-16,-27-27 15,-13 13-15,0 0 16,0 0-16,-13-13 16,-27 40-1,27-40-15,0 13 0,-27 0 16,1-13-1,25 0 1,-12 0-16,39-13 31,-13 0-15</inkml:trace>
  <inkml:trace contextRef="#ctx0" brushRef="#br0" timeOffset="10645.69">19434 2831 0,'-27'0'15,"1"13"1,13-13-16,-1 0 0,14 14 0,-13-14 0,0 0 15,0 13-15,-1-13 0,14 13 16,-13 0-16,26 14 16,-13-14-1,14-13-15,-1 13 0,13 14 32,1-14-32,-14-13 0,0 13 0,0 0 15,1 0 1,-14 1-16,-14 12 15,14-13-15,-13-13 0,0 14 16,-13-1 0,-1 0-16,14 0 0,-14-13 0,14 14 15,0-14-15,-14 13 0,14-13 0,0 0 16,0 0-16,0 0 16,13-13-1</inkml:trace>
  <inkml:trace contextRef="#ctx0" brushRef="#br0" timeOffset="10996.37">19738 2818 0,'0'-13'0,"-13"39"31,13-13-31,0 1 16,-14 38-1,14-25-15,-13-14 0,13 14 0,0-14 0,0 13 16,0-13-16,0 1 0,-13 12 15,13-13-15,0 14 16,0-14-16,0 14 16,0-14-1,13-13 1</inkml:trace>
  <inkml:trace contextRef="#ctx0" brushRef="#br0" timeOffset="11567.51">19751 2897 0,'0'-13'0,"40"0"15,-27 13 1,27-13 0,-27 13-1,0 0-15,0 0 16,-26 26 0,0-13-1,13 0 1,13 1-16,0-1 15,27 13 1,-27-12-16,27 12 16,-40-13-16,13-13 15,-13 27 1,0-1-16,-13-13 16,13 1-16,-13-14 0,0 13 15,-1 0-15,-12-13 0,13 13 0,-1-13 16,1 14-16,0-14 0,-13 13 0,12-13 15,-12 13-15,13-13 16</inkml:trace>
  <inkml:trace contextRef="#ctx0" brushRef="#br0" timeOffset="12354.89">18812 3559 0,'26'0'16,"67"-14"0,-53 1-16,26 0 0,-13 0 15,13-1-15,172-25 16,-145 12-16,12 14 0,186-40 16,-198 40-1,-14 0-15,14 0 0,-14-1 0,146-25 16,-185 39-1,0-14-15,-14 14 0,14 0 16,-27-13-16,0 13 0,-52 0 31</inkml:trace>
  <inkml:trace contextRef="#ctx0" brushRef="#br0" timeOffset="12835.07">19129 3731 0,'0'-14'0,"0"41"0,0-1 0,0-12 0,0 12 16,14-13-16,-14 27 0,0-27 15,0 0-15,13 14 0,-13-14 16,0 27-1,0-27-15,0 0 0,0 0 16,0 1-16,0-1 0</inkml:trace>
  <inkml:trace contextRef="#ctx0" brushRef="#br0" timeOffset="13176.55">19103 3770 0,'79'-39'0,"-65"52"0,38-13 16,1 40-1,-39-27-15,12 26 16,-26 1-16,-13 13 16,-14 0-1,14-40-15,-13 0 0,12 14 16,1-14-16,0 0 0,0 1 16,0-14-16,-1 13 0,1-13 0,0 13 15,0-13 1</inkml:trace>
  <inkml:trace contextRef="#ctx0" brushRef="#br0" timeOffset="13566.43">19698 3612 0,'-26'-27'0,"26"14"15,-27 39 16,27-12-31,0-1 16,0 0-16,0 13 0,0 1 16,0-1-16,0 14 0,14 79 15,-14-92-15,0 12 0,13-12 16,-13-14-16,0 13 0,13 1 16,-13-14-16,13 0 0,0 27 15,-13-27-15,14 1 16</inkml:trace>
  <inkml:trace contextRef="#ctx0" brushRef="#br0" timeOffset="13777.77">19500 3982 0,'13'-26'15,"40"12"1,-27 14-16,14-13 0,0 0 0,-1 0 16,1-1-16,-13 1 0,12 0 0,1 0 15,-14-1-15,1 14 0,-14-13 16,14 13-16,-14-13 0,13 13 16,-13-13-16,1 13 0,-1 0 15</inkml:trace>
  <inkml:trace contextRef="#ctx0" brushRef="#br0" timeOffset="17210.37">18045 4762 0,'-14'0'0,"54"-13"0,0 0 15,13 0-15,185-40 16,-132 26-16,145-25 0,-106 25 15,1 1-15,0-14 0,26 13 16,-14 1-16,1 0 0,0 12 0,13-12 16,-27 13-16,14-14 0,119 1 15,-146 12-15,0 1 0,-39 0 16,0 13-16,-14-13 0,0 13 0,-13 0 16,-13-13-16,-13 13 0,26 0 15,-39 0-15,-14 0 16,0 0-16,0 0 0,1 0 15,-54 0 1,-13 0 0</inkml:trace>
  <inkml:trace contextRef="#ctx0" brushRef="#br0" timeOffset="18382.7">19685 5146 0,'13'-13'0,"-26"13"15,-27 0 1,27 0-16,0 0 0,0 0 0,-1 13 16,-12-13-16,13 13 0,-1-13 15,1 0-15,0 14 0,0-14 0,0 13 16,-1-13-16,14 13 0,0 0 15,14-13 1,12 27-16,-13-14 16,14 0-16,-14 0 0,13 1 15,-12-14-15,12 13 0,-13 0 0,1 0 16,-1 1-16,0-14 0,0 13 0,0 0 16,-13 0-16,14-13 0,-14 14 15,0-1-15,-14 0 0,14 0 16,-13 0-16,0-13 0,0 14 15,0-1-15,-27 0 0,27 0 16,-1-13-16,1 0 0,0 14 16,0-14-16,-1 0 0,1 0 0,0 13 15,0-13-15,13-13 32</inkml:trace>
  <inkml:trace contextRef="#ctx0" brushRef="#br0" timeOffset="18703.14">19910 5199 0,'-13'0'16,"-1"0"-16,1 13 0,-13-13 15,26 14-15,-13-14 16,13 13-16,13 0 15,0 0-15,0 0 16,14 14-16,-14-27 16,27 26-1,-27-12-15,0-1 0,0-13 16,-13 13-16,13 0 0,-13 14 16,0-14-1,-13 0-15,0 0 0,0-13 0,0 14 16,-14-1-16,1 13 0,-1-12 0,1-14 15,-14 13-15,14 0 0,12 0 16,-25 0-16</inkml:trace>
  <inkml:trace contextRef="#ctx0" brushRef="#br0" timeOffset="19651.27">20254 5265 0,'0'-13'16,"0"0"-1,-13 39 1,13-13 0,13 1-16,-13-1 15,0 0-15,13 14 16,0-27-16,1 13 0,-1-13 0,0 0 16,27 0-1,-27 0-15,0-13 0,27-1 16,-27 14-16,0-13 0,1 13 0,-1 0 15,13-13 1,1 13-16,-27 13 16,13-13-16,0 0 0,0 13 0,14 1 15,-14-14 1,0 0-16,14 0 16,-14-14-1,0-25 1,0 25-16,-13-25 15,0 26-15,0-1 16,0 1-16,0 0 0,0 0 0,0-1 16,0 1-1,-13 0-15,13 39 16,-26 14 0,13-27-16,-1 1 15</inkml:trace>
  <inkml:trace contextRef="#ctx0" brushRef="#br0" timeOffset="20012.25">19394 6046 0,'79'-40'0,"-13"14"16,186-54-16,-133 54 16,13-14-16,-13 14 0,14-14 15,-14 13-15,13 1 0,-13 0 0,13-1 16,212-39-1,-251 53-15,-14-14 0,1 27 0,39-26 16,-66 13-16,-27 13 16,0-14-16,-12 14 0,-1 0 0,0 0 15,-53 0 17,27 0-32</inkml:trace>
  <inkml:trace contextRef="#ctx0" brushRef="#br0" timeOffset="21164.04">20188 6271 0,'0'53'0,"0"-40"0,0 13 15,13 54 1,-13-41-16,0 1 0,13 26 15,0-39-15,1-1 16,-14-13-16,0 1 0,13-14 16,-13 13-16,0 0 0,-13-13 15,-1 0 1,-12-13-16,13 13 16,-1 0-16,1-13 0,-40 13 15,40 0 1,-13 0-16,12 0 0,1 0 0,-13 13 15,12 0-15,1-13 0,13 13 16,0 0-16,-13-13 0,13 14 0,13 12 16,0-13-1,1 1 1,12-14-16,1 0 0,-14 0 0,0 0 16,27-14-16,13 1 15,-14 0 1,-25 0-16</inkml:trace>
  <inkml:trace contextRef="#ctx0" brushRef="#br0" timeOffset="21521.65">20664 6271 0,'-26'-27'15,"26"14"-15,-40-14 16,27 27-16,-1-13 0,1 13 16,-40 13-1,27 27 1,13-27-16,13 14 0,0-1 16,0 14-16,0 0 0,0-1 0,0 1 15,39 106 1,-26-93-16,1-14 0,-1 1 15,0 0-15,0-1 0,1-12 0,-1 12 0,0-25 16,0 12-16,1-13 0,-14 1 16,13 12-16,0-13 15,-13 0-15,13-13 0,-13 14 16,0-41 0,0 14-1</inkml:trace>
  <inkml:trace contextRef="#ctx0" brushRef="#br0" timeOffset="21710.56">20360 6826 0,'-14'-13'0,"28"0"16,12-14-16,-13 27 16,14-13-16,13 0 0,52-40 15,-52 40-15,66-27 16,-80 27-16,1 0 15,-1 13-15,0-14 0,-12 14 16,-1-13-16,13 13 0,-12-13 0,-1 13 16</inkml:trace>
  <inkml:trace contextRef="#ctx0" brushRef="#br0" timeOffset="25431.84">10041 3876 0,'26'13'16,"1"1"-1,-14-14-15,0 0 16,1 13-16,12-13 0,27 13 15,-27-13-15,1 0 16,52 13-16,-52-13 16,65 0-1,-52 0-15,-14 14 0,1-14 16,-14 0-16,14 0 0,-1 0 0,0 0 16,27-14-16,-26 14 15,-14 0-15,14 0 0,-14 0 16,0-13-16,0 13 0,27-13 15,-27 13-15,0 0 0,14-13 16,-14 13-16,0-14 0,14 1 16,-1 13-16,14-26 15,-27 26-15,0-14 16,1 1-16,-1 13 0,0-13 0,13 0 16,-12 0-1,12-1 1,-13 1-16,1 0 0,-14 0 0,13-1 15,0 14 1,-13-13-16,13-13 16,1 26-16,-14-14 0,0-12 15,0 13 1,0-14 0,-14 14-16,14 0 15,-39-27 1,-1 0-1,13 27-15,14 0 0,-13 0 0,-14 0 16,-39-14 0,39 14-16,-39 0 15,52-1-15,1 14 0,-1-13 16,-12 13-16,12-13 0,1 13 0,-1 0 16,-12 0-16,12-13 0,1 13 0,-1 0 15,-12 0-15,12 0 16,14 0-16,-14 0 0,14 0 0,-13 0 15,12 0-15,-12 13 0,13-13 16,-40 0-16,40 0 16,-1 13-16,-12-13 0,13 0 0,-1 13 15,-12-13-15,13 14 0,-14-14 16,-26 26 0,40-26-16,0 13 0,-14-13 0,14 14 0,0-14 15,0 13-15,0 0 0,-27 13 16,27-12-1,-1-1-15,14 0 0,-13 0 0,0 1 16,13-1-16,-27 27 16,14-27-16,13 0 0,-13 27 15,13-27-15,0 0 16,0 27 0,0-27-16,0 27 15,0-27-15,0 0 16,0 0-16,-13 14 0,13-14 0,-27 14 15</inkml:trace>
  <inkml:trace contextRef="#ctx0" brushRef="#br0" timeOffset="28161.16">10954 4128 0,'-13'13'0,"-1"-26"109,14-1-93,-13 14-16,0-13 0,0 13 15,13-13-15,-14 13 16,-12-13-16,-14-1 15,27 1-15,-13 13 0,12-13 0,1 13 16,-13-13-16,12 13 0,-12-14 16,13 14-16,-14 0 0,14-13 0,-40 13 15,27-13 1,-27 26 0,40-13-16,-14 0 0,14 13 0,-14-13 15,1 14-15,-14 12 16,27-13-16,-27 14 0,27-14 15,0 0-15,-53 80 16,66-67-16,-14-12 16,1 52-16,13 0 15,13 0 1,14-26 0,-14-27-16,53 53 15,0-26-15,-26-27 0,40 0 16,-41 0-16,27-13 15,-39 0-15,12 0 0,67-13 16,-66 0 0,0 0-16,52-27 15,-39 14 1,-40 12-16,1-12 0,25-27 31,-25 13-31,-14 27 0,0 0 0,-14 0 16,14-14-16,-13 1 15,0-1-15,0 14 0,-1 0 0,-12 0 16,13-1-16,-14 1 0,-39-27 16,40 27-16,-1 13 15,1-13-15,-54 0 16,54 0-16,13 13 0,-1 0 0,-12 0 16,-14 13-1,27-13-15,-13 13 16</inkml:trace>
  <inkml:trace contextRef="#ctx0" brushRef="#br0" timeOffset="29953.38">4154 6522 0,'26'-13'15,"-12"13"-15,-1 0 0,13-13 16,-12-1-16,-1 14 16,0 0-1,0-13-15,-39 40 32,-14-27-17,40 13-15,-13-13 16,0 0-16,-1 13 15,28-26 48,-54 13-32,14 13-31,12-13 16,1 0-16,0 13 0,0-13 15</inkml:trace>
  <inkml:trace contextRef="#ctx0" brushRef="#br0" timeOffset="30479.2">4643 6496 0,'27'0'32,"-14"0"-17,-26 0 17,-14 13-17,14-13 1,0 13-16,-13-13 15,26 13-15,26-13 32,27-13-17,-40 13-15</inkml:trace>
  <inkml:trace contextRef="#ctx0" brushRef="#br0" timeOffset="32610.28">5146 6522 0,'-13'0'0,"66"-13"16,-40 13 0,14 0-16,-1-13 15,0 13-15,-12 0 0,-1 0 0,-13-14 16,13 14-16,0 0 0,1 0 16,-1 0-1,-13 14 1,-13-14-1,-1 13-15,1-13 32,40 0-1,-1-13-15,-13 13-16,1 0 15,-1-14-15,13 14 16,-13-13-16,14 0 15,-14 0-15,-13-1 0,13 14 0,1-13 16,12-13 0,-26 12-16,0 1 0,13 0 15,-13 0-15,13-14 0,-13 14 0,0 0 0,0 0 16,14-40 0,-28 39-16,14 1 0,0 0 15,0 0-15,-13 0 0,0-1 16,-13-12-1,-14 13-15,27 13 0,-14 0 16,14 0-16,-13 0 0,12 0 16,-12 0-16,-1 0 0,14 0 0,-13 13 15,12-13-15,-38 13 0,38 0 16,-12 1-16,-27 12 16,40-13-16,-1 0 0,1 14 15,0-14-15,0 14 16,13-14-16,0 0 0,-13 14 0,13-14 15,0 0-15,13 0 0,-13 0 16,13 1-16,-13-1 0,13 0 0,0 14 16,1-14-16,-1 0 15,0 0-15,27 14 16,-27-27-16,0 13 0,1-13 0,-1 0 16,-13 13-16,13-13 0,0 0 15,0 13-15,1-13 16,-1 0-1,-13 14 1,13-14 0,0 0 15,-13 13 16,0 0 625,0 0-657,-13-13 48</inkml:trace>
  <inkml:trace contextRef="#ctx0" brushRef="#br0" timeOffset="35045.51">11589 8533 0,'0'-53'15,"0"40"-15,-13-1 0,-1 1 16,-12 0-1,13 0-15,-1 13 0,-12-13 0,-1 13 16,1-14-16,0 14 0,-1 0 0,1 0 16,-14 0-16,-79 27 15,79-14-15,0 13 16,1-12-16,12-1 0,-12 13 0,12 1 0,14-1 16,-13 1-16,-1 65 15,14-65-15,13-1 16,13 27-16,0-13 0,14-14 15,-14 14-15,93 26 16,-27-26-16,-26-27 16,-13 0-16,13 1 0,-14-14 0,14 0 15,-13 0-15,13 0 0,-13-14 16,79-12-16,-93-1 16,14 14-16,-14 0 0,1-14 0,-1 14 15,-13-13-15,27-27 16,-27 26-16,-13 1 15,14-14-15,-14 14 0,-14-80 16,1 66 0,0 1-16,-66-80 15,26 79-15,-40-13 16,67 53 0,12-13-16,-25 13 0,25-14 0,-25 14 15,12 0-15,1 0 0,13 0 16,-27 0-16,13 0 0,1 0 0</inkml:trace>
  <inkml:trace contextRef="#ctx0" brushRef="#br0" timeOffset="36999.19">11086 9935 0,'-13'13'16,"26"1"0,0-14-16,-13 13 15,13-13-15,1 0 16,-1 0-16,0 0 0,0 0 0,54 0 15,-54 0 1,40-13-16,-27 13 0,1-14 0,-1 14 16,1-13-16,52-13 15,-66 12-15,0 1 0,14 13 16,-14-13-16,0 13 0,27-27 16,-27 14-16,-13 0 15,13 13-15,1-26 0,-14 12 16,0 1-16,0 0 0,0 0 15,0-14-15,0 1 0,-14-1 16,14 14-16,-13-13 0,13-1 16,-13 14-16,0-14 0,0 1 0,13 13 15,-14-14-15,1 14 0,0-13 0,0 12 16,-14 1-16,14 0 0,-27-27 16,27 27-16,-13 0 0,-27-14 15,26 14 1,1 13-16,12 0 0,-65-13 15,53 13-15,-1 0 16,14 0-16,-27 0 0,14 13 0,-1-13 16,1 13-16,-1-13 0,-12 14 0,-1-1 15,-13 13-15,27-13 16,-1-13-16,14 14 0,-13-1 16,-1 13-16,14-12 0,0-1 0,-14 0 0,14 14 15,0-1 1,-1-13-16,1 40 15,0-13-15,13-27 16,13 0-16,-13 14 0,0-14 0,13 13 16,1 1-16,-14-14 0,26 27 15,-13-27-15,14 0 0,-14 0 0,0 1 16,14-1-16,-14 0 0,13 0 16,-12 1-16,12-14 0,1 13 15,-1-13-15,-13 0 0,14 13 16,-14-13-16,0 0 0,0 0 0,1 0 15,-1 0-15,0 0 0,0 0 16,1 0-16,-1 0 16,0 0-16,0 0 15,0 0 1,1 0 0,-1 13 30,0-26 48,-13 26 234,13-13-312</inkml:trace>
  <inkml:trace contextRef="#ctx0" brushRef="#br0" timeOffset="39415.75">14340 10530 0,'27'-13'32,"13"-13"-32,-14-1 15,0 1-15,27-1 0,-13-12 16,13 12-16,132-118 16,-105 92-16,-1 0 0,0 0 15,1 0-15,105-66 16,-132 79-16,0 14 0,0-14 15,79-39-15,-106 66 16,14-14-16,13 1 16,-53 12-16,13 14 0,0-13 15,1 0 1,-28 26 0,14 0-1,-13 1-15,13-1 0,-13 0 0,0 0 16</inkml:trace>
  <inkml:trace contextRef="#ctx0" brushRef="#br0" timeOffset="39971.35">15584 10491 0,'132'-119'0,"-92"92"0,13-12 0,0-1 0,0 0 16,13-26-16,13 13 0,-13 0 0,14-13 16,-14 13-16,26 0 0,-12-13 15,-1 13-15,1 0 0,-1 0 0,-13 14 16,-13-1-16,0 13 0,13 1 0,-26 0 16,-1-1-16,41-13 15,-67 40-15,0-13 0,1 13 16,-14-13-16,26 13 15,-39 26 17,0 14-17</inkml:trace>
  <inkml:trace contextRef="#ctx0" brushRef="#br0" timeOffset="41006.26">15650 9657 0,'79'-39'0,"-39"25"0,0-12 16,-14 13-16,27-14 0,0 1 0,40-40 16,-40 39-1,13-13-15,-13 14 0,13-14 0,0 14 0,0-14 16,0 14-16,0-1 0,1-12 0,-1 12 15,0 1-15,-13-1 16,13 1-16,-13 13 0,-13-1 0,-1 1 0,67-27 31,-79 27-15</inkml:trace>
  <inkml:trace contextRef="#ctx0" brushRef="#br0" timeOffset="41712.39">16894 10438 0,'53'-80'0,"-40"54"0,26-14 0,-12-13 0,13 14 16,-1-1-16,1-13 0,0 0 15,39-53-15,-39 53 16,-1 14-16,1-14 0,-13 13 0,12-13 16,-12 27-16,-1-14 0,1 14 0,-14 12 15,0 1-15,0 0 0,1 0 16,-14-1-16,13 1 0,0 0 15,0 13-15,0 0 16,1 0 0,-14-13-16</inkml:trace>
  <inkml:trace contextRef="#ctx0" brushRef="#br0" timeOffset="42412.88">16417 8850 0,'93'27'16,"53"-1"-16,-80-13 16,0-13-16,79 27 0,-65-27 15,-1 13-15,0-13 0,1 13 16,12-13-16,-12 0 0,-1 14 16,67-14-16,-93 13 15,0-13-15,-14 13 0,1-13 0,-14 13 0,1 1 16,-14-14-16,14 13 0,-14 13 15,0-13-15,-13 1 0,13 12 0,-13-13 16,0 27-16,-13 0 0,13-1 16,-13 28-16,-14-15 0,14 15 0,-13-1 15,-1 0-15,-26 53 0,40-53 16,-13-13-16,-1 13 0,14-13 16,0-13-16,-1-1 0,1 1 0,13-13 15,0-1-15,13 14 16</inkml:trace>
  <inkml:trace contextRef="#ctx0" brushRef="#br0" timeOffset="42795.65">19711 8374 0,'27'132'15,"-27"-118"-15,0 12 0,0-13 0,13 14 0,-13-14 16,0 27-16,0-27 0,0 0 16,0 0-16,0 1 0,0 12 15,0 0 1</inkml:trace>
  <inkml:trace contextRef="#ctx0" brushRef="#br0" timeOffset="43233.81">20201 8401 0,'-53'-14'0,"40"14"16,-14 0 0,1 14-16,13-14 0,-1 0 0,1 13 15,0-13-15,13 13 16,26 13-1,-12-26-15,12 27 16,-13-27-16,14 13 0,-14 0 16,13 1-16,27 25 15,-53-26 1,0 14-16,-13 13 16,0-27-16,0 0 15,-14 0-15,14 1 0,-13-14 0,12 13 16,-12 0-16,-1 0 0,14-13 0,0 13 15,-14-13-15,14 0 0,0 0 16,0 14-16,0-14 16</inkml:trace>
  <inkml:trace contextRef="#ctx0" brushRef="#br0" timeOffset="43554.04">20426 8440 0,'13'-13'15,"0"13"-15,14-13 16,-14 13-16,27 0 16,13-13-1,26-1 1,-53 14-16,-12 0 15,-1 0-15</inkml:trace>
  <inkml:trace contextRef="#ctx0" brushRef="#br0" timeOffset="44960.41">21127 8308 0,'40'-27'0,"-40"14"0,13 13 15,0 0-15,27-13 16,-27 13-16,0 0 0,0 0 0,1 0 16,-14 13-1,13-13-15,-13 13 16,0 1-1,0-1-15,13-13 16,-13 13-16,13 0 16,1 1-16,-1-1 0,0 0 15,0 0-15,1 14 16,-14-14-16,0 0 16,0 0-16,-14-13 0,14 14 15,-13-1-15,-13 13 16,12-26-16,1 14 0,0-1 0,0-13 15,13 13 1</inkml:trace>
  <inkml:trace contextRef="#ctx0" brushRef="#br0" timeOffset="45225.01">21775 8281 0,'0'-13'0,"27"0"16,-14 13-16,0 0 0,0-13 0,14 13 15,-14 0-15,0-13 0,1 13 16,-1 0-16,0 0 0,0 0 0,0 0 16,1 0-16,-14 13 15</inkml:trace>
  <inkml:trace contextRef="#ctx0" brushRef="#br0" timeOffset="45407.49">21722 8427 0,'27'0'16,"-14"-13"-16,40 13 15,-27-13-15,-12 13 16,52-14 0,-27 1-16,1 13 15,-27-13-15</inkml:trace>
  <inkml:trace contextRef="#ctx0" brushRef="#br0" timeOffset="46102.54">22953 8162 0,'-14'40'15,"14"-27"-15,0 1 0,0-1 0,0 53 16,0-40-1,0-12-15,0 12 0,0-13 0,14 14 0,-14-14 16,0 13-16,0-12 0,0-1 16,13 0-16,-13 0 0,13 1 15</inkml:trace>
  <inkml:trace contextRef="#ctx0" brushRef="#br0" timeOffset="46593.41">23151 8242 0,'66'0'0,"-53"13"16,-13 0-16,-13 0 0,13 1 15,-26 12-15,13 1 0,-14-1 0,1 1 0,-1-1 16,1-13-16,12 14 16,1-14-16,0-13 0,-13 26 15,39-12 1,0-14 0,0 0-16,14 0 0,52-14 15,-39 1-15,-1 13 16,-12-13-16,-1 13 0,1-13 15,-1 13-15,-13 0 0,14 0 0,-14 0 16,14 0-16,-27 13 0,0 0 16</inkml:trace>
  <inkml:trace contextRef="#ctx0" brushRef="#br0" timeOffset="46958.51">22886 8811 0,'212'-53'0,"-159"26"0,66-26 15,-66 27-15,13-1 0,27-26 16,-14 14-16,1-14 0,-1 0 0,80-66 16,-93 53-16,0-14 15,-13 14-15,-13 0 0,-14 0 0,-13 0 16,0 0-16,-26 26 0,0-13 0,-13 13 15,-14 1-15,-13-1 0,-13 27 16,-14 0-16,1 13 0,-27 0 0,-13 13 16,-132 53-16,132-26 0,0 13 15,13-1-15,0 1 16,-53 66-16,106-79 0,14 0 0,-1 39 16,40-52-16,13 12 15,14-12-15,-1-1 0,14 1 16,26-1-16,0 1 0,0-14 0,14 0 0,-14 0 15,53 1-15,-66-14 16,-27 0-16,14 0 16</inkml:trace>
  <inkml:trace contextRef="#ctx0" brushRef="#br0" timeOffset="49415.57">13613 13613 0,'53'13'16,"-27"-13"-16,1 0 0,26 13 0,-1-13 15,1 0-15,93 13 16,-67-13-16,80 14 0,-66-14 0,-14 0 16,106 13-16,-92-13 15,13 0-15,-14 0 0,14 0 0,0-13 16,26 13-16,-13-14 0,146-12 15,-133 26-15,-13-26 0,0 12 16,14 1-16,105-13 0,-146 12 16,27 1-16,93-13 0,-119 13 15,-1-1-15,80-12 16,-79 13-16,-14-1 0,14 1 16,-1 0-16,80-27 0,-92 27 15,79-13-15,-80-1 0,-13 14 16,13-14-16,-12 14 0,52-27 15,-66 27-15,26-13 16,-39 13-16,-1-14 0,27 1 16,-39 12-16,-1 1 15,1-13-15,-1 13 0,1-1 0,-1 1 0,1-13 16,-14 12-16,0 1 0,0 0 0,27-27 16,-27 27-1,0 0-15,27-27 16,-40 27-16,13 0 0,-13-1 0,14 1 15,-14-27-15,0 27 16,0-13-16,-14-14 16,14 14-16,-13 12 0,0-12 15,-27-27-15,27 27 16,-13-1-16,12 14 0,-12-14 0,-14 14 16,14-13-16,-40-14 0,-14 14 15,-39-1 1,66 14-16,-26-14 15,-1 14-15,28 13 0,12 0 16,0-13-16,-13 13 0,14 0 16,-54-13-16,0 13 15,40 0-15,1 0 0,-94 0 16,93 13-16,-66-13 16,66 0-16,0 13 0,-13-13 15,-159 13 1,172 1-16,0-14 0,0 0 15,-66 13-15,0-13 16,66 0-16,0 0 0,1 0 16,-15 0-16,-38 13 15,38-13-15,14 0 0,-118 13 16,118-13-16,-27 0 16,27 14-16,-66-14 0,53 13 15,-66 0-15,52 0 0,-52 0 16,66-13-16,-66 27 15,52-27-15,-118 26 16,145-12-16,-13-14 16,-40 13-16,0 0 0,53-13 15,14 13-15,-67 1 16,0-1-16,13 0 16,40-13-16,14 13 0,-14-13 15,13 13-15,-13-13 0,-26 14 16,-1-1-16,14-13 15,27 13-15,-1-13 0,0 13 16,1 1-16,-1-14 0,0 13 16,-79 13-16,79-12 15,14-1-15,-53 13 0,52-26 16,-26 27-16,-13 12 16,13-12-16,0-1 15,-13 27 1,26-13-16,14-27 15,-1 27-15,14-27 16,-13 14-16,-27 52 16,26-26-16,14 0 15,0-14-15,13-12 16,0-1-16,0 1 0,0 12 16,13-12-16,14 39 15,-14-39-15,40 25 0,-27-25 16,27 13-16,27-1 15,-1-12-15,-26-14 0,66 0 16,13 0-16,-66-13 16,172-13-1,27-13 1,-106 12-16,-67 1 0,-12 13 16,-1-13-16,14 13 0,-14-13 15,-13 0-15,67-1 0,-28 1 16,-12 13-1,-27-13-15,-39 13 0,12 0 16,-12 0-16,-1 0 0,1 0 16,12 0-16,-12 0 15,-14 0-15,13 0 16,-12 0 0,-1 0-16,0 0 0,14 0 0,-1 0 15,27-13-15,26-1 16,27 1-16</inkml:trace>
  <inkml:trace contextRef="#ctx0" brushRef="#br0" timeOffset="52929.13">5927 9155 0,'-14'-14'15,"54"28"1,-13-14-16,-1 0 0,14 0 16,52 13-16,14 0 15,-53-13-15,13 0 0,0 13 16,1-13-16,12 0 0,0 0 0,80 0 16,-80-13-16,14 13 0,0 0 15,-14-13-15,14 13 0,-14-13 16,0 13-16,1-14 0,-14 1 0,13 0 15,-13 0-15,67-14 0,-80 27 16,0-13-16,-14 0 16,54-14-16,-14 14 0,-13-13 15,-39 12-15,-1 14 0,14-26 16,0-1 0,-14 27-16,-13-13 0,1 0 15,-1 0-15,0 0 0,0-1 16,0 1-16,1-13 0,-1 12 15,0-12-15,0-1 16,-13 14-16,0 0 16,0 0-16,-13 0 0,13-1 0,-13-39 15,0 27 1,13 13-16,-14-14 0,-12 1 0,0-14 16,-14 14-16,13-14 15,14 27-15,-40-27 16,27 27-16,13 0 15,-14-1-15,1 1 0,-67-27 16,67 27 0,-14 0-16,-39 0 0,26 0 15,-27-1-15,-26 14 16,1 0-16,25-13 16,14 13-16,-80 13 0,80-13 15,-13 14-15,-53-14 0,-14 13 16,80 0-16,-159 13 15,159-26-15,0 14 16,-14-14-16,-52 13 16,0 13-16,13-12 15,26 12-15,1 1 16,-27 25 0,79-25-16,0-14 0,-39 40 15,-1-13-15,28-1 16,-1 1-16,26 0 15,1-1 1,26-12-16,0-14 0,0 14 16,13-1-16,27 67 0,-14-67 15,1 1-15,12-1 0,-12 1 16,52 25-16,-39-38 16,13 12-16,66 1 0,-53-1 15,0-13-15,66 14 0,14-14 16,52 13-1,-145-12-15,132-14 16,-118 0-16,52 13 16,-53-26-16,79 13 15,1-14-15,-80 1 0,53 0 16,-66 13-16,79-26 16,-66 12-16,93-12 15,-106 13-15,79-14 16,-52 14-1,-41 0-15,-12-1 0,26 1 16,0 0-16,-14-13 16,1 12-16,0-12 15,-14 13-15,14-1 16,-14 1-16,14-13 16,13-1-16,0 1 15,0-1-15,-40 14 16,40-27-1,-40 27-15,0 0 0,14-14 16,-14 14-16,13-26 16,-26 12-16,14-26 15,-14 40-15,-27-40 16,14 13-16,-27-13 16,1 14-16,-41-14 0,41 26 15,-14 14-15,-133-53 16,120 53-16,-79-14 15,-1 14-15,67 0 0,-67 0 16,-12-1-16,78 14 16,-79-13-16,1 13 15,78 0-15,1 0 0,0 0 16,-80 13-16,80 1 16,-1-14-16,1 13 0,-80 13 15,0 1-15,14 12 16,-40 41-1,118-54-15,-38 54 16,52-54-16,0 14 0,0-1 0,-40 41 16,54-40-16,-28 52 15,1 1 1,13 26-16,40-93 16,13 14-16,27 39 0,-14-39 15,53 53-15,-26-54 0,52 14 16,14 0-1,-40-40-15</inkml:trace>
  <inkml:trace contextRef="#ctx0" brushRef="#br0" timeOffset="56421.83">6019 11681 0,'0'67'15,"0"-41"-15,0-13 0,0 14 16,0-1-16,13 1 0,-13-1 16,0 0-16,0 14 0,14-13 0,-14-14 15,0 0-15,13 0 0,-13 1 16,0-1-16,0 0 0,13 0 15</inkml:trace>
  <inkml:trace contextRef="#ctx0" brushRef="#br0" timeOffset="56786.65">6390 11642 0,'-93'66'16,"67"-40"-16,12-26 0,1 14 16,0 12-1,13-13-15,13 27 16,0-27-16,1-13 15,-1 13-15,0 1 0,0-1 0,1 0 16,-1 0-16,0 0 0,0 14 16,-13-14-1,0 0-15,-13 1 0,13-1 16,-13 0-16,0 0 0,-1 1 16,1-1-16,0 0 0,0-13 15,-1 0-15</inkml:trace>
  <inkml:trace contextRef="#ctx0" brushRef="#br0" timeOffset="56973.42">6522 11880 0,'26'-13'15,"-12"-1"-15,-1 14 0,0-13 16,27 0 0,-27 13-16,-13-13 0,13 13 15</inkml:trace>
  <inkml:trace contextRef="#ctx0" brushRef="#br0" timeOffset="57357.9">6906 11602 0,'26'0'0,"-26"13"16,0 0-16,0 1 16,0-1-16,13 0 15,-13 0 1,14-13-16,-14 14 15,13-14-15,-13 13 0,13-13 0,-13 13 16,13-13-16,-13 13 0,0 1 16,0-1-16,0 0 15,0 0-15,0 0 0,-13 1 0</inkml:trace>
  <inkml:trace contextRef="#ctx0" brushRef="#br0" timeOffset="57827.68">6376 12343 0,'278'-80'0,"-225"67"16,0-13-16,0-1 0,13 14 0,-13-13 15,53-41-15,0 15 16,-67 12-16,1 0 0,0 0 16,26-39-16,-40 39 15,-12-12-15,25-41 0,-25 40 16,-1-13-16,0 0 0,-13 13 0,0-13 16,-13-1-16,-14 1 0,1 13 15,-27 0-15,-53-52 16,-26 39-16,-14 39 0,67 14 15,-14 26-15,1 0 16,-133 40-16,106-13 0,-93 66 16,14 13-16,118-53 15,-92 66-15,106-52 16,-66 65-16,79-65 0,-13 25 16,39-39-16,14-13 0,0 0 15,13-13-15,13 13 0,0-13 16,67 52-16,12-39 15,-26-40-15,93 1 0,-66-28 16,26 1-16,-13-13 0</inkml:trace>
  <inkml:trace contextRef="#ctx0" brushRef="#br0" timeOffset="61101.62">13123 4313 0,'371'-40'0,"-305"27"0,-13 13 0,66-13 16,-79 13-16,12 0 0,-12 0 15,-13 0-15,-1 0 0,1 0 16,-14 0-16,0 0 0,13 0 16,-12 0-16,-1 0 0</inkml:trace>
  <inkml:trace contextRef="#ctx0" brushRef="#br0" timeOffset="62358.57">13031 9591 0,'172'-26'16,"-106"12"-16,66-12 0,-52 13 15,-14 0-15,13-1 0,-13 1 16,133-27-16,-160 27 16,14 13-16,-13-13 0,0 13 0,-14-13 15,1 13-15,-1 0 0,-13-14 0,14 14 16,-14 0-16,0 0 15,14-13-15,-14 13 16,0 0 0</inkml:trace>
</inkml:ink>
</file>

<file path=ppt/ink/ink23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6:00:04.002"/>
    </inkml:context>
    <inkml:brush xml:id="br0">
      <inkml:brushProperty name="width" value="0.05292" units="cm"/>
      <inkml:brushProperty name="height" value="0.05292" units="cm"/>
      <inkml:brushProperty name="color" value="#0070C0"/>
    </inkml:brush>
  </inkml:definitions>
  <inkml:trace contextRef="#ctx0" brushRef="#br0">13348 6125 0,'80'-13'15,"-1"0"1,-13 13-16,0-14 0,14 14 0,-1-13 15,0 13-15,107-26 0,-94 26 16,1-14-16,13 14 0,185-26 16,-199 13-1,1 0-15,-14 13 0,1-14 0,52 1 16,-92 13-16,13 0 0,-27-13 16,0 13-16,1 0 0,-1 0 15,1 0-15,-14 0 16,0-13-16,14 13 15,-14 0-15,0 0 16,0 0 0,1-14-1,-1 14 110,-13 14-47</inkml:trace>
  <inkml:trace contextRef="#ctx0" brushRef="#br0" timeOffset="737.16">17568 6152 0,'106'0'16,"-53"0"-16,-13 0 0,13-14 15,53 14-15,-54 0 16,54-13-16,-66 13 15,0 0-15,-1-13 0,27 13 0,-39 0 16,26 0-16,-40 0 16,0-13-16,14 13 15,-1 0-15,-13 0 16,1 0-16,-1 13 31,-13 0-15,13-13-16</inkml:trace>
  <inkml:trace contextRef="#ctx0" brushRef="#br0" timeOffset="2653.04">20148 6046 0,'26'26'16,"1"-26"-1,39 13-15,-26 1 0,52-1 16,-39 0-16,66 14 16,-52-14-16,65 0 15,-53 0-15,-13-13 0,93 13 16,-13-13-16,-67 0 15,0-13-15,67 0 16,-67 13-16,-13-13 0,67 0 0,-67-1 16,53-12-16,-66 13 15,13-1-15,-13 1 0,13 0 16,53-27-16,-26 14 16,-40 13-16,-14-14 0,1 14 15,0 0-15,-1-14 0,41-12 16,-14-14-16,0 13 15,0-13-15,-13 0 16,0 0-16,-40 13 16,0 14-16,14 0 0,-14-41 15,0 1-15,-13 40 16,0-1-16,0-26 0,0 14 16,-13-1-16,0 0 0,-27-39 15,-13-14-15,-13 14 0,40 39 16,-54-26-1,41 26-15,-14 14 0,-40-40 16,40 39-16,-66-25 16,13-1-16,53 26 0,0 1 15,1-1-15,-134-26 16,54 14-16,0-1 16,13 13-16,-14 1 15,67 26-15,-13-13 16,26 13-16,-66 0 0,66-13 15,0 26-15,-53-13 0,53 0 16,14 13-16,-67 0 16,13 14-16,-26-1 15,79-13-15,-65 27 0,25-13 16,1 12 0,39-26-16,-26 27 15,0 0-15,0 0 16,26-14-16,14 0 0,-54 41 15,54-41-15,-1 0 16,-12 27-16,25-26 0,-12-1 16,13 1-16,-1 12 15,-12 28-15,13-41 16,13 1-16,-13 25 0,13 1 16,-14-26-1,14-1-15,0 27 0,0-26 0,0 92 16,0-93-1,0 14-15,0 39 16,14-13-16,-1-26 0,-13-13 16,39 78-1,-25-78-15,39 52 16,0-26-16,-14 0 16,1-40-16,-14 14 0,40-1 15,-26-13-15,40 14 16,-41-14-16,14 0 15,66 14-15,-39-1 16,-41-26-16,-12 13 16,-14-13-16,27 0 15,-27 14-15,0-14 16,0 0-16,1 0 0,-1 13 16,0-13-1,0 0 16,1 0-15,-14-13 0</inkml:trace>
  <inkml:trace contextRef="#ctx0" brushRef="#br0" timeOffset="8254.24">3135 4220 0,'40'-26'32,"39"12"-32,40-12 15,0 13-15,-52 0 16,-1-1-16,40-12 0,-53 26 16,-1-13-16,-12 13 0,0-14 15,0 14-15,12-13 0,-38 13 16,-1 0-16,0 13 0</inkml:trace>
  <inkml:trace contextRef="#ctx0" brushRef="#br0" timeOffset="8481.24">3096 4392 0,'-40'0'16,"80"0"-16,-14-13 15,27 13-15,53-27 16,-27 14-16,-13 0 0,0 0 0,80-14 16,-27 1-16,-66 13 15,0 13-15,-13-14 16,-1 14-16,-12 0 0,12-13 0,-25 13 16,12 0-16,-13 0 31</inkml:trace>
  <inkml:trace contextRef="#ctx0" brushRef="#br0" timeOffset="10679.78">6654 9155 0,'27'-14'0,"-14"14"15,13-13-15,14 13 16,13-13-16,0 0 0,26 13 0,67-14 16,13 1-16,-93 13 15,13-13-15,-13 13 0,67 0 16,-14-13-16,-66 13 16,39 0-16,-65 0 0,26 0 15,-40 0-15,13 13 16,-13-13-16,1 0 0,-1 0 0,0 0 15,0 0-15,1 0 16,-1 13 0,0-13-1</inkml:trace>
  <inkml:trace contextRef="#ctx0" brushRef="#br0" timeOffset="13937.27">13983 9141 0,'-66'0'15,"66"14"-15,27-14 32,-1 13-32,-13-13 15,40 0-15,-26 0 16,-1 13-16,40-13 0,-26 0 16,0 0-16,13 0 0,-1 13 15,1-13-15,-13 0 0,13 0 0,0 0 16,0 0-16,119 0 15,-119 0-15,66 0 16,-66 0-16,13 0 0,-13-13 0,0 13 16,0 0-16,-14 0 0,67 0 15,-79-13-15,12 13 0,27 0 16,-39 0-16,-1 0 16,27 0-16,-26 0 0,-1 0 15,14 0-15,-14 0 16,1 0-16,-14 0 15,0 0-15,0 0 16,1 0-16,-1 0 16,0 0-1,0 0 1,1 0 0,-1 0 46,0 0-31,0 0-15,0-13-16</inkml:trace>
  <inkml:trace contextRef="#ctx0" brushRef="#br0" timeOffset="15100.18">16325 9102 0,'-13'0'15,"39"0"1,-13 0-16,14 0 16,-1 0-16,93 0 0,-26 0 15,-27-14-15,0 14 16,93-13-16,0 0 15,-80 0-15,93 0 0,-79-1 16,92-12-16,0 13 16,-13-14-16,13 14 15,-105 0-15,65-1 16,-92 14-16,0 0 16,0-13-16,-13 13 0,12 0 15,-12-13-15,-13 13 16,-1 0-16,-13 0 15,14 0-15,-14 0 16,0-13-16,0 13 16,1 0 15,-1 0-15,0 0 15,0-13 63,-13-1-79,14 14-15,-14-13 16</inkml:trace>
  <inkml:trace contextRef="#ctx0" brushRef="#br0" timeOffset="21099.21">21021 9287 0,'-26'66'15,"26"-53"1,-14 14-16,14-1 0,-13 1 16,13-14-16,0 27 0,-13-14 15,13 0-15,0 1 0,0-1 0,-13 1 16,13 13-16,0-14 0,13-13 15,-13 14-15,0-14 0,13 0 16,-13 0-16,13 1 0,1-1 16,-14 0-16,26-13 0,-13 13 15,14-13-15,-14 0 16,14-13-16,-14 13 16,0-13-16,-13 0 15,0-1-15</inkml:trace>
  <inkml:trace contextRef="#ctx0" brushRef="#br0" timeOffset="21288.05">20783 9671 0,'13'-14'15,"0"14"1,1-13-16,25 13 0,-25-13 15,12 13-15,-13-13 0,14 13 16,-14 0-16,13 0 0,1 0 0,-14-14 16,14 14-16,-14 0 0,0 0 15</inkml:trace>
  <inkml:trace contextRef="#ctx0" brushRef="#br0" timeOffset="21622.45">21378 9697 0,'27'-53'16,"-27"40"-16,-13 0 15,-1 13 1,1 0-16,0 0 15,-14 26 1,27-13-16,0 1 0,-13-14 16,13 26-16,0-13 0,0 0 15,0 1-15,13-1 16,1 0-16,-1-13 16,0 0-1,27 0 1,-14-13-16,-13 13 0,14-13 15</inkml:trace>
  <inkml:trace contextRef="#ctx0" brushRef="#br0" timeOffset="22059.12">21736 9578 0,'-40'13'16,"27"0"-16,13 14 15,13-14 1,0 14-16,-13-14 16,13 0-16,-13 13 15,14-12-15,-28 12 16,1-13-1,-13 1 1,12-1-16,-12-13 0,-1 0 16,14 0-16,0 0 15,13-13-15,0-1 16</inkml:trace>
  <inkml:trace contextRef="#ctx0" brushRef="#br0" timeOffset="22288.3">22119 9340 0,'0'-13'16,"0"65"0,0 1-1,0-39-15,0 39 0,0-27 16,0-13-16,0 14 0,0 12 15,0-25-15,13 25 16,-13-25-16,0-1 0,14 0 16,-14 0-1</inkml:trace>
  <inkml:trace contextRef="#ctx0" brushRef="#br0" timeOffset="22479.03">22040 9604 0,'13'-13'0,"0"13"16,14-13-1,-14 0-15,0 13 16,0 0-16</inkml:trace>
  <inkml:trace contextRef="#ctx0" brushRef="#br0" timeOffset="23085.42">21987 9565 0,'-13'26'16,"13"1"-16,13-14 0,-13 0 0,13-13 15,-13 13-15,13 1 0,1 12 16,-14-13-16,13 0 0,-13 14 31,-13-1-15,-1-26-16,14 14 15,-13-14-15,0 0 0,-14 13 16</inkml:trace>
  <inkml:trace contextRef="#ctx0" brushRef="#br0" timeOffset="23964.45">22423 9578 0,'-52'0'16,"25"26"-16,14-12 16,0-1-16,13 0 15,0 0-15,0 1 16,13-14 0,0 0-16,14 0 15,-14-14-15,0 14 16,0 0-16,0-13 0,1 13 15,-1-13-15,0 13 16,0 0 0,1 13-1,-14 0-15,13-13 0,-13 14 16,13-14-16,0 0 16,0 13-16,1-26 15</inkml:trace>
  <inkml:trace contextRef="#ctx0" brushRef="#br0" timeOffset="24379.27">22714 9446 0,'14'-80'15,"-1"67"-15,-13 39 32,0-12-32,-13 25 15,13-12-15,0-14 0,0 14 16,-14 12-16,14-26 15,0 1-15,0-1 0,-13 0 16,13 14-16,-13-14 0,-13 0 16,26 0-1,-14-13-15,1 0 16,13 14-16,-13-14 16,39-14 15,-12 1-31,12 0 15,-13 0-15,0-1 0,1 14 16,-1-13-16,13 0 16,-12 13-16,-1-13 0,0 26 31,0-13-31,-13 13 0,0 0 16,14 1-1,-14-1 1,0 0-16</inkml:trace>
  <inkml:trace contextRef="#ctx0" brushRef="#br0" timeOffset="24543.21">22926 9419 0,'-26'0'16,"12"0"-16,1 0 31</inkml:trace>
  <inkml:trace contextRef="#ctx0" brushRef="#br0" timeOffset="24819.04">23019 9499 0,'-66'52'0,"52"-52"16,14 14-16,0-1 0,0 0 15,14 0-15,-14 1 16,13-1-16,0 13 0,-13-12 15,13-1 1,-13 0-16,0 13 16,-13-26-16,0 14 15,0-1-15,-1 0 0,-12 0 16,13 1-16,-14-14 0,1 13 16</inkml:trace>
  <inkml:trace contextRef="#ctx0" brushRef="#br0" timeOffset="25292.1">21312 11060 0,'-26'0'0,"-1"0"0,1 13 16,13-13-16,-1 13 0,-39 13 15,27-12-15,13 12 0,0-13 16,13 1-16,-14 12 16,14-13-16,0 1 0,0 12 0,14-13 0,-14 0 15,13 14-15,0-14 0,13 0 0,1 14 16,-14-14-16,14-13 15,-14 13-15,0-13 0,13 14 0,-12-14 0,25 0 16,-25 0 0,-1 0-16,0-14 0,0 14 15,14-26-15</inkml:trace>
  <inkml:trace contextRef="#ctx0" brushRef="#br0" timeOffset="25563.73">21603 11112 0,'0'27'31,"0"-14"-31,0 0 0,-13 1 16,13 12-16,0 1 0,0-14 15,13-146-15,-13 292 0,13-132 16,1-14-16,-14 0 0,13-13 16,0 0-16,0 13 0,14-26 15,-14 13 1,0-13-16,14-14 0,-27 14 15,13 0-15,0 0 0,-13 0 16,13 13-16,-13-14 0,14 1 0,-14 0 16,13 0-1</inkml:trace>
  <inkml:trace contextRef="#ctx0" brushRef="#br0" timeOffset="26324.04">17304 11906 0,'53'0'15,"0"0"-15,-14 0 16,1 13-16,13-13 0,0 0 16,-14 0-16,14 14 0,-13-14 0,13 0 15,-27 13-15,1-13 0,13 13 16,-27-13-16,0 13 16,-13 1-16,-13-1 15,0 0-15,-1 0 16,-12 14-16,-14-14 0,14 0 15,-14 0-15,-26 27 0,26-27 16,-26 27-16,40-27 0,-41 27 16,54-27-16,-13 0 15,13 1-15,-1-1 0,14 0 0,-13 27 16,13-27-16,13 13 16,-13 1-16</inkml:trace>
  <inkml:trace contextRef="#ctx0" brushRef="#br0" timeOffset="26779.48">17886 12806 0,'-27'13'16,"14"0"-16,0-13 0,0 14 0,-1-1 15,-25 13-15,26-13 16,-14 1-16,14-1 0,0 0 0,-14 14 15,14-14-15,0 0 0,13 0 16,-14 1-16,14-1 16,14 0-16,-1-13 0,0 13 15,0-13-15,14 0 0,-1 13 0,40-13 16,-26 0-16,0 0 16,0 0-16,-1 0 0,-12 0 0,12 0 15,14-13-15,-26 13 0,-1 0 16,-13 0-16,14 0 0,-14 0 15,0 0-15,1-13 0,-1 13 0,0 0 16,-13-13-16,13 13 0,-13-13 16,13-1-16</inkml:trace>
  <inkml:trace contextRef="#ctx0" brushRef="#br0" timeOffset="27376.13">18071 11430 0,'66'-13'16,"-53"13"-1,14 0-15,-14 0 0,0 0 0,14 0 16,-14 0-16,13 0 0,-12 0 0,12 13 15,1 0-15,-14 0 0,27 1 0,-14 12 16,0 1-16,-12-1 0,25 14 16,-12-1-16,-14 14 0,14-13 15,-1 13-15,0 0 0,14 53 16,-27-53-16,27 66 0,-14-66 16,1 0-16,-1 13 0,-12-13 15,12-1-15,-13 1 0,27 53 16,-14-13-16,-12-53 15,-1-1-15,0-12 0,0 12 0,-13-12 16,0-1-16,14 1 0,-14 12 16,0-12-16,-14-1 15,14-12-15,-13-1 0,13 0 0,-13 0 16,-14 1-16,14-1 0,-53 26 16,26-39-16,1 14 15,-1-14-15,-13 0 0,0 0 0,0 0 16,0-14-16,-13 14 0,-13-13 15,-53-26-15</inkml:trace>
  <inkml:trace contextRef="#ctx0" brushRef="#br0" timeOffset="27824.11">16867 11523 0,'-39'0'16,"12"26"-16,93-52 0,-145 65 0,39-25 15,-26 52 1,40-27-16,-14 14 0,13-13 0,-12 0 16,-1 52-16,14-39 0,12 0 15,1 0-15,0 53 16,13-14-16,0-25 0,13-1 16,14 53-16,-1-66 0,-13 0 15,14 0-15,-1-1 0,1-12 16,-1 13-16,14-13 0,13 26 15,13 13-15,-40-52 0,1-1 16,12 1-16,28 26 16,-28-40-16,41 13 15,12-13-15,1-26 0,-40 0 16,13 0-16,0-14 0,0 1 16,0 13-16</inkml:trace>
  <inkml:trace contextRef="#ctx0" brushRef="#br0" timeOffset="28557.27">19539 12197 0,'27'0'16,"-14"0"-16,0 0 0,1 0 0,52 0 16,-40 0-1,-13 0-15,14 0 0,-14-13 16,0 26-16</inkml:trace>
  <inkml:trace contextRef="#ctx0" brushRef="#br0" timeOffset="28761.75">19659 12396 0,'-14'0'0,"41"0"0,-14 0 15,0 0-15,14 0 0,-14 0 16,13-14-16,-12 14 0,25 0 15,1-13-15,-14 13 0,-12 0 16</inkml:trace>
  <inkml:trace contextRef="#ctx0" brushRef="#br0" timeOffset="29520.34">20730 12144 0,'0'27'16,"0"-14"-16,0 0 0,0 1 16,0-1-16,0 0 0,0 0 0,0 14 15,0-14-15,0 0 0,13 14 16,-13-14-16,0 0 0,0 0 0,0 0 15,0 1-15,0-1 16,0 0 0,0-39-1,0 12-15,0-78 32,14 52-32,-1-39 0,0 39 0,0 0 15,14-26-15,-14 53 16,-13-13-16,13 12 0,0 1 0,-13 0 15,14 13-15,-1-13 0,0 13 16,0 13-16,1-13 16,-1 13-16,0 0 0,0 1 0,0-1 15,-13 0-15,14 14 0,-1-14 16,13 26-16,-26-12 16,14-14-16,-1 14 0,-13-14 0,13 13 15,0-12-15,1 25 0,-14-26 16,13 1-16,-13-1 0,0 0 15,13 0-15,-13 1 0,0-1 0,-13 0 16,13 0-16,-13-13 16</inkml:trace>
  <inkml:trace contextRef="#ctx0" brushRef="#br0" timeOffset="29717.16">20796 12316 0,'-13'-13'16,"39"0"-16,1 13 15,13-13-15,-27-1 0,13 14 16,1-13-16,52 0 16,-52 0-16,-1 0 0,-13 13 15,14-14-15,-1 1 0</inkml:trace>
  <inkml:trace contextRef="#ctx0" brushRef="#br0" timeOffset="30768.41">21325 12091 0,'-13'-13'16,"26"26"-1,-39-26 1,13 13-16,-1 0 0,14 13 16,-13-13-16,0 14 0,13-1 15,-13-13-15,13 13 0,0 0 0,-13 14 16,13-14-16,0 14 15,13-14-15,-13 0 16,13 0-16,0 0 0,0-13 16,1 0-16,-1 0 15,0 0-15,14 0 0,-14-13 0,27 0 16,-14 0-16,-13 0 16,27-14-16,-27 27 0,-13-13 15,13 0-15,1-1 16,-14 1-16,-14 0 15,-12 26 17,13-13-32,13 13 15,-14 1-15,14-1 0,0 0 16,0 0-16,0 1 16,0-1-16,14 0 0,-1 0 15,0 0-15,0 1 16,1-14-16,-1 0 0,0 0 15,0 0-15,14 0 16,-14-14-16,0 14 0,0 0 0,14-26 16,-1 13-16,-12-14 15,-14 14-15,13 0 16,-13 0 0,-13 52 30,13-12-30,13-27-16,-13 13 16,13-13-16,14 0 15,-27-13-15,13 13 16,0-13-16,0 13 0,0-14 16,1 1-16,-1 0 0,13-14 15,-26 1-15,27-1 0,-27 14 16,13 0-16,-13 0 0,13 0 15,-13-1-15,14 14 0,-14-13 16,13 40 0,-13-14-16,0 13 15,13 14-15,13 39 16,-26-52 0,0-1-16,0 67 15,0-54-15,0-12 16,0-14-16,0 40 15,0-40-15,-13-13 0,13 14 16,0-1-16,0 0 16,-13-13-16,0-13 15,13 0-15,-13-1 16,13-12-16,0-1 0,0 1 16,0-67-16,13 1 15,0 52-15,0 0 0,0 1 16,27-14-16,-27 26 0,14 1 15,-14 13 1,13-1-16,-12 28 0,12-1 16,-13 0-1,-13 0-15,14 27 0,-14-27 16,-14 40-16,1-13 16,13-14-16,-13-12 15,0 38-15,-1-38 16,14-1-16,0 0 0,-13-13 0,13 13 15</inkml:trace>
  <inkml:trace contextRef="#ctx0" brushRef="#br0" timeOffset="30981.53">22225 11787 0,'0'27'16,"0"-14"-16,-13 40 16,0 0-16,13-14 0,-14 14 15,14-26-15,-26 39 16,26-40-16,-13 1 16,13-1-16,0-12 0,0-1 15</inkml:trace>
  <inkml:trace contextRef="#ctx0" brushRef="#br0" timeOffset="31158.09">22106 12012 0,'13'-26'31,"0"26"-31,1-14 0,-1 1 0,0 13 15,0-13-15,14 0 0,12-14 16,-12 27-16,-14-13 0,27-13 16,-27 12-16</inkml:trace>
  <inkml:trace contextRef="#ctx0" brushRef="#br0" timeOffset="32104.28">21034 13123 0,'-26'40'0,"13"0"16,13-14-16,0-13 15,0 14-15,0-1 0,-14 1 0,14-1 0,14 27 16,-14-26 0,0-1-16,0-13 0,0 1 0,13-1 15,-13 0-15,0-39 31,0-1-31,13 14 0,0-67 16,1 41-16,-1 12 0,27-52 16,-27 52-16,13 1 15,27-27-15,-40 40 16,1 13-16,-14 26 16,0-12-1,-14-1-15,1 0 0,-13 53 16,-1-39-16,14 12 0,0-12 0,0-14 15,-1 13-15,1-12 0,13-1 16,-13 0-16,13 0 0,0 1 16,13-14-1,14 0 1,-1-14-16,-13 1 0,14 13 0,26-40 16,-40 27-16,0 13 15,0-13-15,0 13 0,1-13 16,-1 13-16,-13 13 15,0 0-15,0 0 16,0 1 0,0-1-16,13-13 0,-13 13 15,13-13-15,-13 13 16,27-26-16,-14 13 16,0-13-16,14 13 0,-14-13 15,0 13-15,0 0 0,1-14 16,-1 14-16,13 14 15,-12-1-15,-14 0 16,0 0-16,0 1 16,0 12-16,0 1 0,-14-14 15,1 0-15,0 27 0,0-27 16,-1 0-16,1 0 0,-26 1 16,25-14-1,1 0-15,13-14 16,0 1-16</inkml:trace>
  <inkml:trace contextRef="#ctx0" brushRef="#br0" timeOffset="32224.13">21524 13097 0,'0'-13'0</inkml:trace>
  <inkml:trace contextRef="#ctx0" brushRef="#br0" timeOffset="32717.11">21630 13309 0,'13'-14'15,"-13"1"-15,13 0 16,-13 0-1,-13 39 17,13-13-17,0 1-15,0-1 0,0 0 16,0 0-16,13 0 16,14-13-1,-1-13-15,1-13 16,25-14-16,-25 14 15,-14 12-15,14 1 0,-1-13 16,-13 12-16,1 14 16,-1 0-16,0 0 15,-13 14 1,13-1 0,0-13-16,1 0 31,-1-27-31,0 27 0,-13-13 15,13 13-15,1-13 0,-1 0 16,0 26 0,-13 0-16,13 0 0,-13 1 15,0 39-15,0-27 16,0 1-16,0-1 0,0 0 0,0 1 16,0-1-16,-13 54 15</inkml:trace>
</inkml:ink>
</file>

<file path=ppt/ink/ink23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6:00:45.443"/>
    </inkml:context>
    <inkml:brush xml:id="br0">
      <inkml:brushProperty name="width" value="0.05292" units="cm"/>
      <inkml:brushProperty name="height" value="0.05292" units="cm"/>
      <inkml:brushProperty name="color" value="#0070C0"/>
    </inkml:brush>
  </inkml:definitions>
  <inkml:trace contextRef="#ctx0" brushRef="#br0">6932 2143 0,'-13'0'0,"26"13"32,0-13-17,1 0-15,-1-13 0,26 0 32,-25 0-32,-1 13 0,-13-14 15,13 14-15,0-26 0,1 26 16,-14-13-16,0 0 0,13-1 15,-13 1-15,13 0 0,-13 0 16,0-1-16,0 1 0,0 0 0,0 0 16,0-1-16,0 1 0,13 0 15,-13 0-15,0 0 0,0-1 0,0 1 16,0 0-16,0 0 0,0-1 0,0 1 16,0 0-16,0 0 15,0-1-15,-13 1 0,13 0 0,0 0 16,0 0-16,-13-1 0,13 1 0,-13-13 0,13 12 15,0 1-15,-14 0 0,14 0 16,-13 0-16,0 13 0,13-14 16,-13 1-16,-1 0 0,14 0 15,-13-1-15,0 1 0,0 13 16,13-13-16,-13 13 0,-1-13 16,1-1-16,0 14 15,0 0-15,13-13 0,-14 13 16,1 0-16,-13 0 15,12 0-15,1 0 16,0 0-16,0 0 0,0 0 0,13 13 16,-14 1-16,1-14 0,0 13 0,0 13 15,-14 1 1,27-1-16,-13-12 0,0 12 16,13 0-16,-13-12 0,13 12 0,0 1 15,0-1-15,0 0 0,0 14 16,0-13-16,0-1 0,13 53 15,-13-52-15,13-14 0,-13 14 16,13-14-16,0 13 0,1-12 16,-1-1-16,0 0 0,14 13 15,-1-26-15,0 0 0,-12 0 0,12 0 16,14 0-16,-14 0 0</inkml:trace>
  <inkml:trace contextRef="#ctx0" brushRef="#br0" timeOffset="882.31">7660 1310 0,'-53'-27'0,"40"27"0,-14 0 16,14 0-16,0 0 0,-1 13 0,1 1 15,0-14-15,-14 26 0,1 14 16,13-27-16,0 14 0,-1 12 16,1-12-16,0 12 0,13 1 0,-13 0 15,13-14-15,13 40 0,-13-26 16,13 39-16,0-39 16,1 0-16,12 13 15,-13-14-15,27 1 0,-14-13 16,-12-1-16,12-13 0,-13 0 15,27 14-15,-14-27 16,1 13-16,-14-13 0,14 13 0,-1-13 0,-13 0 16,14 0-16,-14 0 0,13 0 15,1 0-15,-14 0 0,14-13 16,-14 13-16,0-13 0,0 13 0,1-13 0,-1 13 16,0-14-16,0 1 0,0 0 15,1 13-15,12-40 16,-26 27-16,13-13 0,-13 12 15,0 1-15,0 0 0,0-14 16,14 14-16,-28-13 0,14 13 0,0-14 16,0 14-16,0-14 0,0 14 0,0-13 15,-13 12-15,13-12 0,-13 0 16,13 12-16,-13-12 0,13 13 16,-27-27-16,1-13 0,13 27 15,-14-1-15,14 1 0,-14-1 16,-12-26-16,25 27 0,1-1 15,-26 1-15,25 13 0,1-14 16,0 27-16,0-13 0,-1 0 16,-12 0-16,13 13 0,-1-14 15,1 14-15,0 14 0,-13-14 16,12 0-16,-12 13 0,-1 0 16,1 0-16,-1 0 0</inkml:trace>
  <inkml:trace contextRef="#ctx0" brushRef="#br0" timeOffset="4039.97">6998 2619 0,'40'0'0,"-27"0"16,106-13-1,-26 0-15,-1 0 16,-39 13-16,-13-14 0,0 14 0,13-13 16,-14 13-1,-12 0-15,-1 0 0,-13 0 0,1 0 16,12 0-16,-26-13 0,13 13 0,1 0 15,-54 13 1,27-13 0,-14 0-16,1 0 0,-14 0 0,-13 13 15,0-13-15,0 0 0,-13 14 16,0-14-16,13 13 0,0-13 0,14 13 16,-1-13-16,13 0 0,1 0 15,13 0-15,-1 0 0,41 0 31,13-13-31,-1 13 16,80-13-16,-66-1 0,0 14 0,0-13 16,-13 13-16,13-13 0,-14 13 15,14-13-15,-26 13 0,-1 0 16,1-13-16,-14 13 0,0 0 0,0 0 16,-52 0 15,12 0-31,-12 0 0,-1 0 15,-13 0-15,0 13 0,0-13 0,13 0 16,-13 0-16,27 13 0,0-13 16,-27 0-16,39 0 15,54 0 1,-13 0 0,12 0-16,1-13 0,13 13 0,-13-13 15,-1 13-15,1 0 0,-14-14 0,14 14 16,-27 0-16,14 0 15,-14-13-15,13 13 0,-12 0 0,-1 0 16,0-13-16,-53 13 31,27 0-31,0 13 16,0-13-16,-14 0 0,14 0 0,-13 13 16,12-13-16,-12 0 0,13 14 15,-1-14-15,-12 13 0,13-13 0,-14 26 16</inkml:trace>
  <inkml:trace contextRef="#ctx0" brushRef="#br0" timeOffset="6299.32">11456 2818 0,'40'0'15,"0"-13"-15,0-1 16,12 14-16,1-13 0,-13 0 0,13 13 16,79-27-16,-79 14 15,40 0-15,-54 0 0,1 13 16,26-13-16,-52 13 16,12 0-16,-13 0 0,0 0 15,-65 0 1,25 0-1,1 13-15,-14-13 0,-13 13 16,0-13-16,0 13 0,0-13 0,-53 13 16,54 1-16,-41-1 15,53-13-15,1 0 16,12 13-16,54 0 31,25-26-31,1 13 0,-13 0 16,66-13-16,-53 13 0,53-13 15,-53-1-15,-14 14 16,1-13-16,-14 13 0,1 0 0,-14-13 16,14 13-16,-14 0 15,-53 0 1,14 13 0,-1-13-16,-13 0 0,-12 13 0,12-13 15,-13 14-15,-53-1 0,66-13 16,1 0-16,-1 13 15,27-13-15,-14 0 0,67 0 32,-13 0-32,12 0 0,107-26 15,-93 12 1,-14 14-16,1-13 0,0 13 0,-14 0 16,1-13-16,-1 13 0,1 0 15,-14 0-15,0 0 0,-13-13 16,-26 26-1,12-13 1,-25 0-16,-14 13 16,13-13-16,27 13 0,-14-13 15,1 0-15,13 14 16,-1-14-16,-12 0 0,26 13 16,-13-13-16,-1 13 15,1-13-15,13 13 16</inkml:trace>
  <inkml:trace contextRef="#ctx0" brushRef="#br0" timeOffset="8628.29">609 4789 0,'0'-13'16,"0"52"-16,0-25 0,13 52 15,13 40-15,-13-53 16,1 13-16,12 79 0,14 54 16,-27-120-1,0-13-15,14 53 16,-1-26-16,-13-27 0,1-40 16,-14 1-16,0-14 15,13 14-15,0-54 31,-13 14-31,0-14 0,0-12 16,-13-14-16,0-13 0,13 13 0,-14-27 16,-25-52-16,26 53 15,-40-80-15,39 93 0,-25-66 16,-1 12 0,27 81-16,0-27 0,-1 52 15,14-12-15,-13 13 0,13-1 16,0 54-1,27 40 1,-27-14-16,39 66 0,-26-66 16,1 14-16,-1-14 0,13 92 15,-12-25 1,-1-54-16,13 40 16,1 0-16,-27-53 15,13-26-15,-13-27 16,0-52-1,-13 12 1,0-13-16,-1-26 0,1 0 0,-40-93 16,0-52-16,-79-173 15,92 265 1,27 79 0,0-26-16,0 26 15,13 27-15,13 40 16,0 12-16,0 28 15,40 91-15,-13 41 16,-14-93-16,14 92 0,-27-119 16,0 1-16,1-14 15,-1 0-15,0 13 0,14 107 16,-14-107-16,0-13 16</inkml:trace>
  <inkml:trace contextRef="#ctx0" brushRef="#br0" timeOffset="10158.35">648 5318 0,'13'106'16,"1"-53"-1,-14-13-15,13-14 0,0 53 16,-13-52 0,13-1-16,-13-12 0,0 12 15,0-52 17,-13-14-32,-13-40 15,12 28-15,1-1 0,-13-13 16,-1-54-16,1 1 15,13 93-15,13 13 16,-14-14 0,28 54-1,-1 12-15,0 1 0,14 53 0,-1 26 16,14-13-16,-27-1 16,0-65-1,0 39-15,-13-52 16</inkml:trace>
  <inkml:trace contextRef="#ctx0" brushRef="#br0" timeOffset="20716.27">4392 9538 0,'0'-13'31,"-13"0"1,0 13-17,-1 0-15,14-13 16,-13 13-16,0 0 15,0-14-15,-1 14 0,1 0 16,0 0-16,0 0 0,-14-13 16,1 13-1,13 0-15,-14 0 0,14 0 16,0 0-16,-14 0 0,14 0 0,-13 0 16,12 0-16,-12 0 0,13 0 15,-1 0-15,-25 13 16,12-13-16,14 0 15,-13 0-15,-1 0 0,14 14 16,0-14-16,-14 13 0,14-13 16,0 13-16,0 0 0,-27 0 15,13 1-15,14-1 16,0-13-16,-14 26 16,1-12-16,0-1 0,26 0 15,-14-13-15,1 13 0,13 1 16,-13-14-16,13 13 0,-13 0 15,-1 0-15,14 0 0,-13 1 16,13-1-16,-13 0 16,13 0-16,0 1 0,0-1 15,-13 13-15,13-13 16,13 14-16,-13-14 16,13 14-16,-13-14 15,13-13-15,1 26 0,12 1 16,1-14-16,-14 0 15,26 0-15,-12-13 16,-1 0-16,1 14 0,39-14 16,-40 0-16,14 0 15,40 0 1,-41 0-16,27 0 16,-52 0-1,25-14-15,-12 14 16,12-13-16,-25 13 0,12 0 15,-13-13-15,1 13 0,12-13 16,14 13 0,-14-13-16,-13-1 0,1 14 15,12-13-15,-13 0 16,1 13-16,-1-13 0,0-1 16,0 14-16,0-13 0,1 13 15,-1-13-15,0 13 16,0-13-16,1 13 15,-14-14-15,13 1 16,0 13-16,-13-13 16,13 13-16,1 0 0,-14-13 15,13 13 1,-13-13-16,13-1 16,-13 1-1,0 0-15,13 0 16,-13-1-16,0-12 15,0 13-15,0-14 16,0 14-16,-13 0 0,13 0 16,-13-14-16,13 14 15,-27-27-15,14 27 0,-13-13 16,-14 12-16,13-12 16,1 26-16,13-13 15,-27 13-15,14 0 16,-54 0-16,54 0 15,-27 13-15,13 0 16,-13 14-16,0-14 0,27 0 16</inkml:trace>
  <inkml:trace contextRef="#ctx0" brushRef="#br0" timeOffset="22063.2">21603 4696 0,'0'-26'0,"-13"13"16,0 13-16,-40 26 31,13 1-31,27-14 0,-14 13 16,-12 27-16,-1 27 15,27-54 1,13-13-16,-13 27 0,26-14 16,0 14-1,-13-13-15,27-1 0,-1-13 16,0 0-16,1-13 16,-1 14-1,-12-14-15,39-14 16,-27 14-16,0-13 0,-12 13 15,12-13-15</inkml:trace>
  <inkml:trace contextRef="#ctx0" brushRef="#br0" timeOffset="22397.1">21894 4802 0,'0'27'16,"0"-14"0,14 0-16,-14 14 0,13-14 15,0 13 1,13 1-16,-12-14 16,-1-13-1,0-13 1,0-14-1,-132-92-15,238 225 16,-105-119-16,-14-40 16,0 26-16,0 14 15,13-13-15,-13 12 16,0 1-16</inkml:trace>
  <inkml:trace contextRef="#ctx0" brushRef="#br0" timeOffset="22591.28">22278 4789 0,'40'-27'15,"-27"27"-15,13-13 16,-12 13-16,-1 13 16,0-13-16</inkml:trace>
  <inkml:trace contextRef="#ctx0" brushRef="#br0" timeOffset="22785.01">22291 4948 0,'0'0'0,"27"0"31,-14 0-31,0-14 16,0 14-16,40-13 16,-13 0-16,-27 0 15</inkml:trace>
  <inkml:trace contextRef="#ctx0" brushRef="#br0" timeOffset="23734.16">22820 4643 0,'53'-26'15,"-40"26"-15,40 13 32,-53 0-32,0 1 15,0 12-15,-13-13 16,13 1-16,-13-1 15,13 0 1,0 0-16,26 0 31,-12 1-15,-1-14-16,27 26 16,-40-13-1,0 1 1,-27 25-1,-13-25 1,14-1 0,-1-13-1</inkml:trace>
  <inkml:trace contextRef="#ctx0" brushRef="#br0" timeOffset="23902.28">23164 4696 0,'0'0'62</inkml:trace>
  <inkml:trace contextRef="#ctx0" brushRef="#br0" timeOffset="24655.42">23455 4524 0,'-66'-13'16,"53"13"15,26 13-31,-13 1 0,13 12 16,1-13-16,-14 1 15,13-1-15,0 26 16,0-12-16,-13-14 0,0 27 16,0-27-16,0 0 15,-13 0-15,-40 40 16,40-53-1,-14 0-15,14-13 16,13-13 0,40-27 15,-14 40-31,41-54 31,-54 54-31,53-79 16,-66 78-1,13-12-15,-26-1 32,0 27-32,-93 0 47,93 0-47,-1 14 15</inkml:trace>
  <inkml:trace contextRef="#ctx0" brushRef="#br0" timeOffset="24980.54">23746 4405 0,'-92'66'31,"105"-66"1,40-13-17,-27 13 1,-12 13-16,25 80 31,-39-66-31,0 39 16,0-40-1,-13 93 1,13-53 15</inkml:trace>
  <inkml:trace contextRef="#ctx0" brushRef="#br0" timeOffset="25308.3">22146 5384 0,'926'-225'15,"-754"199"1,-93-1 0,291-52 15</inkml:trace>
  <inkml:trace contextRef="#ctx0" brushRef="#br0" timeOffset="25560.28">21947 5569 0,'80'-13'0,"727"-172"31,-649 145-15,-12 14-16,-14-27 15,-53-13 1,-52 26-16,-1456 463 15,2858-859-15</inkml:trace>
  <inkml:trace contextRef="#ctx0" brushRef="#br0" timeOffset="25891.94">21749 4392 0,'317'-93'16,"-237"80"-1,264-53-15,-252 53 16,1 0-16,-1-1 16,-12 1-16,131-26 0,-171 39 15,40-14-15,-41 1 16,-26 13 0,1 0-16</inkml:trace>
  <inkml:trace contextRef="#ctx0" brushRef="#br0" timeOffset="26110.81">22079 4445 0,'358'-79'16,"-292"65"-16,159-25 15,-146 25-15,67-12 16,-80 13-16,-27 0 0,54-1 16,-66 14-16,12-13 15,-12 13-15</inkml:trace>
  <inkml:trace contextRef="#ctx0" brushRef="#br0" timeOffset="47324.18">1230 6496 0,'27'-27'16,"-14"27"-16,27-13 15,-27 0 1,13 13-16,-12 0 0,39-14 15,-27 14-15,-13 0 0,0 14 16,1-14-16</inkml:trace>
  <inkml:trace contextRef="#ctx0" brushRef="#br0" timeOffset="47575.8">1376 6972 0,'40'-13'0,"-27"13"0,0-14 0,0 14 15,14 0-15,-14-13 0,13 13 16,1 0-16,-14 0 0</inkml:trace>
  <inkml:trace contextRef="#ctx0" brushRef="#br0" timeOffset="47822.97">1442 7620 0,'40'-40'16,"66"1"-1,-93 25 1,26 1-16</inkml:trace>
  <inkml:trace contextRef="#ctx0" brushRef="#br0" timeOffset="47988.07">1508 8043 0,'66'-13'16,"-39"0"-16,-120 39 0,212-65 0,-92 25 15,39-12-15,-27 0 0,-12 26 16</inkml:trace>
  <inkml:trace contextRef="#ctx0" brushRef="#br0" timeOffset="52802.36">9459 12713 0,'13'0'31,"14"-13"-31,-14 13 15,13 0-15,-13 0 0,14 0 0,-1 0 16,-12 0-16,25 0 0,-12 13 16,-1-13-16,14 0 0,-14 0 15,27 0-15,-26 13 0,-1-13 16,-13 0-16,1 0 0,-1 0 0,0 0 16,0 0-16,1 14 15,-1-14-15,-40 13 16,1 0-1</inkml:trace>
  <inkml:trace contextRef="#ctx0" brushRef="#br0" timeOffset="53339.15">9446 12846 0,'-67'13'0,"67"0"15,40 0 16,-27-13-31,27 13 16,-27-13-16,14 0 0,-1 0 0,67-13 16,-40 13-1,-27 0-15,14 0 0,-14 0 0,14 0 16,-14-13-16,1 13 0,-1 0 0,-12 0 16,25 0-16,-25 0 15,-1 0-15,0 0 0,0 0 16,0 0-16,1 0 0,-1 0 15,0 0 1,0 0 0,1 0-1,-1 0 1,0 0 15,0-13 141</inkml:trace>
  <inkml:trace contextRef="#ctx0" brushRef="#br0" timeOffset="55804.2">13481 12793 0,'13'-14'16,"0"14"-16,0-13 0,14 13 15,131-40 1,-52 27-16,-53 0 15,0 0-15,13 13 0,53-13 16,-66-1-16,40 1 16,-53 13-16,-1 0 0,14-13 15,-40 13-15,14 0 16,-14 0-16,0 0 0,0 0 0,1-13 16,-54 26 15,27-13-31,-14 13 0,1-13 15</inkml:trace>
  <inkml:trace contextRef="#ctx0" brushRef="#br0" timeOffset="56488.35">13626 12779 0,'26'0'15,"1"0"-15,-14 0 0,80 0 16,-1-13-16,-39 13 16,-13 0-16,13-13 0,-13 13 15,13 0-15,-27-13 0,14 13 16,39 0-16,-52-14 16,-1 14-16,-13 0 0,14 0 15,-14 0-15,0 0 0,0 0 16,1 0-16,-1 0 15,0 0-15,0 0 16,0 0 0,1 0-1,-1 0 1,0 0 109</inkml:trace>
  <inkml:trace contextRef="#ctx0" brushRef="#br0" timeOffset="61395.94">19235 12859 0,'27'0'16,"12"0"-1,-25 0-15,39-13 16,-14 13-16,54-14 15,-54 14-15,14 0 0,-13-13 0,66 13 16,-66-13-16,13 13 0,-14 0 16,1 0-16,-14-13 0,1 13 15,-14 0-15,13 0 0,-12 0 0,-1 0 16,13 0-16,-12 0 31</inkml:trace>
  <inkml:trace contextRef="#ctx0" brushRef="#br0" timeOffset="61673.44">19500 12951 0,'66'0'16,"-40"0"-16,54 0 15,-41-13-15,-12 13 0,13 0 16,-1 0-16,1 0 0,0 0 0,-14 0 16,1 0-16,-1 0 0,0 0 0,14 0 15,-13 0 1,-14 0-16,0 0 0,0 0 0,1 0 16,-1 0-16,0 0 15,0 13 1,0-13-16</inkml:trace>
  <inkml:trace contextRef="#ctx0" brushRef="#br0" timeOffset="62474.91">22371 12846 0,'171'-14'16,"-144"14"-16,13 0 0,-1 0 0,14-13 15,27 13-15,-41-13 16,1 13-16,0 0 0,26 0 15,-40 0-15,-12-13 16,-1 13-16,-40-14 31,-12 14-31</inkml:trace>
  <inkml:trace contextRef="#ctx0" brushRef="#br0" timeOffset="63256.23">6152 13626 0,'66'-26'0,"-27"26"0,14-14 0,-13 1 15,92-13-15,-79 12 16,80-12-16,-81 13 0,15 0 16,-28 13-16,14-14 0,79-12 15,-105 13-15,-1 13 16,-12-14-16,-1 14 0,0 0 0,0 0 16</inkml:trace>
  <inkml:trace contextRef="#ctx0" brushRef="#br0" timeOffset="63485.96">6231 13705 0,'185'-26'0,"-145"13"0,13 13 16,-14-14-16,1 1 0,0 13 16,0-13-16,-1 13 0,1-13 0,0 13 15,-14-13-15,27 13 0</inkml:trace>
  <inkml:trace contextRef="#ctx0" brushRef="#br0" timeOffset="64443.43">9075 13573 0,'146'-26'16,"-93"12"-16,13 14 0,0-13 16,13 13-16,1-13 0,158 0 15,-159 0-15,1 13 16,-1-14-16,0 14 0,1-13 16,-1 13-16,0-13 0,-12 13 0,12-13 15,-26 13-15,0-14 0,0 14 16,-14 0-16,1-13 0,-13 13 0,-1 0 15,0 0-15,-12 0 0,-1 0 0</inkml:trace>
  <inkml:trace contextRef="#ctx0" brushRef="#br0" timeOffset="64807.57">9644 13679 0,'397'-53'16,"-318"40"-16,199-27 15,-198 27-15,12 0 0,-13-1 16,1 14-16,184-39 15,-211 26-15,40-1 16,-53 14-16,-1 0 16,-12-13-16,-1 13 0,1 0 0,-1 0 15,-13 0-15,1-13 0,-1 13 0,0 0 16,0 0-16,1 0 16,-1 0-1,0 0-15,-39 13 16</inkml:trace>
  <inkml:trace contextRef="#ctx0" brushRef="#br0" timeOffset="68487.62">19553 1508 0,'0'40'0,"13"-27"0,-13 27 16,13-1-16,27 147 15,-27-120-15,-13 0 16,13-13-16,1 13 0,-14 0 0,13-13 15,-13 0-15,13-13 0,-13 13 16,13-14-16,-13-12 0,13 12 0,-13-25 16,0 12-16,14 1 0,-14-1 15</inkml:trace>
  <inkml:trace contextRef="#ctx0" brushRef="#br0" timeOffset="68936.58">19500 1680 0,'39'-66'16,"-25"53"-16,78-27 0,-52 27 0,-14 0 16,14 13-16,-13-14 0,-14 14 15,13 0-15,-12 0 0,-1 14 16,0-14-16,13 13 0,-12 13 0,-1 1 16,13-1-16,-12 14 0,-1 13 0,0-14 15,13 14-15,-12 0 0,-14-13 16,26 53-16,-13-54 0,1 1 15,-1 0-15,-13-1 0,13 1 16,0 0-16,1-1 0,-1 41 16,0-41-16,-13-12 0,0-1 15,0 1-15,-13-1 0,13 1 0,-13-1 16,13 1-16,-14-14 0,1 0 16,13 0-16,-13 1 0,0-14 0,-1 0 15,1 0-15,0 0 0,0-14 16,-1 1-16,1 0 0,0 0 0,0-67 15,13 67-15</inkml:trace>
  <inkml:trace contextRef="#ctx0" brushRef="#br0" timeOffset="69219.8">20770 1363 0,'0'66'0,"13"-27"16,0 28-16,0-1 0,1 0 0,12 66 16,-13-66-16,1 0 0,-1 1 15,-13-14-15,13-1 0,0-12 16,-13 0-16,14-14 0,-14 1 15,13-1-15,-13-13 0,0 14 0,13-14 0,-13 0 16,13-13-16,0-13 16</inkml:trace>
  <inkml:trace contextRef="#ctx0" brushRef="#br0" timeOffset="69627.87">20796 1389 0,'119'-106'16,"-79"80"-16,-27 26 0,14 0 15,-14 0-15,0-13 0,14 26 0,12 13 16,-12-13-1,-14 1-15,0 25 0,0-12 0,27 39 16,-27-26-16,1 13 0,38 105 16,-38-105-1,12 0-15,-13 40 0,1-54 16,-1 1-16,0 0 0,0 0 16,1 65-1,-1-78-15,-26 26 0,13-14 16,-14-12-16,1 13 0,0-14 0,0 0 15,-14 1-15,14-1 0,-14 1 16,-12-14-16,26 0 16,-1-13-16,-12-13 0,13 0 15,-1 0-15,1-1 0,0-12 16,13-1-16,-13 1 0,13 0 0</inkml:trace>
  <inkml:trace contextRef="#ctx0" brushRef="#br0" timeOffset="69903.1">21669 1138 0,'0'0'0,"14"0"0,-14 13 15,13-13-15,0 13 0,27 40 16,-1 26-16,14 27 15,-39-66-15,12 26 0,-13-13 16,1 0-16,-1 0 0,0-13 16,0-1-16,0 41 0,-13-41 15,14-12-15,-14-1 0,0 1 16,0-14-16,0 13 0,0 1 16,0-14-16,0 0 15</inkml:trace>
  <inkml:trace contextRef="#ctx0" brushRef="#br0" timeOffset="70337.92">21775 1191 0,'53'-53'0,"-40"39"0,14 1 15,-1-13-15,27-14 16,13 14-16,-26 12 16,-27 1-16,0 0 0,1 13 15,-1 0-15,0-13 0,14 13 16,-14 0-16,13 0 16,-12 13-16,-1-13 15,-13 13-15,13 0 0,13 40 16,1 13-16,-14-26 15,0 0-15,1 13 0,25 39 16,-12-39-16,-14-13 0,27 53 16,13 26-1,-40-80-15,0 1 0,0 26 16,-13-39-16,0-1 0,0 1 16,0 12-16,-13-12 0,13-1 15,-13 1-15,-14-1 16,14 1-16,-13-1 0,-1-13 0,1 14 0,-1-14 15,-12 13-15,-1-12 16,13-14-16,-25 0 16,-1 0-16</inkml:trace>
  <inkml:trace contextRef="#ctx0" brushRef="#br0" timeOffset="70942">19447 1310 0,'53'-93'16,"-27"80"-16,27-27 0,-26 14 15,-1 12-15,14 1 0,-1-13 16</inkml:trace>
  <inkml:trace contextRef="#ctx0" brushRef="#br0" timeOffset="71209.53">20876 873 0,'53'-40'16,"-27"14"-16,14 13 0,-14-14 16,14 14-16</inkml:trace>
  <inkml:trace contextRef="#ctx0" brushRef="#br0" timeOffset="71437.96">22000 489 0,'27'-26'0,"-1"13"16,14-14-1,-27 27-15,27-26 0</inkml:trace>
  <inkml:trace contextRef="#ctx0" brushRef="#br0" timeOffset="72795.31">19606 1958 0,'53'-27'16,"-40"27"0,26-26-16,-25 26 0,25-26 15,-12 26-15,-14-14 0,14 1 16,-14 13-16,0 0 0</inkml:trace>
  <inkml:trace contextRef="#ctx0" brushRef="#br0" timeOffset="73011.28">19764 2183 0,'80'-13'16,"-67"13"-16,0 0 0,27-14 16,-14 14-16</inkml:trace>
  <inkml:trace contextRef="#ctx0" brushRef="#br0" timeOffset="73199.09">19870 2580 0,'106'0'16,"-93"-14"-16</inkml:trace>
  <inkml:trace contextRef="#ctx0" brushRef="#br0" timeOffset="73655.45">20836 1799 0,'26'-26'0,"-12"12"16,-1 14-16,13-13 0,-12 0 16,12 0-16,0 13 0,-12-13 0,25 13 15,-12 0-15</inkml:trace>
  <inkml:trace contextRef="#ctx0" brushRef="#br0" timeOffset="73841.82">20929 2090 0,'39'0'0,"-26"0"0,1 0 15,12-13-15,1 13 0,-14 0 0,13 0 16,14-13-16,-14 13 16,14 0-16</inkml:trace>
  <inkml:trace contextRef="#ctx0" brushRef="#br0" timeOffset="74027.21">21140 2342 0,'132'-40'16,"-105"27"-16,13-1 15,-1 1-15,1 0 0</inkml:trace>
  <inkml:trace contextRef="#ctx0" brushRef="#br0" timeOffset="75315.2">19090 952 0,'-14'40'0,"14"-27"0,0 1 0,0-1 16,-13 0-16,26 27 0,-13-27 15,0 0-15,0 0 0,0 1 16,14 12-16,-14-13 0,0 1 16,13-28 15,0 14-31,-13-13 0,0 0 15,13 0 1,-13-1-16,14 1 0,-14 0 0,13 0 31,-13 0-15,26 13 0,1 13-1,-1 0 1,1-13-1,-14 0-15,13 0 16</inkml:trace>
  <inkml:trace contextRef="#ctx0" brushRef="#br0" timeOffset="76435.84">20320 609 0,'26'39'0,"-12"-26"16,-14 14 0,13-14-16,-13 0 0,13 1 15,-13-1 1,-13-40 15,0 1-15,13 13-1,0-1-15,0 1 0,0 0 0,0 0 16,0 0-16,0-1 16,13 14-16,0-13 15,27 26 1,-27-13-16,0 14 0,1-1 16,25 13-1,-39-13-15,13 1 0,1-1 16,-1 0-16,-13 0 0,0 1 15,0-1 1</inkml:trace>
  <inkml:trace contextRef="#ctx0" brushRef="#br0" timeOffset="76614.16">20413 807 0,'-14'0'16,"28"-13"-16,-1 0 15,0-1-15,0 14 16,40-26 0,13-1-1,-26 14 1</inkml:trace>
  <inkml:trace contextRef="#ctx0" brushRef="#br0" timeOffset="78604.21">21841 93 0,'0'26'0,"0"27"16,14 0-1,-14-27-15,0 1 0,26 39 16,-26-40-1,13-12-15,-13 12 0,14-13 0,-14 1 16,13 12-16,-13-13 16,0 0-16,0 1 0,0-1 15,-13 0-15,-1-13 16,1 13 0,0-13-16,-14 0 0,1-13 15,13 0-15,-1 0 16,1-1-1,13 1-15,0 0 0,13 13 16,14-40-16,-14 27 16,14-13-16,-14 12 15,0 1-15,14 13 0,-14-13 0,0 13 16,0-13-16,0 13 0,1 0 16,12 13-1,-13-13-15,-13 13 0,14-13 0,-14 13 16,13 1-16,-13-1 15,13 0 1,-13 0-16,13-13 16,-13 14-16,13-14 15</inkml:trace>
  <inkml:trace contextRef="#ctx0" brushRef="#br0" timeOffset="79033.97">22093 291 0,'13'27'0,"-13"-14"0,0 0 16,0 13-1,0-12 1,13-1-1,0-26 17,-13-1-1,27-12-15,-1 13-1,-12 13 1</inkml:trace>
  <inkml:trace contextRef="#ctx0" brushRef="#br0" timeOffset="79198.55">22278 291 0,'13'13'0,"-13"1"31,0 12-31,0-13 15,0 0 1</inkml:trace>
  <inkml:trace contextRef="#ctx0" brushRef="#br0" timeOffset="79558.24">22344 291 0,'13'13'0,"1"-13"16,-1 0 15,0 0-15,-13-13-16</inkml:trace>
  <inkml:trace contextRef="#ctx0" brushRef="#br0" timeOffset="79947.23">22079 714 0,'172'-53'16,"-145"40"-16,13 0 0,79-27 16,-93 14-16,14 13 15,-14-1-15,1-12 0,-1 13 0,14-27 16,-27 27-16,0 0 16,1-14-16,-14 14 0,13-14 0,-13 1 15,13 0-15,-26 12 0,13-12 16,0-1-16,-13-12 0,-1 12 0,-12-12 15,13 12-15,-14 1 0,1-1 16,-14 1-16,14-1 0</inkml:trace>
  <inkml:trace contextRef="#ctx0" brushRef="#br0" timeOffset="80095.24">21908 0 0,'-212'159'16,"172"-106"-16,14-14 0,-1 1 0,1-13 15,13 12-15,-14-12 0,14 39 16,13-53-16,0 13 0,0-12 16,0 12-16,13-13 0,0 1 0,-13-1 15</inkml:trace>
  <inkml:trace contextRef="#ctx0" brushRef="#br0" timeOffset="81025.11">21471 2871 0,'198'185'15,"-158"-172"-15,119-13 0,-133-13 0,14 0 16,-14-14-16,41-12 16,-41 12-16,-13 1 0,14-14 0,-1 0 15,1 1-15,-1-14 0,-13 13 0,1-13 16,-1 13-16,0 1 0,-13 12 16,0 1-16,0-14 0,-13 27 15,0 0-15</inkml:trace>
  <inkml:trace contextRef="#ctx0" brushRef="#br0" timeOffset="81489.27">20452 3347 0,'14'40'0,"-14"-14"0,105 40 0,-78-66 0,26 13 16,-14-13-16,14-13 0,13 0 15,1 0-15,-1-14 0,-13 1 0,13-1 16,93-78-16,-80 25 16,-53 41-1,1-1-15,-14 13 0,0-12 0,-13 12 0,0 1 16</inkml:trace>
</inkml:ink>
</file>

<file path=ppt/ink/ink23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6:11:21.301"/>
    </inkml:context>
    <inkml:brush xml:id="br0">
      <inkml:brushProperty name="width" value="0.05292" units="cm"/>
      <inkml:brushProperty name="height" value="0.05292" units="cm"/>
      <inkml:brushProperty name="color" value="#0070C0"/>
    </inkml:brush>
  </inkml:definitions>
  <inkml:trace contextRef="#ctx0" brushRef="#br0">14552 2831 0,'13'-13'79,"1"13"-64,-1 0-15,26 13 16,67 14-1,13-1-15,27-13 0,39 14 16,-53-27 0,27 0-16,-13 0 15,92 0 1,-132 0-16,145 0 16,-132 0-1,40 0-15,-14 0 16,14 0-16,0 0 15,0 0 1,-27 0-16,-40 0 0,-39 0 16,-39 0-16,-1 0 15,13 0 251</inkml:trace>
  <inkml:trace contextRef="#ctx0" brushRef="#br0" timeOffset="2150.17">2011 3492 0,'26'14'78,"80"-1"-46,0-13-32,39 0 15,14 0-15,13 0 16,66 0-16,14 0 15,290 0 1,-317 0-16,-40 0 16,14 0-16,-14 0 15,-26 0 1,-14 0-16,1 0 0,-67 0 16,27 0-16,-53 0 15,-40 0-15</inkml:trace>
  <inkml:trace contextRef="#ctx0" brushRef="#br0" timeOffset="4678.83">10478 3466 0,'-14'0'62,"41"0"-30,145 0-17,-14 0-15,81 0 16,52 0-16,79 0 16,-13 0-16,-39 0 15,12 0-15,-38 0 16,-41 0-16,40 0 15,-40 0 1,-26 0-16,-13 0 0,-40 0 16,26 0-16,-39 0 15,13 0 1,-13 0-16,-40 0 0,-13 0 16,-53 0-1,-14 0-15,-26 0 16</inkml:trace>
  <inkml:trace contextRef="#ctx0" brushRef="#br0" timeOffset="7535.07">19301 3479 0,'14'0'94,"65"0"-79,66 0-15,27 0 16,40 0-16,39 0 16,80 0-1,26 0-15,1 0 0,12 0 16,-52 0-16,-27 0 16,-40 0-16,53 0 15,-185 0 1,-39 0-16,-27 0 15,-27 0-15</inkml:trace>
  <inkml:trace contextRef="#ctx0" brushRef="#br0" timeOffset="9006.79">1931 4061 0,'0'0'0,"40"14"0,13 12 16,40-13-16,-14 1 16,0-14-16,54 0 15,-27 13-15,-1-13 16,173 0-1,-146 0-15,1 0 16,12 0 0,-26 0-16,27 0 15,13 0-15,26 0 16,13 0-16,226 0 16,12 0-1,-171 0 1,13 0-16,13 0 15,-27 0-15,-79 0 16,-13 0-16,-13 0 16,-27 0-16,-65 0 15,-54 0-15,0 0 16</inkml:trace>
  <inkml:trace contextRef="#ctx0" brushRef="#br0" timeOffset="18454.09">3823 6046 0,'13'13'62,"239"13"-46,-80-26-16,53 0 16,344 0-1,-345 0 1,-38 0-16,-41 0 15,-92 0-15,-40 0 16</inkml:trace>
  <inkml:trace contextRef="#ctx0" brushRef="#br0" timeOffset="19160.07">9578 6099 0,'13'13'63,"14"-13"-47,65 13-1,-65-13-15,65 0 16,27 0-16,27 0 15,-40 0 1,13 0-16,-66 0 16,-14 0-16,-39 13 187</inkml:trace>
  <inkml:trace contextRef="#ctx0" brushRef="#br0" timeOffset="20030.97">15888 6284 0,'-26'13'16,"39"-13"46,13 0-62,14 0 16,53 0-16,13 0 15,66 0 1,-67 0-16,28 0 0,-14 0 16,0-40-1,-93 27-15,1 0 16</inkml:trace>
  <inkml:trace contextRef="#ctx0" brushRef="#br0" timeOffset="28840.26">2236 4723 0,'0'39'16,"0"14"-1,0 80 1,0-80-1,0-14-15,0 14 16,0-13-16,0-27 0,0 40 31,0-40-15,0 1 62,53-1-62,52-13-1,15 0 1,65 0-16,0 0 0,53 0 16,27 0-16,-14 0 15,0 0-15,-39 0 16,13 0-16,40 13 15,-67 27-15,0-40 16,-26 26-16,27-26 16,-67 0-16,-26 0 15,0 0-15,-53 0 16,13 0-16,-26 13 16,-1-13-16,-12 0 15,26 0 1,-1 0-16,41 0 0,-14 0 15,14 0 1,26 0-16,27 0 16,-40 0-16,13 0 15,-93 0-15,0 0 188,-12 0-141,-14-26 0,0-14-16,0 14-31,0-14 15,0 0-15,0-13 16,-14 27-16,1-27 16,0 13-16,13 14 15,0-14 1,-13 27-16,13-13 16,-13 12-16,13 1 15,0-13-15,0-1 16,-14 1-1,14 12 1,-13 1 0,0 0-1,13 0 1,0-14 15,-13 27-31,13-13 16,-14 13 124,-38 0-124,-41 0-16,-13 0 16,-26 0-16,-27 0 15,-39 0-15,12 0 16,-12 0-16,-14 0 16,40 0-16,-26 0 15,66 0-15,-14 0 16,1 0-16,25 0 15,15 0-15,-14 0 16,-14 0-16,14 0 16,0 0-16,-26 0 15,26 0-15,-27 0 16,27 0 0,26 0-16,27 0 0,-13 0 15,13 0 1,13 0-16,13 0 15,-13 0-15,-26 0 16,39 0-16,-13 0 16,0 0-16,-26 0 15,-14 0-15,1 0 16,26 0-16,-27 0 16,27 0-16,0 0 15,26 0-15,14 0 16,-27 0-16,26 0 15</inkml:trace>
</inkml:ink>
</file>

<file path=ppt/ink/ink23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20T16:24:25.733"/>
    </inkml:context>
    <inkml:brush xml:id="br0">
      <inkml:brushProperty name="width" value="0.05292" units="cm"/>
      <inkml:brushProperty name="height" value="0.05292" units="cm"/>
      <inkml:brushProperty name="color" value="#0070C0"/>
    </inkml:brush>
  </inkml:definitions>
  <inkml:trace contextRef="#ctx0" brushRef="#br0">6204 4167 0,'14'0'94,"78"0"-78,54 0-16,-14 0 0,-13 0 15,13 0-15,-26 0 16,-40 0-16,40 0 15,27 0 1,-120 0-16</inkml:trace>
  <inkml:trace contextRef="#ctx0" brushRef="#br0" timeOffset="1193.94">7236 3929 0,'0'13'78,"14"27"-62,38-14 0,1 1-1,-13-14 1,26 27-16,-26-14 0,0 1 15,-27-14-15,0-13 16,0 0-16,1 13 16,-14 0 46,0 1 32,-14 12-78,-12 1-16,-1 12 15,-12-12-15,-1 12 16,0-25-1,27-1 1</inkml:trace>
  <inkml:trace contextRef="#ctx0" brushRef="#br0" timeOffset="2553.05">15412 4485 0,'-13'0'78,"39"0"-47,93 13-15,-26-13 0,39 0-16,27 0 15,0 0-15,13 0 16,39 0-16,-25 0 15,25 0-15,173 0 16,-252 0 0,-26 0-16,-40 0 15</inkml:trace>
  <inkml:trace contextRef="#ctx0" brushRef="#br0" timeOffset="3316.13">18891 4498 0,'40'0'94,"53"0"-78,12 0-16,41 0 0,39 0 15,0 0-15,1 0 16,-28-13-16,-12-1 16,-14 1-16,-79-13 15,-40 26-15,0-13 110,-26-40-95</inkml:trace>
  <inkml:trace contextRef="#ctx0" brushRef="#br0" timeOffset="11055.92">11046 5556 0,'14'0'109,"91"0"-93,14 0-1,-13 0-15,0 0 16,0 0-16,26 0 16,-26 0-16,26 0 15,14 0-15,26 0 16,-53 0-16,13 0 15,-13 0-15,0 0 16,-26 0-16,0 0 16,-67 0-16,1 0 15,-14 0-15</inkml:trace>
  <inkml:trace contextRef="#ctx0" brushRef="#br0" timeOffset="13761.32">15161 5583 0,'13'13'125,"13"0"-94,14-13 0,66 0-15,-40 0-16,27 0 16,-14 0-16,-13 0 15,0 0-15,40 0 16,40 0 0,-54 0-16,-39 0 15,26 0-15,-26 0 16,66 0-1,-26 0-15,0 0 16,-27 0-16,132 0 31,-92 0-31,132 0 16,-105 0-16,-14 0 16,-27 0-16,1 0 15,-27 0-15,0 0 16,13 0-1,27 0-15,-40 0 16,14 0-16,-1 0 0,1 0 16,-41 0-1,-12 0-15,26 0 16,0 0-16,-14 0 16,14 0-16,-13 0 15,13 0-15,-14 0 16,14 0-16,-26 0 15,26 0-15,-14 0 16,-12 0-16,-1 0 16,1 0 281,26 0-282,-14 0-15,28 0 16,25 0-16,133 0 15,-119 0 1,0 0-16,-27 0 16,-26 0-16,-13 0 15,-27 0-15,0 0 16</inkml:trace>
  <inkml:trace contextRef="#ctx0" brushRef="#br0" timeOffset="15456.97">20690 5239 0,'0'0'0,"-13"13"16,0 0 0,13 14-1,-13-14 1,13 0 15,0 0-15,-13 1-1,13-1 1,0 0 0,0 14-1,0-1 1,0 0-16,0-12 31,26-1-15,-26 0-16,26-13 15,-12 0 1,-1 0 0,27 0 15,-14 0-31,0 0 0,1 0 16,-14 0-16,0 0 15,14 0-15,-1 0 16,-12 0-1,-1-13 1,0 13-16,0-13 16,0-1-16,-13 1 15,14-13 1,-14 13-16,0-14 31,0 14-31,0-14 16,0 14-16,0 0 15,0-14 1,-27 1 0,14 13-1,-13 0 1,12-14 0,1 27 15,13-13-31,-13 13 15,0 0 17,-1 0-17,-12 0-15,13 0 16,-1 0 15,-12 0-15,0 13-1,12-13-15,14 13 16,-13 1 0,0-1-1,0-13-15</inkml:trace>
  <inkml:trace contextRef="#ctx0" brushRef="#br0" timeOffset="16519.04">21881 5173 0,'0'26'78,"13"14"-62,-13-27-16,0 0 15,0 14-15,14-14 16,-14 13-16,0-12 15,0 12-15,0-13 16,0 14-16,13-14 16,-13 13-1,13 1 1,-13-14-16,13 0 62,0-13 1,54-13-47,-28-13-16,1 12 15,-14 14-15,14-13 16,-27 0-16,1 13 15,-1-13-15,0 13 16</inkml:trace>
  <inkml:trace contextRef="#ctx0" brushRef="#br0" timeOffset="17841.32">21987 5305 0,'-13'13'32,"52"-13"171,1-13-188,-27 13 1,0-13-16,1 13 16,-14-14-1,13 14 1,-13-13 125</inkml:trace>
  <inkml:trace contextRef="#ctx0" brushRef="#br0" timeOffset="18681.03">21921 5173 0,'26'-14'110,"40"1"-95,-39 0 1,-1 0 0,-13 13-1,1 0 1</inkml:trace>
  <inkml:trace contextRef="#ctx0" brushRef="#br0" timeOffset="23944.15">6628 6006 0,'26'13'15,"-52"-26"1,66 26-16,-27 0 16,0 1-16,-13-1 47,26 13-32,-26-12-15,0 12 16,0-13-16,0 14 15,0-1-15,-13 14 16,0-14-16,13 14 16,-13-27-16,0 14 15,13 12-15,-14 14 16,1-13-16,0-13 16,0 12-16,13-12 15,0 12 1,0 14-16,0-13 15,0 0 1,0-14-16,13-13 16,-13 1-16,26 12 15,-12-13-15,-1 0 16,26 1-16,-12-14 16,-14 0-16,14 0 15,-14 0-15,26 0 16,-12 0-16,-1 0 15,1-14-15,-14 1 16,0 0 0,-13 0-16,0 0 31,0-1 0,-39 14 0,-1 27-31,13-14 16,-12 40 0,26-27-16,-1 41 15,14-28-15,0 1 16,0-14 0,0 27-16,0-26 0,0-1 15,0-13-15,0 1 16,0 12-16,0 14 15,14-1 1,-1-12-16,-13-1 16,13 27-16,13 13 15,-12-26-15,-1 13 16,-13-13-16,26 13 16,-12-27-16,-1 27 15,-13-13-15,53 66 16,-14-27-1,-25-39-15,-1 13 16,-13-40-16,0 13 16,0-13-1,0 1-15,0-1 16,0 0 0,-27 27 30,-25-40-46,-15 13 16,-52 0-16,53-13 16,13 0-16,0 0 15,-26 0 1,26 0-16,13 0 16,14 0-16</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321"/>
    </inkml:context>
    <inkml:brush xml:id="br0">
      <inkml:brushProperty name="width" value="0.025" units="cm"/>
      <inkml:brushProperty name="height" value="0.025" units="cm"/>
      <inkml:brushProperty name="ignorePressure" value="1"/>
    </inkml:brush>
  </inkml:definitions>
  <inkml:trace contextRef="#ctx0" brushRef="#br0">84 1,'-4'0,"0"3,-1 5,-1 0,-1 3,-2 3,0 2,-1 1,1 2,-2-3,2-4</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966"/>
    </inkml:context>
    <inkml:brush xml:id="br0">
      <inkml:brushProperty name="width" value="0.025" units="cm"/>
      <inkml:brushProperty name="height" value="0.025" units="cm"/>
      <inkml:brushProperty name="ignorePressure" value="1"/>
    </inkml:brush>
  </inkml:definitions>
  <inkml:trace contextRef="#ctx0" brushRef="#br0">44 0,'0'3,"-4"5,0 4,-1 3,-1-1,-1 1,-2 1,0-3</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3.605"/>
    </inkml:context>
    <inkml:brush xml:id="br0">
      <inkml:brushProperty name="width" value="0.025" units="cm"/>
      <inkml:brushProperty name="height" value="0.025" units="cm"/>
      <inkml:brushProperty name="ignorePressure" value="1"/>
    </inkml:brush>
  </inkml:definitions>
  <inkml:trace contextRef="#ctx0" brushRef="#br0">28 1,'0'6,"-3"6,-5 4,-1 3,2-2</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5.186"/>
    </inkml:context>
    <inkml:brush xml:id="br0">
      <inkml:brushProperty name="width" value="0.025" units="cm"/>
      <inkml:brushProperty name="height" value="0.025" units="cm"/>
      <inkml:brushProperty name="ignorePressure" value="1"/>
    </inkml:brush>
  </inkml:definitions>
  <inkml:trace contextRef="#ctx0" brushRef="#br0">78 1,'-3'0,"-5"0,-1 3,-2 1,1 4,-1-1,-3 3,2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5.383"/>
    </inkml:context>
    <inkml:brush xml:id="br0">
      <inkml:brushProperty name="width" value="0.05" units="cm"/>
      <inkml:brushProperty name="height" value="0.05" units="cm"/>
      <inkml:brushProperty name="color" value="#E71224"/>
      <inkml:brushProperty name="ignorePressure" value="1"/>
    </inkml:brush>
  </inkml:definitions>
  <inkml:trace contextRef="#ctx0" brushRef="#br0">245 0,'-7'10,"0"0,0 0,0 1,1-1,1 1,0 1,1-1,-6 20,-10 25,-123 259,126-286,11-17</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6.45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23 24,'-7'7,"1"-2,0 0,0 0,1 0,0 1,0 0,0 0,1 0,0 0,0 1,1 0,-1 0,1 0,1 0,-1 0,0 9,2-12,0 0,0 0,1 0,0 0,-1 0,2 0,-1 0,0 0,1 0,0-1,0 1,0 0,0 0,0 0,1-1,0 1,0-1,0 0,0 1,0-1,4 4,-3-5,0 0,1 0,-1 0,1 0,-1-1,1 1,0-1,0 0,0 0,0 0,-1-1,1 1,0-1,0 0,0 0,0 0,0-1,0 1,0-1,0 0,5-2,-3 1,0-1,0 0,0 0,0 0,0-1,-1 1,1-2,-1 1,0 0,-1-1,1 0,-1 0,0 0,0-1,0 1,-1-1,0 0,0 0,-1 0,1 0,2-13,-4 15,0 0,-1 0,1 0,-1 0,0 0,0 0,0 0,0 0,-1 0,1 0,-1 0,0 0,-1 1,1-1,-1 0,1 1,-1-1,0 1,0-1,-1 1,1 0,-1 0,1 0,-1 0,0 0,0 1,0-1,-1 1,1 0,-1 0,1 0,-1 1,0-1,1 1,-1 0,-7-2,0 1,0 0,0 1,0 0,0 1,0 0,0 0,0 1,0 1,0 0,1 1,-1 0,0 0,-17 9,14-5</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1.678"/>
    </inkml:context>
    <inkml:brush xml:id="br0">
      <inkml:brushProperty name="width" value="0.025" units="cm"/>
      <inkml:brushProperty name="height" value="0.025" units="cm"/>
      <inkml:brushProperty name="ignorePressure" value="1"/>
    </inkml:brush>
  </inkml:definitions>
  <inkml:trace contextRef="#ctx0" brushRef="#br0">52 0,'-4'7,"0"5,0 4,-2-1,-1 0,1 2,2 0,-2 1,0 1,1-3</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1.698"/>
    </inkml:context>
    <inkml:brush xml:id="br0">
      <inkml:brushProperty name="width" value="0.025" units="cm"/>
      <inkml:brushProperty name="height" value="0.025" units="cm"/>
      <inkml:brushProperty name="ignorePressure" value="1"/>
    </inkml:brush>
  </inkml:definitions>
  <inkml:trace contextRef="#ctx0" brushRef="#br0">237 1,'-23'14,"1"2,0 1,2 0,0 2,1 0,-23 30,-5 4,45-52,0 1,0 0,1 0,-1 0,0 0,1 0,0 0,-1 0,1 1,0-1,0 0,0 1,1-1,-1 1,1-1,-1 1,1 2,0-3,1-1,0 1,-1-1,1 1,0-1,0 0,0 1,0-1,0 0,0 0,1 0,-1 0,0 0,1 0,-1 0,0 0,1 0,-1-1,1 1,-1-1,1 1,0-1,-1 1,1-1,-1 0,1 0,0 0,1 0,30 3,0-3,0 0,0-2,-1-2,35-7,-60 10,10-2</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2.353"/>
    </inkml:context>
    <inkml:brush xml:id="br0">
      <inkml:brushProperty name="width" value="0.025" units="cm"/>
      <inkml:brushProperty name="height" value="0.025" units="cm"/>
      <inkml:brushProperty name="ignorePressure" value="1"/>
    </inkml:brush>
  </inkml:definitions>
  <inkml:trace contextRef="#ctx0" brushRef="#br0">134 1,'-3'18,"0"0,-1 0,-1 0,0-1,-1 1,-16 28,4-4,8-18,-9 23,-15 56,30-86</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151"/>
    </inkml:context>
    <inkml:brush xml:id="br0">
      <inkml:brushProperty name="width" value="0.025" units="cm"/>
      <inkml:brushProperty name="height" value="0.025" units="cm"/>
      <inkml:brushProperty name="ignorePressure" value="1"/>
    </inkml:brush>
  </inkml:definitions>
  <inkml:trace contextRef="#ctx0" brushRef="#br0">40 2,'-2'1,"0"0,0-1,0 1,1 0,-1 0,0 0,0 0,1 0,-1 0,0 0,1 1,-1-1,1 1,0-1,-1 1,1-1,0 1,0 0,0 0,0-1,0 1,1 0,-1 0,0 0,1 0,-1 0,1 0,0 0,0 2,-2 4,1 0,1 0,-1 0,1-1,0 1,3 11,-3-17,0 0,1 0,0 1,-1-1,1 0,0 0,0 0,0 0,0 0,1 0,-1 0,0 0,1 0,-1-1,1 1,0-1,0 1,0-1,-1 0,1 1,0-1,0 0,1 0,-1 0,0-1,0 1,0 0,5 0,-2-1,-1 0,1-1,-1 1,1-1,-1 0,0 0,1-1,-1 1,0-1,0 0,0 0,0 0,0 0,4-4,-5 3,1 1,-1-1,0 0,0 0,0 0,-1 0,1 0,-1-1,0 1,0-1,0 0,0 0,-1 0,1 1,1-8,-3 9,0-1,0 0,0 0,-1 1,1-1,-1 0,1 1,-1-1,0 0,0 1,0-1,0 1,0-1,-1 1,1 0,-1-1,0 1,0 0,1 0,-1 0,0 0,-1 1,1-1,0 1,0-1,-5-1,-10-5,0 3</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548"/>
    </inkml:context>
    <inkml:brush xml:id="br0">
      <inkml:brushProperty name="width" value="0.025" units="cm"/>
      <inkml:brushProperty name="height" value="0.025" units="cm"/>
      <inkml:brushProperty name="ignorePressure" value="1"/>
    </inkml:brush>
  </inkml:definitions>
  <inkml:trace contextRef="#ctx0" brushRef="#br0">73 1,'-4'3,"0"0,0 0,0 0,0 1,1 0,-1 0,1 0,0 0,0 0,0 1,1-1,0 1,0 0,0-1,0 1,1 0,-1 0,0 8,2-11,-1 1,1 0,-1-1,1 1,0-1,0 1,1 0,-1-1,0 1,1-1,-1 1,1-1,0 1,0-1,0 1,0-1,0 0,1 1,-1-1,1 0,-1 0,1 0,0 0,0 0,0-1,0 1,0-1,0 1,0-1,1 0,-1 1,0-1,1 0,-1-1,1 1,-1 0,4 0,-5-1,1 1,0-1,-1 0,1 1,0-1,-1 0,1 0,0 0,0 0,-1 0,1-1,0 1,-1-1,1 1,-1-1,1 1,0-1,-1 0,1 0,-1 1,0-1,1 0,-1 0,0-1,1 1,-1 0,0 0,0-1,0 1,0-1,0 1,0 0,-1-1,1 0,0 1,-1-1,1 1,-1-3,1 0,-1 1,0 0,-1 0,1 0,0-1,-1 1,0 0,0 0,0 0,0 0,0 0,0 0,-1 1,0-1,1 0,-1 1,0-1,0 1,-5-4,2 2,0 0,0 1,-1 0,1 0,-1 0,0 1,0 0,1 0,-2 0,1 1,-10-1,-2 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3.880"/>
    </inkml:context>
    <inkml:brush xml:id="br0">
      <inkml:brushProperty name="width" value="0.05" units="cm"/>
      <inkml:brushProperty name="height" value="0.05" units="cm"/>
      <inkml:brushProperty name="color" value="#E71224"/>
      <inkml:brushProperty name="ignorePressure" value="1"/>
    </inkml:brush>
  </inkml:definitions>
  <inkml:trace contextRef="#ctx0" brushRef="#br0">328 0,'0'4,"0"3,0 5,-3 4,-5 5,-4 2,-3 5,-3 6,-4 5,-6 5,-1 2,-2 0,-2 2,0-1,0-2,-1-1,5-9</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5.099"/>
    </inkml:context>
    <inkml:brush xml:id="br0">
      <inkml:brushProperty name="width" value="0.05" units="cm"/>
      <inkml:brushProperty name="height" value="0.05" units="cm"/>
      <inkml:brushProperty name="color" value="#E71224"/>
      <inkml:brushProperty name="ignorePressure" value="1"/>
    </inkml:brush>
  </inkml:definitions>
  <inkml:trace contextRef="#ctx0" brushRef="#br0">266 0,'-22'13,"1"1,0 1,1 1,0 1,1 0,1 2,1 0,1 1,0 0,2 1,0 1,2 0,-15 36,25-54,1 0,0 0,-1 0,2 0,-1 0,0 0,1 0,0 0,0 0,0 1,1-1,-1 0,1 0,0 0,0 0,0 0,1 0,-1 0,1 0,4 6,-5-8,1 0,0 0,0 0,0 0,0 0,1 0,-1 0,0-1,1 1,-1-1,1 0,0 0,-1 0,1 0,0 0,-1 0,1-1,0 1,0-1,0 0,0 0,0 0,-1 0,1 0,0-1,0 1,0-1,-1 0,1 0,0 0,2-1,-3 1,-1 1,0-1,1 1,-1-1,0 1,0-1,1 0,-1 0,0 0,0 0,0 1,0-1,0-1,0 1,0 0,-1 0,1 0,0 0,-1-1,1 1,0 0,-1 0,0-1,1 1,-1-1,0 1,1 0,-1-1,0 1,0-1,0 1,0 0,-1-1,1 1,0-1,-1 1,1 0,-1-1,1 1,-1 0,-1-3,0 0,-1-1,-1 1,1-1,-1 1,1 0,-1 0,0 0,0 1,-7-5,-6-2</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01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16 14,'-5'1,"0"0,0 1,0-1,1 1,-1 0,1 0,-1 0,1 1,0-1,-1 1,1 0,1 1,-1-1,0 1,1-1,0 1,0 0,0 0,0 1,-2 4,1-2,0-1,1 1,-1-1,1 1,1 0,0 0,0 1,0-1,1 0,0 1,0-1,0 1,2 7,-1-12,1 0,0-1,-1 1,1 0,1-1,-1 1,0-1,0 0,1 1,-1-1,1 0,0 0,0 0,0 0,0 0,0 0,0-1,0 1,5 2,-2-2,0 0,0-1,0 1,0-1,0 0,0 0,1-1,-1 1,0-1,7-1,-6 1,0-1,0 1,0-1,0-1,-1 1,1-1,-1 0,1 0,-1-1,1 1,-1-1,0 0,-1-1,1 1,0-1,-1 0,0 0,0-1,6-8,-8 9,0 0,0 0,-1-1,1 1,-1 0,0-1,-1 0,1 1,-1-1,0 1,0-1,0 1,-1-1,1 0,-1 1,0-1,0 1,-1 0,0-1,1 1,-1 0,-4-5,1 2,0 0,0 1,-1 0,0 0,0 1,-1-1,1 1,-1 0,0 1,-1 0,-8-4,-1 1</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445"/>
    </inkml:context>
    <inkml:brush xml:id="br0">
      <inkml:brushProperty name="width" value="0.05" units="cm"/>
      <inkml:brushProperty name="height" value="0.05" units="cm"/>
      <inkml:brushProperty name="color" value="#E71224"/>
      <inkml:brushProperty name="ignorePressure" value="1"/>
    </inkml:brush>
  </inkml:definitions>
  <inkml:trace contextRef="#ctx0" brushRef="#br0">36 34,'-9'40,"8"-36,-1 0,1 0,0 0,0 0,0 0,1 0,-1 0,1 0,0 0,0 0,1 7,1-7,-1-1,0 1,1-1,0 1,0-1,0 0,0 0,0 0,1 0,0 0,-1 0,1-1,0 1,0-1,0 0,1 0,-1 0,5 2,-6-3,-1-1,1 1,-1-1,1 1,0-1,-1 1,1-1,0 0,-1 0,1 0,0 0,0 0,-1 0,1-1,0 1,-1-1,1 1,-1-1,1 1,0-1,-1 0,1 0,-1 0,0 0,1 0,-1 0,0 0,1 0,-1 0,0-1,0 1,0 0,0-1,0 1,-1-1,1 1,0-1,-1 1,1-1,-1 0,1 1,-1-3,1 0,0 0,0-1,-1 1,1 0,-1 0,0 0,0-1,-1 1,1 0,-1 0,0 0,0-1,0 1,-1 0,1 1,-1-1,0 0,0 0,0 1,-1-1,1 1,-5-5,0 2,1 0,-1 0,-1 1,1 0,-1 0,0 1,0 0,0 0,-12-3,4 2</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1:49.622"/>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29.804"/>
    </inkml:context>
    <inkml:brush xml:id="br0">
      <inkml:brushProperty name="width" value="0.025" units="cm"/>
      <inkml:brushProperty name="height" value="0.025" units="cm"/>
      <inkml:brushProperty name="ignorePressure" value="1"/>
    </inkml:brush>
  </inkml:definitions>
  <inkml:trace contextRef="#ctx0" brushRef="#br0">1 261,'289'-13,"-255"10,496-39,346-18,-462 32,103-2,-262 19,-92 2,91-9,105-2,-320 18,43-6,36-2,-16 11,-95-2,-11-2,-5-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037"/>
    </inkml:context>
    <inkml:brush xml:id="br0">
      <inkml:brushProperty name="width" value="0.025" units="cm"/>
      <inkml:brushProperty name="height" value="0.025" units="cm"/>
      <inkml:brushProperty name="ignorePressure" value="1"/>
    </inkml:brush>
  </inkml:definitions>
  <inkml:trace contextRef="#ctx0" brushRef="#br0">21 1,'2'0,"1"0,0-1,0 1,0 1,0-1,-1 0,1 1,0-1,0 1,-1 0,1 0,0 0,-1 0,1 0,-1 1,1-1,-1 1,0 0,0-1,0 1,0 0,0 0,3 4,-4-3,-1 0,1 0,-1 0,1 0,-1 0,0 0,0 0,0 0,-1 0,1 0,-1 0,0 0,1-1,-1 1,-1 0,1 0,0-1,-1 1,1 0,-1-1,0 1,-2 1,-25 27,24-27,0 0,1 1,0-1,0 1,0-1,1 1,-6 10,9-15,0 0,0 1,0-1,0 0,0 0,0 1,0-1,0 0,0 0,0 1,0-1,0 0,0 0,0 0,0 1,0-1,0 0,0 0,0 1,0-1,1 0,-1 0,0 0,0 1,0-1,0 0,1 0,-1 0,0 0,0 1,0-1,1 0,-1 0,0 0,0 0,1 0,-1 0,0 0,0 0,1 0,-1 0,17 1,15-5,29-11,-43 12</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088"/>
    </inkml:context>
    <inkml:brush xml:id="br0">
      <inkml:brushProperty name="width" value="0.025" units="cm"/>
      <inkml:brushProperty name="height" value="0.025" units="cm"/>
      <inkml:brushProperty name="ignorePressure" value="1"/>
    </inkml:brush>
  </inkml:definitions>
  <inkml:trace contextRef="#ctx0" brushRef="#br0">52 0,'0'3,"0"5,-4 0,0 3,-1 2,2 3,1 2,-3-3,0 0,0 1,2 0,-2 2,-1 0,1-2</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652"/>
    </inkml:context>
    <inkml:brush xml:id="br0">
      <inkml:brushProperty name="width" value="0.025" units="cm"/>
      <inkml:brushProperty name="height" value="0.025" units="cm"/>
      <inkml:brushProperty name="ignorePressure" value="1"/>
    </inkml:brush>
  </inkml:definitions>
  <inkml:trace contextRef="#ctx0" brushRef="#br0">1 1,'11'4,"0"1,0-2,1 1,-1-1,1-1,0 0,0-1,21-1,11-2,46-8,-7 0,101 7,-168 4</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3.536"/>
    </inkml:context>
    <inkml:brush xml:id="br0">
      <inkml:brushProperty name="width" value="0.025" units="cm"/>
      <inkml:brushProperty name="height" value="0.025" units="cm"/>
      <inkml:brushProperty name="ignorePressure" value="1"/>
    </inkml:brush>
  </inkml:definitions>
  <inkml:trace contextRef="#ctx0" brushRef="#br0">87 1,'15'0,"-5"-1,1 1,0 0,-1 1,1 0,17 5,-27-5,1-1,-1 1,1-1,-1 1,0 0,1 0,-1 0,0 0,1 0,-1 0,0 0,0 0,0 0,0 1,0-1,0 0,1 3,-1-1,-1-1,0 0,1 1,-1-1,0 0,0 1,0-1,-1 0,1 1,0-1,-1 0,0 0,1 0,-1 1,0-1,-1 2,-5 8,-1-1,1-1,-2 0,1 0,-1 0,-1-1,0 0,0-1,-1 0,-12 7,7-5,1 1,0 1,-22 24,36-36,1 1,-1-1,1 0,0 1,-1-1,1 0,0 1,0-1,-1 0,1 1,0-1,0 1,-1-1,1 1,0-1,0 1,0-1,0 1,0-1,0 0,0 1,0-1,0 1,0-1,0 1,0-1,0 1,0-1,0 1,0-1,1 1,-1-1,0 1,1 0,17 5,23-7,167-29,-187 27</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005"/>
    </inkml:context>
    <inkml:brush xml:id="br0">
      <inkml:brushProperty name="width" value="0.025" units="cm"/>
      <inkml:brushProperty name="height" value="0.025" units="cm"/>
      <inkml:brushProperty name="ignorePressure" value="1"/>
    </inkml:brush>
  </inkml:definitions>
  <inkml:trace contextRef="#ctx0" brushRef="#br0">19 4,'0'-3,"0"5,0 6,0 5,0 3,0 3,0 0,0 2,0-1,0 1,0-1,-4 0,0-1,-1 1,2-1,1-3</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318"/>
    </inkml:context>
    <inkml:brush xml:id="br0">
      <inkml:brushProperty name="width" value="0.025" units="cm"/>
      <inkml:brushProperty name="height" value="0.025" units="cm"/>
      <inkml:brushProperty name="ignorePressure" value="1"/>
    </inkml:brush>
  </inkml:definitions>
  <inkml:trace contextRef="#ctx0" brushRef="#br0">0 12,'10'0,"6"0,4 0,2 0,1 0,-1 0,-1 0,0 0,-1-3,0-2,-4 1</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933"/>
    </inkml:context>
    <inkml:brush xml:id="br0">
      <inkml:brushProperty name="width" value="0.025" units="cm"/>
      <inkml:brushProperty name="height" value="0.025" units="cm"/>
      <inkml:brushProperty name="ignorePressure" value="1"/>
    </inkml:brush>
  </inkml:definitions>
  <inkml:trace contextRef="#ctx0" brushRef="#br0">18 1,'5'11,"-1"0,0 0,-1 0,0 1,-1 0,0 0,-1-1,0 1,-2 24,-4 7,-14 60,4-19,12-67</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389"/>
    </inkml:context>
    <inkml:brush xml:id="br0">
      <inkml:brushProperty name="width" value="0.025" units="cm"/>
      <inkml:brushProperty name="height" value="0.025" units="cm"/>
      <inkml:brushProperty name="ignorePressure" value="1"/>
    </inkml:brush>
  </inkml:definitions>
  <inkml:trace contextRef="#ctx0" brushRef="#br0">0 39,'240'-9,"7"-1,-107 0,-8 0,-115 10</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980"/>
    </inkml:context>
    <inkml:brush xml:id="br0">
      <inkml:brushProperty name="width" value="0.025" units="cm"/>
      <inkml:brushProperty name="height" value="0.025" units="cm"/>
      <inkml:brushProperty name="ignorePressure" value="1"/>
    </inkml:brush>
  </inkml:definitions>
  <inkml:trace contextRef="#ctx0" brushRef="#br0">145 1,'-132'122,"131"-122,0 1,0 0,0-1,1 1,-1 0,0 0,0 0,1 0,-1 0,0-1,1 1,-1 1,1-1,-1 0,1 0,0 0,-1 0,1 0,0 0,0 0,0 0,0 1,0-1,0 0,0 0,0 0,0 2,1-2,0 0,1 1,-1-1,0 0,0 0,0 0,1 0,-1 0,1 0,-1 0,1 0,-1-1,1 1,-1 0,4 0,7 2,0-1,0 0,22 0,12-2,174-3,-202 0,-1-1</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7.736"/>
    </inkml:context>
    <inkml:brush xml:id="br0">
      <inkml:brushProperty name="width" value="0.025" units="cm"/>
      <inkml:brushProperty name="height" value="0.025" units="cm"/>
      <inkml:brushProperty name="ignorePressure" value="1"/>
    </inkml:brush>
  </inkml:definitions>
  <inkml:trace contextRef="#ctx0" brushRef="#br0">104 1,'-2'9,"0"0,0 0,-1 0,-1-1,-6 14,-11 30,1 34,-13 39,27-107</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8.679"/>
    </inkml:context>
    <inkml:brush xml:id="br0">
      <inkml:brushProperty name="width" value="0.025" units="cm"/>
      <inkml:brushProperty name="height" value="0.025" units="cm"/>
      <inkml:brushProperty name="ignorePressure" value="1"/>
    </inkml:brush>
  </inkml:definitions>
  <inkml:trace contextRef="#ctx0" brushRef="#br0">18 1,'0'7,"0"5,0 4,0 2,0 2,0 1,0 0,-3-1,-1 1,-1-2,2 1,0-4</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598"/>
    </inkml:context>
    <inkml:brush xml:id="br0">
      <inkml:brushProperty name="width" value="0.025" units="cm"/>
      <inkml:brushProperty name="height" value="0.025" units="cm"/>
      <inkml:brushProperty name="ignorePressure" value="1"/>
    </inkml:brush>
  </inkml:definitions>
  <inkml:trace contextRef="#ctx0" brushRef="#br0">53 0,'-4'3,"1"-1,-1 1,1 0,0 0,-1 0,1 0,1 0,-1 1,0-1,1 1,0 0,0 0,0 0,0 0,1 0,0 0,-2 7,3-9,-1 0,1-1,-1 1,1 0,0 0,0 0,0-1,0 1,0 0,0 0,1 0,-1-1,1 1,-1 0,1-1,-1 1,1 0,0-1,0 1,0-1,0 1,0-1,0 1,0-1,1 0,-1 1,0-1,1 0,-1 0,1 0,-1 0,1 0,0-1,-1 1,1 0,0-1,-1 1,1-1,0 0,0 1,0-1,-1 0,3 0,-2 0,0 0,-1 0,1 0,-1 0,1-1,-1 1,1 0,0-1,-1 1,1-1,-1 1,0-1,1 0,-1 0,1 0,-1 0,0 1,0-2,0 1,1 0,-1 0,0 0,0 0,-1-1,1 1,0-1,0 1,-1 0,1-1,0 1,-1-1,0 0,1 1,-1-1,0 1,0-1,0 1,0-1,0-3,0 2,0 1,-1-1,1 0,-1 0,0 0,1 0,-1 1,0-1,-1 0,1 1,0-1,-1 1,0 0,1-1,-1 1,0 0,0 0,0 0,0 0,-1 0,1 1,-3-3,-31-4,19 7</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9.116"/>
    </inkml:context>
    <inkml:brush xml:id="br0">
      <inkml:brushProperty name="width" value="0.025" units="cm"/>
      <inkml:brushProperty name="height" value="0.025" units="cm"/>
      <inkml:brushProperty name="ignorePressure" value="1"/>
    </inkml:brush>
  </inkml:definitions>
  <inkml:trace contextRef="#ctx0" brushRef="#br0">0 20,'7'-3,"5"-2,4 1,3 1,1 0,1 2,-4 0</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048"/>
    </inkml:context>
    <inkml:brush xml:id="br0">
      <inkml:brushProperty name="width" value="0.025" units="cm"/>
      <inkml:brushProperty name="height" value="0.025" units="cm"/>
      <inkml:brushProperty name="ignorePressure" value="1"/>
    </inkml:brush>
  </inkml:definitions>
  <inkml:trace contextRef="#ctx0" brushRef="#br0">55 0,'-3'7,"-1"5,0 4,0 3,2 1,-3-3,0 0,1-1,0 1,2 0,-3 2,0-1,1 2,0-4</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696"/>
    </inkml:context>
    <inkml:brush xml:id="br0">
      <inkml:brushProperty name="width" value="0.025" units="cm"/>
      <inkml:brushProperty name="height" value="0.025" units="cm"/>
      <inkml:brushProperty name="ignorePressure" value="1"/>
    </inkml:brush>
  </inkml:definitions>
  <inkml:trace contextRef="#ctx0" brushRef="#br0">1 23,'562'-15,"-529"12,-9 0,1 2,0 0,0 1,40 7,-48-3</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3.655"/>
    </inkml:context>
    <inkml:brush xml:id="br0">
      <inkml:brushProperty name="width" value="0.025" units="cm"/>
      <inkml:brushProperty name="height" value="0.025" units="cm"/>
      <inkml:brushProperty name="ignorePressure" value="1"/>
    </inkml:brush>
  </inkml:definitions>
  <inkml:trace contextRef="#ctx0" brushRef="#br0">152 16,'-5'-1,"0"0,0 0,0 0,-1 1,1 0,0 0,0 0,-1 0,1 1,0 0,0 0,0 1,0-1,0 1,0 0,0 1,-6 3,8-5,-1 1,1-1,0 1,0 0,0 0,0 0,0 0,1 1,-1-1,1 1,-1-1,1 1,0 0,0 0,0 0,0 0,1 0,-1 1,1-1,0 0,0 1,0-1,0 1,1-1,-1 1,1 3,1-5,0 0,0 0,0 0,0 0,0-1,0 1,0 0,1-1,-1 1,0-1,1 1,0-1,-1 0,1 0,0 0,0 0,-1 0,1 0,0 0,0 0,2 0,51 11,-33-8,-14-2,-1 0,0 0,0 1,0 0,0 0,0 0,-1 1,1 0,-1 0,10 10,-14-12,-1 0,1 0,-1 0,0 1,1-1,-1 0,0 1,0-1,-1 1,1-1,0 1,-1-1,1 1,-1-1,0 1,0 0,0-1,0 1,-1-1,1 1,-1 0,1-1,-1 1,0-1,0 0,0 1,0-1,-1 0,1 1,-1-1,1 0,-1 0,-3 3,1 0,-1-1,1 0,-1 0,0 0,0-1,0 1,0-1,0-1,-7 4,11-6,0 1,0-1,-1 1,1-1,0 0,0 1,0-1,0 0,0 0,0 0,-1 0,1 0,0 0,0 0,0 0,0 0,0 0,-1-1,1 1,0 0,0-1,0 1,0-1,0 1,0-1,0 0,0 1,0-1,1 0,-1 0,0 0,0 0,1 1,-1-1,0 0,1 0,-1 0,1 0,-1-1,1 1,-1 0,1 0,0 0,0 0,0 0,-1 0,1-1,0 1,1 0,-1 0,0 0,0 0,1-3,1-4,0 1,1-1,0 0,0 1,1-1,0 1,1 0,-1 0,1 1,0-1,11-9,-7 6,-1 1,0-1,-1 0,0-1,10-21,-16 29,-1 1,1-1,0 0,-1 0,1 0,-1 0,0 0,0 0,0 0,-1 0,1 0,-1 0,0 0,1 0,-1 1,0-1,-1 0,1 0,0 1,-1-1,0 1,1-1,-1 1,0 0,0 0,0 0,-1 0,1 0,-3-2,-1 1,1-1,-1 1,0 0,-1 1,1-1,0 1,-9-1,6 0,-8-1</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4.549"/>
    </inkml:context>
    <inkml:brush xml:id="br0">
      <inkml:brushProperty name="width" value="0.025" units="cm"/>
      <inkml:brushProperty name="height" value="0.025" units="cm"/>
      <inkml:brushProperty name="ignorePressure" value="1"/>
    </inkml:brush>
  </inkml:definitions>
  <inkml:trace contextRef="#ctx0" brushRef="#br0">9 4,'0'-3,"0"5,0 9,0 6,0 4,0 1,0 0,0 0,0-1,0 0,0-1,-3-4,-1-1,3 1,2-4</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049"/>
    </inkml:context>
    <inkml:brush xml:id="br0">
      <inkml:brushProperty name="width" value="0.025" units="cm"/>
      <inkml:brushProperty name="height" value="0.025" units="cm"/>
      <inkml:brushProperty name="ignorePressure" value="1"/>
    </inkml:brush>
  </inkml:definitions>
  <inkml:trace contextRef="#ctx0" brushRef="#br0">0 1,'7'0,"5"0,7 0,4 0,1 0,0 0,-1 0,2 0,1 0,2 0,-1 0,2 0,0 0,-3 0,-4 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764"/>
    </inkml:context>
    <inkml:brush xml:id="br0">
      <inkml:brushProperty name="width" value="0.025" units="cm"/>
      <inkml:brushProperty name="height" value="0.025" units="cm"/>
      <inkml:brushProperty name="ignorePressure" value="1"/>
    </inkml:brush>
  </inkml:definitions>
  <inkml:trace contextRef="#ctx0" brushRef="#br0">59 0,'-3'5,"0"0,0 0,1 0,-1 1,1-1,1 1,-1-1,1 1,0 0,0-1,0 1,1 0,0 0,1 9,-3 28,-9 11,-11 70,20-109</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6.253"/>
    </inkml:context>
    <inkml:brush xml:id="br0">
      <inkml:brushProperty name="width" value="0.025" units="cm"/>
      <inkml:brushProperty name="height" value="0.025" units="cm"/>
      <inkml:brushProperty name="ignorePressure" value="1"/>
    </inkml:brush>
  </inkml:definitions>
  <inkml:trace contextRef="#ctx0" brushRef="#br0">1 78,'52'-3,"76"-13,2 0,260-25,-372 4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7.484"/>
    </inkml:context>
    <inkml:brush xml:id="br0">
      <inkml:brushProperty name="width" value="0.025" units="cm"/>
      <inkml:brushProperty name="height" value="0.025" units="cm"/>
      <inkml:brushProperty name="ignorePressure" value="1"/>
    </inkml:brush>
  </inkml:definitions>
  <inkml:trace contextRef="#ctx0" brushRef="#br0">261 35,'1'-1,"0"-1,0 1,0 0,0-1,0 1,1 0,-1 0,0 0,1 0,-1 0,1 0,-1 0,1 0,0 1,-1-1,1 0,0 1,-1 0,1-1,0 1,0 0,-1 0,4 0,21-8,-28 3,-10 3,-12 1,10 4,-1 0,0 0,1 2,0 0,0 0,1 2,-1-1,1 2,1 0,-1 0,-20 20,32-27,1-1,-1 1,1 0,-1-1,1 1,0 0,-1 0,1-1,0 1,0 0,0 0,0 0,-1 0,1-1,0 1,0 0,1 0,-1 0,0-1,0 1,0 0,0 0,1 0,-1-1,0 1,1 0,-1 0,1-1,-1 1,1 0,-1-1,1 1,-1-1,1 1,0 0,-1-1,1 1,0-1,-1 0,2 1,38 22,-23-15,-15-7,0 0,0 0,0 1,0-1,-1 0,1 0,0 1,-1-1,0 1,1 0,-1-1,0 1,0 0,1 0,-1 0,-1 0,1-1,0 2,0-1,-1 0,1 0,-1 0,0 3,0-3,-1 0,0 1,0-1,0 0,0 0,0 0,0 0,0 0,-1 0,1 0,-1 0,0-1,1 1,-1-1,0 1,0-1,-3 2,-5 3,-1 0,1-1,-2 0,1-1,0 0,-1-1,-13 2,-21-2,25-2</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8.112"/>
    </inkml:context>
    <inkml:brush xml:id="br0">
      <inkml:brushProperty name="width" value="0.025" units="cm"/>
      <inkml:brushProperty name="height" value="0.025" units="cm"/>
      <inkml:brushProperty name="ignorePressure" value="1"/>
    </inkml:brush>
  </inkml:definitions>
  <inkml:trace contextRef="#ctx0" brushRef="#br0">78 37,'-1'-1,"1"1,-1 0,1-1,-1 1,1 0,-1-1,1 1,-1 0,1 0,-1-1,1 1,-1 0,1 0,-1 0,0 0,1 0,-1 0,1 0,-1 0,1 0,-1 0,0 0,1 0,-1 0,1 1,-1-1,1 0,-1 0,1 0,-1 1,1-1,-1 0,1 1,-1-1,1 1,-1-1,1 0,0 1,-1 0,-24 14,23-13,-1 0,1 1,-1-1,1 1,0-1,0 1,0 0,0-1,0 1,1 0,-1 0,1 0,0 1,0-1,0 0,0 0,0 1,1-1,0 0,-1 1,1-1,0 0,1 1,-1-1,1 1,-1-1,1 0,0 0,0 0,1 1,-1-1,1 0,-1 0,1-1,3 5,-2-3,0 0,0 0,0-1,1 0,-1 1,1-1,0-1,0 1,0 0,0-1,0 0,1 0,-1 0,1-1,-1 1,1-1,0 0,-1-1,1 1,0-1,0 0,-1 0,1 0,0 0,5-2,-6 1,-1 0,1 0,-1 0,0-1,1 1,-1-1,0 0,0 0,0 0,0 0,-1 0,1-1,-1 1,1-1,-1 1,0-1,0 0,0 0,0 0,0 0,-1-1,0 1,1 0,-1-1,0 1,0-6,0 4,-1 0,0 0,-1 0,1 1,-1-1,0 0,0 0,-1 1,1-1,-1 0,0 1,0 0,-1-1,1 1,-1 0,0 0,0 0,-6-5,3 4,-1-1,0 2,0-1,0 1,0 0,-1 0,1 1,-1 0,0 1,0 0,-10-2,0 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2.645"/>
    </inkml:context>
    <inkml:brush xml:id="br0">
      <inkml:brushProperty name="width" value="0.025" units="cm"/>
      <inkml:brushProperty name="height" value="0.025" units="cm"/>
      <inkml:brushProperty name="ignorePressure" value="1"/>
    </inkml:brush>
  </inkml:definitions>
  <inkml:trace contextRef="#ctx0" brushRef="#br0">18 1,'0'3,"-3"4,-1 5,-1 4,2 1,0-1</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105"/>
    </inkml:context>
    <inkml:brush xml:id="br0">
      <inkml:brushProperty name="width" value="0.025" units="cm"/>
      <inkml:brushProperty name="height" value="0.025" units="cm"/>
      <inkml:brushProperty name="ignorePressure" value="1"/>
    </inkml:brush>
  </inkml:definitions>
  <inkml:trace contextRef="#ctx0" brushRef="#br0">211 0,'-2'1,"-1"0,0 1,1-1,0 1,-1 0,1-1,0 1,0 0,0 0,0 0,0 1,-3 3,-4 5,-24 19,0 0,-58 68,90-97,0 1,0-1,0 0,0 1,0-1,0 1,0-1,0 1,1-1,-1 1,1-1,-1 1,1 0,-1-1,1 1,0 0,0-1,0 1,0 0,0-1,0 1,1 2,0-3,0 1,0-1,0 0,0 0,0 0,1 1,-1-1,0 0,0 0,1-1,-1 1,1 0,-1 0,1-1,-1 1,1-1,0 1,2-1,11 2,0 0,0-1,30-3,-33 2,103 0,44-3,-142 0,-5-1</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891"/>
    </inkml:context>
    <inkml:brush xml:id="br0">
      <inkml:brushProperty name="width" value="0.025" units="cm"/>
      <inkml:brushProperty name="height" value="0.025" units="cm"/>
      <inkml:brushProperty name="ignorePressure" value="1"/>
    </inkml:brush>
  </inkml:definitions>
  <inkml:trace contextRef="#ctx0" brushRef="#br0">32 0,'0'3,"0"5,0 4,0 3,0 2,0 3,0 0,0 0,-3 0,-1 0,-1 0,2 0,0-1,2 1,-3-4,-1-1,1-3</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2.637"/>
    </inkml:context>
    <inkml:brush xml:id="br0">
      <inkml:brushProperty name="width" value="0.025" units="cm"/>
      <inkml:brushProperty name="height" value="0.025" units="cm"/>
      <inkml:brushProperty name="ignorePressure" value="1"/>
    </inkml:brush>
  </inkml:definitions>
  <inkml:trace contextRef="#ctx0" brushRef="#br0">1 0,'3'7,"1"5,1 4,-2 3,-4-2,-2-1,0 0,0 2,0-4</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452"/>
    </inkml:context>
    <inkml:brush xml:id="br0">
      <inkml:brushProperty name="width" value="0.025" units="cm"/>
      <inkml:brushProperty name="height" value="0.025" units="cm"/>
      <inkml:brushProperty name="ignorePressure" value="1"/>
    </inkml:brush>
  </inkml:definitions>
  <inkml:trace contextRef="#ctx0" brushRef="#br0">0 0,'4'0,"4"0,7 0,1 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788"/>
    </inkml:context>
    <inkml:brush xml:id="br0">
      <inkml:brushProperty name="width" value="0.025" units="cm"/>
      <inkml:brushProperty name="height" value="0.025" units="cm"/>
      <inkml:brushProperty name="ignorePressure" value="1"/>
    </inkml:brush>
  </inkml:definitions>
  <inkml:trace contextRef="#ctx0" brushRef="#br0">0 1,'7'0,"8"0,6 0,2 0,0 0,0 0,-1 0,0 0,-2 0,0 0,-4 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6.638"/>
    </inkml:context>
    <inkml:brush xml:id="br0">
      <inkml:brushProperty name="width" value="0.025" units="cm"/>
      <inkml:brushProperty name="height" value="0.025" units="cm"/>
      <inkml:brushProperty name="ignorePressure" value="1"/>
    </inkml:brush>
  </inkml:definitions>
  <inkml:trace contextRef="#ctx0" brushRef="#br0">0 59,'0'-4,"0"-3,4-2,4 2,4 1,3 2,2-2,2 1,1 0,1 2,-5 1</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8.614"/>
    </inkml:context>
    <inkml:brush xml:id="br0">
      <inkml:brushProperty name="width" value="0.025" units="cm"/>
      <inkml:brushProperty name="height" value="0.025" units="cm"/>
      <inkml:brushProperty name="ignorePressure" value="1"/>
    </inkml:brush>
  </inkml:definitions>
  <inkml:trace contextRef="#ctx0" brushRef="#br0">398 0,'-182'165,"62"-61,85-77,28-23,0 1,1 0,-1 0,1 1,0 0,0 0,-6 8,12-13,0-1,-1 1,1 0,-1 0,1-1,0 1,0 0,-1 0,1 0,0 0,0-1,0 1,0 0,0 0,0 0,0 0,0 0,0-1,0 1,1 0,-1 0,0 0,1-1,-1 1,0 0,1 0,-1-1,2 2,23 14,36-1,87-5,-30-3,79 1,-179-8</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9.232"/>
    </inkml:context>
    <inkml:brush xml:id="br0">
      <inkml:brushProperty name="width" value="0.025" units="cm"/>
      <inkml:brushProperty name="height" value="0.025" units="cm"/>
      <inkml:brushProperty name="ignorePressure" value="1"/>
    </inkml:brush>
  </inkml:definitions>
  <inkml:trace contextRef="#ctx0" brushRef="#br0">214 1,'-115'309,"59"-142,43-131,-14 59,25-81</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0.362"/>
    </inkml:context>
    <inkml:brush xml:id="br0">
      <inkml:brushProperty name="width" value="0.025" units="cm"/>
      <inkml:brushProperty name="height" value="0.025" units="cm"/>
      <inkml:brushProperty name="ignorePressure" value="1"/>
    </inkml:brush>
  </inkml:definitions>
  <inkml:trace contextRef="#ctx0" brushRef="#br0">1 235,'277'-20,"-77"2,712-37,199-11,259 31,-1114 25,3 0,263 11,-442-12,-6 1,-57 10</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2.830"/>
    </inkml:context>
    <inkml:brush xml:id="br0">
      <inkml:brushProperty name="width" value="0.025" units="cm"/>
      <inkml:brushProperty name="height" value="0.025" units="cm"/>
      <inkml:brushProperty name="ignorePressure" value="1"/>
    </inkml:brush>
  </inkml:definitions>
  <inkml:trace contextRef="#ctx0" brushRef="#br0">131 1,'-8'2,"1"1,0 0,0 1,0-1,0 2,1-1,0 1,0-1,0 2,-7 7,8-7,0 0,0 0,0 0,1 1,0 0,1 0,-1 0,1 0,1 0,-1 1,1-1,0 1,0 11,1-16,1 1,0-1,0 0,0 0,1 0,-1 0,1 0,-1 0,1 0,0 0,0 0,1 0,-1 0,0 0,1-1,0 1,0 0,0-1,0 0,0 1,0-1,0 0,1 0,-1 0,1 0,0-1,-1 1,1-1,0 0,0 1,0-1,0-1,0 1,0 0,6 0,-3 0,0-1,-1 0,1 0,0 0,0-1,0 0,-1 0,1 0,0-1,-1 1,1-1,-1-1,0 1,8-6,-11 7,0-1,1 1,-1-1,-1 0,1 0,0 0,0 0,-1 0,1 0,-1 0,0 0,1-1,-1 1,0-1,0 1,-1-1,1 1,-1-1,1 1,-1-1,0 0,0 1,0-1,0 1,0-1,0 0,-1 1,1-1,-1 1,0-1,0 1,0-1,0 1,-2-3,1 2,0 0,0 0,-1 0,1 0,-1 0,1 1,-1-1,0 1,0 0,0 0,0 0,-1 0,1 1,-1-1,1 1,-1 0,1 0,-1 0,-5-1,-8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8.773"/>
    </inkml:context>
    <inkml:brush xml:id="br0">
      <inkml:brushProperty name="width" value="0.025" units="cm"/>
      <inkml:brushProperty name="height" value="0.025" units="cm"/>
      <inkml:brushProperty name="ignorePressure" value="1"/>
    </inkml:brush>
  </inkml:definitions>
  <inkml:trace contextRef="#ctx0" brushRef="#br0">35 1,'4'2,"1"1,-1-1,0 0,1-1,0 1,-1-1,7 1,-3 0,0 0,0 0,-1 1,1 0,9 5,-16-7,0 0,0-1,0 1,0 0,0 0,0 0,-1 0,1 0,0 0,-1 0,1 0,0 0,-1 0,1 0,-1 0,0 0,1 0,-1 0,0 1,0-1,0 0,1 0,-1 0,0 1,-1-1,1 0,0 0,0 0,0 1,-1-1,1 0,-1 0,1 0,-1 0,1 0,-1 0,0 0,1 0,-1 0,-1 1,-1 1,0 1,0-1,-1 0,1 0,-1-1,1 1,-1-1,0 1,-6 1,6-2,1 0,-1 0,0 0,1 0,-1 1,1 0,-6 5,48 8,-38-16,1 1,0 0,-1 0,1 0,-1 0,0 0,1 0,-1 0,0 0,0 0,1 1,-1-1,0 0,0 1,-1-1,1 1,0 0,0-1,-1 1,1-1,-1 1,1 0,-1 0,0-1,0 1,1 0,-1-1,0 1,-1 0,1 0,0-1,0 1,-1 0,1-1,-1 1,0 0,1-1,-1 1,0-1,0 1,0-1,0 1,0-1,0 0,-3 2,0 1,-1 0,1 0,-1-1,0 0,0 0,-1 0,1-1,-1 1,1-1,-1-1,0 1,-8 0,-5 0,1-2</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3.681"/>
    </inkml:context>
    <inkml:brush xml:id="br0">
      <inkml:brushProperty name="width" value="0.025" units="cm"/>
      <inkml:brushProperty name="height" value="0.025" units="cm"/>
      <inkml:brushProperty name="ignorePressure" value="1"/>
    </inkml:brush>
  </inkml:definitions>
  <inkml:trace contextRef="#ctx0" brushRef="#br0">8 0,'-3'0,"-2"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4.560"/>
    </inkml:context>
    <inkml:brush xml:id="br0">
      <inkml:brushProperty name="width" value="0.025" units="cm"/>
      <inkml:brushProperty name="height" value="0.025" units="cm"/>
      <inkml:brushProperty name="ignorePressure" value="1"/>
    </inkml:brush>
  </inkml:definitions>
  <inkml:trace contextRef="#ctx0" brushRef="#br0">131 2,'0'-1,"1"1,-1 0,0 0,0 0,1 0,-1 0,0 0,1 0,-1 0,0 0,1 0,-1 0,0 0,1 0,-1 0,0 0,0 0,1 0,-1 0,0 0,1 0,-1 0,0 1,0-1,1 0,-1 0,0 0,0 0,1 1,-1-1,0 0,0 0,0 1,1-1,-1 0,0 0,0 1,0-1,0 0,0 0,0 1,1-1,-1 0,0 1,0-1,0 1,-12 12,-22 10,27-19,-1 0,1 1,0-1,1 2,-1-1,1 1,-7 7,13-11,-1-1,0 0,0 1,1-1,-1 0,1 1,-1-1,1 1,-1-1,1 0,0 1,0-1,0 1,0-1,0 1,0-1,0 1,1 2,0-2,0 1,0-1,0 1,1-1,0 0,-1 0,1 0,0 1,0-2,0 1,0 0,0 0,4 2,17 10,25 18,-45-31,-1 1,0 0,0 0,1 0,-1 0,-1 1,1-1,0 1,-1-1,1 1,-1-1,1 1,-1 0,1 4,-2-5,0 0,-1 0,1 0,-1 0,1 0,-1 0,0 0,1-1,-1 1,0 0,0 0,0-1,-1 1,1 0,0-1,-1 1,1-1,-1 0,1 1,-1-1,0 0,1 0,-1 0,0 0,0 0,0-1,0 1,0 0,0-1,0 0,-2 1,-9 2,0 0,-1 0,-15 0,6-2,2-1</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5.377"/>
    </inkml:context>
    <inkml:brush xml:id="br0">
      <inkml:brushProperty name="width" value="0.025" units="cm"/>
      <inkml:brushProperty name="height" value="0.025" units="cm"/>
      <inkml:brushProperty name="ignorePressure" value="1"/>
    </inkml:brush>
  </inkml:definitions>
  <inkml:trace contextRef="#ctx0" brushRef="#br0">0 21,'10'0,"7"0,3 0,-1-3,-1-1,0-1,0 2,1 0,3 2,1 0,-3 1</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6.829"/>
    </inkml:context>
    <inkml:brush xml:id="br0">
      <inkml:brushProperty name="width" value="0.025" units="cm"/>
      <inkml:brushProperty name="height" value="0.025" units="cm"/>
      <inkml:brushProperty name="ignorePressure" value="1"/>
    </inkml:brush>
  </inkml:definitions>
  <inkml:trace contextRef="#ctx0" brushRef="#br0">78 1,'-3'6,"-2"6,1 5,1 1,-3 2,0 1,1 0,1-1,-2-3,1-1,0-1,2 1,-3 1,0 1,2 1,0 0,2-3</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244"/>
    </inkml:context>
    <inkml:brush xml:id="br0">
      <inkml:brushProperty name="width" value="0.025" units="cm"/>
      <inkml:brushProperty name="height" value="0.025" units="cm"/>
      <inkml:brushProperty name="ignorePressure" value="1"/>
    </inkml:brush>
  </inkml:definitions>
  <inkml:trace contextRef="#ctx0" brushRef="#br0">1 1,'6'0,"6"0,5 0,1 0,2 0,1 0,-1 0,1 0,-1 0,0 0,0 0,0 0,-4 0</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987"/>
    </inkml:context>
    <inkml:brush xml:id="br0">
      <inkml:brushProperty name="width" value="0.025" units="cm"/>
      <inkml:brushProperty name="height" value="0.025" units="cm"/>
      <inkml:brushProperty name="ignorePressure" value="1"/>
    </inkml:brush>
  </inkml:definitions>
  <inkml:trace contextRef="#ctx0" brushRef="#br0">58 29,'-6'7,"0"0,1 0,-1 1,1 0,1 0,0 0,0 0,0 1,1-1,1 1,-1 0,2 0,-1 0,1 1,0 10,1-16,0 0,0 0,0 0,1 0,-1 0,1 0,0 0,0 0,1-1,-1 1,1 0,0-1,0 1,0-1,0 0,1 0,-1 1,1-2,0 1,-1 0,2 0,-1-1,0 0,0 0,1 1,-1-2,1 1,0 0,-1-1,1 0,0 0,0 0,0 0,0-1,0 1,4-1,-2 0,0 1,1-1,-1-1,0 1,0-1,1 0,-1 0,0-1,0 0,0 0,-1-1,1 1,0-1,-1 0,7-6,-8 6,0-1,-1 0,1 0,-1 0,0-1,0 1,-1-1,1 1,-1-1,0 0,0 0,-1 0,0 0,0-1,0 1,0 0,-1 0,0-8,1 6,-1 0,-1 0,0 0,0 1,0-1,0 0,-1 0,0 1,-1-1,0 1,0-1,0 1,-1 0,1 0,-1 1,-1-1,1 1,-1 0,-11-9,1 3</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8.325"/>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9.107"/>
    </inkml:context>
    <inkml:brush xml:id="br0">
      <inkml:brushProperty name="width" value="0.025" units="cm"/>
      <inkml:brushProperty name="height" value="0.025" units="cm"/>
      <inkml:brushProperty name="ignorePressure" value="1"/>
    </inkml:brush>
  </inkml:definitions>
  <inkml:trace contextRef="#ctx0" brushRef="#br0">26 29,'2'-3,"0"1,1-1,0 1,-1 0,1 0,0 0,0 0,0 1,0-1,0 1,0-1,1 1,-1 0,0 0,1 1,-1-1,1 1,-1 0,0 0,1 0,-1 0,1 0,-1 1,1-1,-1 1,0 0,1 0,-1 1,0-1,0 0,0 1,0 0,0 0,0 0,-1 0,1 0,0 1,-1-1,0 1,0-1,0 1,0 0,0 0,0 0,-1 0,1 0,-1 1,0-1,0 0,0 1,0-1,-1 0,0 1,1-1,-1 1,0-1,-1 1,1-1,0 0,-1 1,0-1,0 0,0 1,0-1,-3 4,-1 2,0 0,-1 0,0-1,-1 0,1 0,-2 0,1-1,-1 0,0 0,-10 5,7-4,0 1,0 0,1 0,-14 18,24-27,0 1,-1-1,1 1,-1 0,1-1,0 1,-1-1,1 1,0 0,0-1,-1 1,1 0,0-1,0 1,0 0,0-1,0 1,0 0,0 0,0-1,0 1,0 0,1-1,-1 1,0 0,0-1,1 1,-1 0,0-1,1 2,21 11,32-1,-41-11,1-1,-1-1,0 0,1 0,13-5,38-3,-48 9</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153"/>
    </inkml:context>
    <inkml:brush xml:id="br0">
      <inkml:brushProperty name="width" value="0.025" units="cm"/>
      <inkml:brushProperty name="height" value="0.025" units="cm"/>
      <inkml:brushProperty name="ignorePressure" value="1"/>
    </inkml:brush>
  </inkml:definitions>
  <inkml:trace contextRef="#ctx0" brushRef="#br0">250 1,'22'8,"-8"0,-37 3,-26 4,32-12,0 2,1 0,0 1,0 0,0 2,1 0,0 0,-27 22,41-30,0 1,1 0,-1-1,1 1,-1 0,1 0,-1-1,1 1,0 0,-1 0,1 0,0 0,0 0,-1-1,1 1,0 0,0 0,0 0,0 0,0 0,0 0,1 0,-1 0,0 0,0-1,1 1,-1 0,0 0,1 0,-1 0,1-1,-1 1,1 0,-1 0,1-1,0 1,-1 0,1-1,0 1,-1-1,1 1,0-1,0 1,0-1,-1 0,1 1,1-1,55 27,-38-20,-15-5,0 0,0 1,0-1,0 1,-1 0,1 0,-1 0,0 0,0 1,0-1,0 1,2 4,-4-7,-1 1,1-1,-1 1,0 0,0-1,0 1,0 0,0-1,0 1,0 0,0-1,0 1,-1 0,1-1,-1 1,0-1,1 1,-1-1,0 1,0-1,0 1,0-1,0 0,0 0,0 1,0-1,0 0,-1 0,1 0,0 0,-1 0,1-1,-1 1,1 0,-1-1,-1 1,-8 4,1 0,-1-1,0 0,-1-1,1 0,0-1,-1-1,0 1,-20-2,15 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660"/>
    </inkml:context>
    <inkml:brush xml:id="br0">
      <inkml:brushProperty name="width" value="0.025" units="cm"/>
      <inkml:brushProperty name="height" value="0.025" units="cm"/>
      <inkml:brushProperty name="ignorePressure" value="1"/>
    </inkml:brush>
  </inkml:definitions>
  <inkml:trace contextRef="#ctx0" brushRef="#br0">56 1,'0'3,"-3"5,-2 4,1 3,1 2,1 2,-3-2,0-1,0 0,2 1,0 0,-1 1,-1 1,0 0,2-3</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9.737"/>
    </inkml:context>
    <inkml:brush xml:id="br0">
      <inkml:brushProperty name="width" value="0.025" units="cm"/>
      <inkml:brushProperty name="height" value="0.025" units="cm"/>
      <inkml:brushProperty name="ignorePressure" value="1"/>
    </inkml:brush>
  </inkml:definitions>
  <inkml:trace contextRef="#ctx0" brushRef="#br0">56 5,'-4'2,"0"1,0 0,0 0,0 0,1 1,0-1,-1 1,1 0,0-1,1 2,-1-1,1 0,0 0,0 1,0-1,1 1,-2 7,2-10,1 0,-1 0,1 0,0 0,0 1,0-1,0 0,0 0,1 0,-1 0,1 0,-1 0,1 0,0 0,-1 0,1 0,0 0,0 0,1 0,-1-1,0 1,1 0,-1-1,1 1,-1-1,1 0,0 1,-1-1,1 0,0 0,0 0,0 0,0-1,0 1,0 0,0-1,0 1,0-1,0 0,0 0,3 0,0 0,0 0,1-1,-1 0,0 0,0 0,0-1,0 1,0-1,0-1,0 1,-1-1,1 1,-1-1,1-1,4-4,-6 6,-1 1,0-1,0 0,0 0,0 0,0 0,-1-1,1 1,-1 0,1-1,-1 1,0-1,0 1,0-1,0 0,0 1,-1-1,1 0,-1 1,0-1,0 0,0 0,0 0,0 1,-1-1,1 0,-1 0,1 1,-1-1,-2-3,0 3,1 1,-1-1,0 1,-1 0,1 0,0 0,-1 0,1 0,-1 1,1 0,-1 0,0 0,0 0,1 0,-1 1,0 0,0-1,0 1,0 1,-3 0,6-1,-16 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990"/>
    </inkml:context>
    <inkml:brush xml:id="br0">
      <inkml:brushProperty name="width" value="0.025" units="cm"/>
      <inkml:brushProperty name="height" value="0.025" units="cm"/>
      <inkml:brushProperty name="ignorePressure" value="1"/>
    </inkml:brush>
  </inkml:definitions>
  <inkml:trace contextRef="#ctx0" brushRef="#br0">0 36,'10'0,"7"0,3 0,2 0,0-3,1-1,-2-1,0 2,-1 0,0 2,0 0,-1 1,0 0,0 0,1-3,-1-2,0 1,-2 1</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8.852"/>
    </inkml:context>
    <inkml:brush xml:id="br0">
      <inkml:brushProperty name="width" value="0.025" units="cm"/>
      <inkml:brushProperty name="height" value="0.025" units="cm"/>
      <inkml:brushProperty name="ignorePressure" value="1"/>
    </inkml:brush>
  </inkml:definitions>
  <inkml:trace contextRef="#ctx0" brushRef="#br0">77 23,'-3'0,"0"0,0 0,0 0,0 0,0 1,0-1,0 1,0 0,0 0,0 0,1 0,-1 1,0-1,1 1,-1-1,1 1,-1 0,1 0,0 0,0 0,0 0,0 1,0-1,1 1,-4 4,4-2,-1 0,1-1,0 1,0 0,0 0,1 0,0 0,0 0,0 0,0 0,1-1,0 1,0 0,3 8,-3-8,1 0,0 0,1-1,-1 1,1-1,0 1,0-1,0 0,0 0,1 0,0-1,-1 1,1-1,6 4,-7-5,0-1,0 0,1 1,-1-1,0 0,1-1,-1 1,0-1,1 1,-1-1,1 0,-1 0,1 0,-1-1,0 1,1-1,-1 0,0 0,1 0,-1 0,0-1,0 1,5-4,-4 2,-1 1,1 0,-1-1,0 1,0-1,0 0,-1 0,1 0,0 0,-1-1,0 1,0-1,0 0,0 1,-1-1,0 0,1 0,-1 0,-1 0,1 0,0 0,-1 0,0 0,0 0,0 0,-1 0,1 0,-1 0,0 0,0 0,-3-7,2 5,-1 1,1 0,-1 0,0 0,0 1,0-1,-1 1,0-1,0 1,0 1,0-1,-1 0,1 1,-1 0,0 0,0 0,0 1,0 0,-1 0,1 0,-1 0,-8-1,-3 2</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201"/>
    </inkml:context>
    <inkml:brush xml:id="br0">
      <inkml:brushProperty name="width" value="0.025" units="cm"/>
      <inkml:brushProperty name="height" value="0.025" units="cm"/>
      <inkml:brushProperty name="ignorePressure" value="1"/>
    </inkml:brush>
  </inkml:definitions>
  <inkml:trace contextRef="#ctx0" brushRef="#br0">1 0,'0'4,"0"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729"/>
    </inkml:context>
    <inkml:brush xml:id="br0">
      <inkml:brushProperty name="width" value="0.025" units="cm"/>
      <inkml:brushProperty name="height" value="0.025" units="cm"/>
      <inkml:brushProperty name="ignorePressure" value="1"/>
    </inkml:brush>
  </inkml:definitions>
  <inkml:trace contextRef="#ctx0" brushRef="#br0">21 0,'-3'7,"-2"5,1 3,0 4,2 1,0 0,2 1,-1 0,1-1,0 0,1 0,-1-1,0 1,0-4</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0.449"/>
    </inkml:context>
    <inkml:brush xml:id="br0">
      <inkml:brushProperty name="width" value="0.025" units="cm"/>
      <inkml:brushProperty name="height" value="0.025" units="cm"/>
      <inkml:brushProperty name="ignorePressure" value="1"/>
    </inkml:brush>
  </inkml:definitions>
  <inkml:trace contextRef="#ctx0" brushRef="#br0">7 1,'3'0,"0"0,0 0,0 0,-1 0,1 0,0 1,0-1,0 1,-1 0,1 0,0 0,-1 0,1 0,-1 0,1 1,-1 0,1-1,-1 1,0 0,0 0,0 0,3 4,-4-3,0-1,0 1,-1 1,1-1,-1 0,1 0,-1 0,0 0,0 0,0 0,-1 0,1 0,-1 0,1 1,-1-2,0 1,0 0,-1 0,1 0,-3 4,-22 29,22-32,0 1,0 0,1 0,-1 0,1 0,0 0,0 1,1-1,0 1,-2 6,4-11,0 0,1 0,-1 0,0 1,1-1,-1 0,1 0,-1 0,1 0,0 0,-1 0,1 0,0 0,0 0,0-1,-1 1,1 0,0 0,0-1,0 1,0 0,0-1,0 1,1-1,-1 0,0 1,0-1,0 0,0 0,1 1,-1-1,0 0,0 0,0 0,0 0,2-1,45-2,33-14,-63 15</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182"/>
    </inkml:context>
    <inkml:brush xml:id="br0">
      <inkml:brushProperty name="width" value="0.025" units="cm"/>
      <inkml:brushProperty name="height" value="0.025" units="cm"/>
      <inkml:brushProperty name="ignorePressure" value="1"/>
    </inkml:brush>
  </inkml:definitions>
  <inkml:trace contextRef="#ctx0" brushRef="#br0">121 7,'5'-1,"-10"-2,-17 0,19 4,-49 10,49-11,0 1,0 0,0 0,0 0,0 1,0-1,0 1,0-1,1 1,-1 0,1 0,-1 0,-2 4,5-5,0 0,-1 0,1 0,0 0,0 0,0 0,0 0,0 0,0 0,0 0,0 0,0 0,0 0,1 0,-1 0,0 0,1 0,-1 0,1 0,-1 0,1 0,-1 0,1-1,0 1,-1 0,1 0,0-1,0 1,0 0,0-1,-1 1,3 0,33 20,-31-18,10 4,-5-2,0 0,0 0,0 1,-1 0,15 13,-22-18,-1 1,1 0,0 0,-1 0,0 1,1-1,-1 0,0 0,0 1,0-1,0 0,-1 1,1-1,-1 1,1-1,-1 1,0-1,0 1,0 0,0-1,-1 1,1-1,-1 1,1-1,-1 0,0 1,0-1,0 1,0-1,0 0,-2 2,-1 2,0 0,0-1,0 0,-1 0,0 0,0 0,-1-1,1 0,-1 0,1 0,-13 5,3-2</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630"/>
    </inkml:context>
    <inkml:brush xml:id="br0">
      <inkml:brushProperty name="width" value="0.025" units="cm"/>
      <inkml:brushProperty name="height" value="0.025" units="cm"/>
      <inkml:brushProperty name="ignorePressure" value="1"/>
    </inkml:brush>
  </inkml:definitions>
  <inkml:trace contextRef="#ctx0" brushRef="#br0">21 0,'0'7,"0"5,-4 4,0 2,0 2,0 1,2 0,0-1,1 0,1 0,0 0,0 0,0-1,1-3</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945"/>
    </inkml:context>
    <inkml:brush xml:id="br0">
      <inkml:brushProperty name="width" value="0.025" units="cm"/>
      <inkml:brushProperty name="height" value="0.025" units="cm"/>
      <inkml:brushProperty name="ignorePressure" value="1"/>
    </inkml:brush>
  </inkml:definitions>
  <inkml:trace contextRef="#ctx0" brushRef="#br0">0 39,'7'0,"5"0,4-3,3-2,1 1,0 0,1 2,0-3,-1 0,0 0,0 2,-4 0</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273"/>
    </inkml:context>
    <inkml:brush xml:id="br0">
      <inkml:brushProperty name="width" value="0.025" units="cm"/>
      <inkml:brushProperty name="height" value="0.025" units="cm"/>
      <inkml:brushProperty name="ignorePressure" value="1"/>
    </inkml:brush>
  </inkml:definitions>
  <inkml:trace contextRef="#ctx0" brushRef="#br0">53 37,'-2'1,"-1"-1,1 0,-1 1,1 0,0-1,-1 1,1 0,0 0,0 1,0-1,0 0,0 1,0-1,0 1,0 0,0-1,1 1,-1 0,1 0,-1 0,1 0,0 0,0 1,0-1,0 0,0 0,0 1,1-1,-1 1,1-1,0 0,0 1,0 3,-1 1,0-1,1 1,1-1,-1 1,1-1,0 1,0-1,1 0,-1 1,2-1,4 11,-3-13,0 1,0-1,1 0,-1 0,1 0,0-1,0 0,0 0,1 0,-1 0,1-1,0 0,-1 0,1 0,0-1,0 0,0 0,0-1,0 1,0-1,9-1,-9 1,0-1,0 1,-1-1,1 0,0-1,-1 1,1-1,-1 0,1 0,-1-1,0 0,0 0,0 0,-1 0,1-1,-1 1,1-1,-1-1,0 1,-1 0,1-1,4-7,-7 8,0 0,-1 0,1 0,0 0,-1 0,0 0,0 0,0 0,-1 1,1-1,-1 0,0 0,0 0,0 0,-1 1,1-1,-1 0,0 1,0 0,0-1,0 1,-1 0,1 0,-1 0,0 0,-4-3,-3-2,1-1,-1 2,-1 0,1 0,-1 0,0 2,-14-6,7 5</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609"/>
    </inkml:context>
    <inkml:brush xml:id="br0">
      <inkml:brushProperty name="width" value="0.025" units="cm"/>
      <inkml:brushProperty name="height" value="0.025" units="cm"/>
      <inkml:brushProperty name="ignorePressure" value="1"/>
    </inkml:brush>
  </inkml:definitions>
  <inkml:trace contextRef="#ctx0" brushRef="#br0">0 1,'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0.938"/>
    </inkml:context>
    <inkml:brush xml:id="br0">
      <inkml:brushProperty name="width" value="0.025" units="cm"/>
      <inkml:brushProperty name="height" value="0.025" units="cm"/>
      <inkml:brushProperty name="ignorePressure" value="1"/>
    </inkml:brush>
  </inkml:definitions>
  <inkml:trace contextRef="#ctx0" brushRef="#br0">102 0,'-46'61,"0"1,45-62,1 0,-1 1,0-1,1 1,-1-1,1 1,-1-1,1 1,-1-1,1 1,-1 0,1-1,0 1,-1 0,1-1,0 1,0 0,-1 0,1-1,0 1,0 0,0-1,0 1,0 0,0 0,0-1,0 1,0 0,0 0,0-1,1 1,-1 0,1 1,0-1,1 0,-1 0,1 0,0 0,-1 0,1 0,0-1,0 1,0-1,-1 1,1-1,0 1,2-1,76 1,-68-2,48 0,-43 1</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1.477"/>
    </inkml:context>
    <inkml:brush xml:id="br0">
      <inkml:brushProperty name="width" value="0.025" units="cm"/>
      <inkml:brushProperty name="height" value="0.025" units="cm"/>
      <inkml:brushProperty name="ignorePressure" value="1"/>
    </inkml:brush>
  </inkml:definitions>
  <inkml:trace contextRef="#ctx0" brushRef="#br0">54 0,'-5'7,"-1"-1,1 1,0-1,1 1,0 1,0-1,0 1,1-1,0 1,1 0,0 0,0 1,-1 10,2-13,1-1,-1 1,1-1,0 1,1-1,-1 1,1-1,0 0,0 1,1-1,0 0,0 0,0 1,0-2,1 1,0 0,0 0,0-1,1 0,-1 1,6 3,-7-6,0 0,1-1,0 1,-1-1,1 1,0-1,0 0,-1 0,1 0,0 0,0-1,0 1,0-1,0 0,0 0,0 0,1 0,-1 0,0-1,0 1,0-1,-1 0,1 0,0 0,0 0,0 0,-1-1,1 1,0-1,-1 0,3-2,-1 1,-1 0,0 0,0-1,0 1,-1-1,1 1,-1-1,0 0,0 0,0 0,0 0,-1 0,0 0,0-1,0 1,0 0,0-1,-1 1,0-1,0 1,-1-5,-1 0,0 1,-1 0,0 0,-1 0,0 1,0-1,0 1,-1 0,0 0,-1 1,1-1,-1 1,-1 0,1 1,-1-1,0 1,0 1,-11-6,6 5</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2.124"/>
    </inkml:context>
    <inkml:brush xml:id="br0">
      <inkml:brushProperty name="width" value="0.025" units="cm"/>
      <inkml:brushProperty name="height" value="0.025" units="cm"/>
      <inkml:brushProperty name="ignorePressure" value="1"/>
    </inkml:brush>
  </inkml:definitions>
  <inkml:trace contextRef="#ctx0" brushRef="#br0">16 2,'2'0,"0"-1,0 1,-1 0,1 0,0 0,0 0,0 0,-1 0,1 1,0-1,0 0,-1 1,1 0,0-1,0 1,-1 0,1 0,-1 0,1 0,-1 0,1 0,-1 0,0 1,0-1,1 0,-1 1,0-1,0 1,0-1,-1 1,1 0,0-1,0 1,-1 0,1-1,-1 1,0 0,1 0,-1 0,0-1,0 1,0 0,0 0,-1 0,1-1,0 1,-1 0,1 0,-1-1,-1 4,-3 8,0-1,0 0,-2-1,1 1,-14 16,6-3,14-24,0-1,0 1,-1 0,1-1,0 1,0 0,0-1,0 1,0 0,0-1,0 1,1 0,-1-1,0 1,0-1,0 1,1 0,-1-1,0 1,1-1,-1 1,1 0,2 1,-1-1,1 0,0 1,0-1,-1 0,1-1,0 1,0 0,0-1,0 0,0 0,0 0,6 0,9 0,0-1,0-1,29-6,-29 4</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4.702"/>
    </inkml:context>
    <inkml:brush xml:id="br0">
      <inkml:brushProperty name="width" value="0.025" units="cm"/>
      <inkml:brushProperty name="height" value="0.025" units="cm"/>
      <inkml:brushProperty name="ignorePressure" value="1"/>
    </inkml:brush>
  </inkml:definitions>
  <inkml:trace contextRef="#ctx0" brushRef="#br0">1 1,'6'0,"7"0,3 0,2 0,2 0,1 0,0 0,-1 0,0 0,4 0,0 0,-1 0,-3 0</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5.898"/>
    </inkml:context>
    <inkml:brush xml:id="br0">
      <inkml:brushProperty name="width" value="0.025" units="cm"/>
      <inkml:brushProperty name="height" value="0.025" units="cm"/>
      <inkml:brushProperty name="ignorePressure" value="1"/>
    </inkml:brush>
  </inkml:definitions>
  <inkml:trace contextRef="#ctx0" brushRef="#br0">1 15,'10'0,"9"-3,6-1,1 0,-4 1</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7.881"/>
    </inkml:context>
    <inkml:brush xml:id="br0">
      <inkml:brushProperty name="width" value="0.025" units="cm"/>
      <inkml:brushProperty name="height" value="0.025" units="cm"/>
      <inkml:brushProperty name="ignorePressure" value="1"/>
    </inkml:brush>
  </inkml:definitions>
  <inkml:trace contextRef="#ctx0" brushRef="#br0">0 0,'4'0,"3"0,5 0,3 0,3 0,1 0,1 0,0 0,0 0,0 0,0 0,0 0,0 0,-1 0,1 0,-4 0</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19:14.924"/>
    </inkml:context>
    <inkml:brush xml:id="br0">
      <inkml:brushProperty name="width" value="0.05" units="cm"/>
      <inkml:brushProperty name="height" value="0.05" units="cm"/>
      <inkml:brushProperty name="ignorePressure" value="1"/>
    </inkml:brush>
  </inkml:definitions>
  <inkml:trace contextRef="#ctx0" brushRef="#br0">176 1,'-27'664,"-25"561,43-895,0-9,-29 207,18-341,11-115,-2 37,10-94</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19:15.923"/>
    </inkml:context>
    <inkml:brush xml:id="br0">
      <inkml:brushProperty name="width" value="0.05" units="cm"/>
      <inkml:brushProperty name="height" value="0.05" units="cm"/>
      <inkml:brushProperty name="ignorePressure" value="1"/>
    </inkml:brush>
  </inkml:definitions>
  <inkml:trace contextRef="#ctx0" brushRef="#br0">0 82,'91'-17,"507"-6,565-12,-793 28,903 13,-758 30,55 3,-490-37,-42-3,-1 3,58 8,-57-4,-22-4</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0:10.475"/>
    </inkml:context>
    <inkml:brush xml:id="br0">
      <inkml:brushProperty name="width" value="0.05" units="cm"/>
      <inkml:brushProperty name="height" value="0.05" units="cm"/>
      <inkml:brushProperty name="ignorePressure" value="1"/>
    </inkml:brush>
  </inkml:definitions>
  <inkml:trace contextRef="#ctx0" brushRef="#br0">0 2332,'5'-1,"0"0,0 0,0 0,-1 0,1-1,-1 0,1 0,-1 0,1-1,-1 1,0-1,0 0,-1 0,1 0,0-1,-1 1,0-1,0 0,0 0,3-6,3-4,-1 0,-1-1,0 0,8-27,1-11,125-377,-95 300,-25 66,43-91,6-12,-19 39,-1-8,-18 44,18-64,-38 109,3 0,1 1,34-64,4 1,19-33,-65 128,1 0,1 1,1 0,0 1,0 0,1 1,19-14,-21 18,0 1,0 1,0 0,1 0,0 1,0 1,0 0,0 0,1 1,-1 0,1 1,-1 0,1 1,-1 1,1 0,-1 0,1 1,-1 0,13 5,7 4,0 1,-1 2,0 1,-1 2,36 26,-56-37,135 101,-123-89,0 2,-1 1,0 0,19 30,59 104,-27-38,-15-25,61 131,-96-177,3-1,2-1,35 46,104 113,-106-142,116 96,8 5,-162-140,1-1,1-1,1-1,0-1,1-1,1-1,1-1,0-2,1 0,0-2,1-1,31 6,14 1,-46-9,1-1,1-2,-1-1,33 1,0-5,-15 1,0-1,1-3,-1-2,-1-1,73-21,-63 7,-1-3,-2-2,91-57,31-34,-168 112,0 0,0 1,1 0,-1 1,0 0,1 0,0 0,0 1,-1 0,1 1,0-1,0 2,0-1,-1 1,12 2,15 5,0 1,39 16,-22-7,-7-1,48 25,2 1,67 16,-136-52,2 0,-1-2,1-1,34 1,58 6,-59-3,-36-5,1 2,-1 0,0 1,-1 2,1 1,-1 0,30 19,9 10,68 55,-127-91,8 5,1 0,-1-1,2 0,-1-1,0-1,1 0,0 0,0-1,0-1,1 0,-1-1,0-1,15 0,21-4,0-1,54-13,-76 12</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8.852"/>
    </inkml:context>
    <inkml:brush xml:id="br0">
      <inkml:brushProperty name="width" value="0.05" units="cm"/>
      <inkml:brushProperty name="height" value="0.05" units="cm"/>
      <inkml:brushProperty name="ignorePressure" value="1"/>
    </inkml:brush>
  </inkml:definitions>
  <inkml:trace contextRef="#ctx0" brushRef="#br0">1 627,'15'-41,"-9"28,12-41,-2-2,-2 0,11-94,-10 55,-27 167,10-40,0-4,3 49,-1-71,1-1,0 1,0 0,0-1,0 1,1-1,0 1,0-1,1 0,0 0,0 0,0 0,0 0,7 6,-8-9,1 0,0 0,0-1,0 1,0-1,0 1,0-1,0 0,1-1,-1 1,0-1,0 1,1-1,-1 0,0 0,1 0,-1 0,0-1,0 0,1 1,-1-1,0 0,0-1,0 1,0 0,0-1,0 0,0 0,-1 0,5-3,2-2,0 0,-1-1,0 0,0 0,-1 0,0-1,11-19,10-36,-1-1,18-76,-33 104,-8 19,-4 14,0 1,1 0,-1 0,1 0,0-1,0 1,1 0,-1 0,0 0,1 1,0-1,2-3,-3 6,-1 1,1-1,0 1,-1-1,1 1,-1 0,1-1,0 1,-1 0,0 0,1-1,-1 1,1 0,-1 0,0 0,0-1,1 1,-1 0,0 0,0 0,0 0,0-1,0 1,0 0,-1 2,4 27,-2 14,-1-17,0 0,2-1,1 1,1-1,11 38,-13-58,1 1,0-1,-1-1,2 1,-1 0,1-1,0 1,0-1,0 0,1-1,0 1,0-1,0 0,0 0,0 0,1-1,0 0,0 0,0 0,0-1,0 0,1 0,-1-1,0 1,1-1,-1-1,12 1,1-1,-2 0</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9.629"/>
    </inkml:context>
    <inkml:brush xml:id="br0">
      <inkml:brushProperty name="width" value="0.05" units="cm"/>
      <inkml:brushProperty name="height" value="0.05" units="cm"/>
      <inkml:brushProperty name="ignorePressure" value="1"/>
    </inkml:brush>
  </inkml:definitions>
  <inkml:trace contextRef="#ctx0" brushRef="#br0">0 60,'7'-3,"5"-5,4 0,3 0,1 2,1-1,3 0,1 2,-1 1,-1 2,0 1,-2 0,-5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B8FF0985-4DD9-4444-90FD-F3D97D2F778D}" type="datetimeFigureOut">
              <a:rPr lang="en-US" smtClean="0"/>
              <a:t>2/17/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156871FE-075C-493B-85AE-CB41313C4FA9}" type="slidenum">
              <a:rPr lang="en-US" smtClean="0"/>
              <a:t>‹#›</a:t>
            </a:fld>
            <a:endParaRPr lang="en-US"/>
          </a:p>
        </p:txBody>
      </p:sp>
      <p:sp>
        <p:nvSpPr>
          <p:cNvPr id="8" name="fl" descr="                              Dell - Internal Use - Confidential&#10;"/>
          <p:cNvSpPr txBox="1"/>
          <p:nvPr/>
        </p:nvSpPr>
        <p:spPr>
          <a:xfrm>
            <a:off x="0" y="8737600"/>
            <a:ext cx="7010400" cy="592470"/>
          </a:xfrm>
          <a:prstGeom prst="rect">
            <a:avLst/>
          </a:prstGeom>
          <a:noFill/>
        </p:spPr>
        <p:txBody>
          <a:bodyPr vert="horz" rtlCol="0">
            <a:spAutoFit/>
          </a:bodyPr>
          <a:lstStyle/>
          <a:p>
            <a:pPr algn="l"/>
            <a:r>
              <a:rPr lang="en-US" sz="850" b="1" i="0" u="none" baseline="0">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87437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036790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76086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hypothesis is an idea that can be tested</a:t>
            </a:r>
          </a:p>
        </p:txBody>
      </p:sp>
      <p:sp>
        <p:nvSpPr>
          <p:cNvPr id="4" name="Slide Number Placeholder 3"/>
          <p:cNvSpPr>
            <a:spLocks noGrp="1"/>
          </p:cNvSpPr>
          <p:nvPr>
            <p:ph type="sldNum" sz="quarter" idx="5"/>
          </p:nvPr>
        </p:nvSpPr>
        <p:spPr/>
        <p:txBody>
          <a:bodyPr/>
          <a:lstStyle/>
          <a:p>
            <a:fld id="{156871FE-075C-493B-85AE-CB41313C4FA9}" type="slidenum">
              <a:rPr lang="en-US" smtClean="0"/>
              <a:t>210</a:t>
            </a:fld>
            <a:endParaRPr lang="en-US"/>
          </a:p>
        </p:txBody>
      </p:sp>
    </p:spTree>
    <p:extLst>
      <p:ext uri="{BB962C8B-B14F-4D97-AF65-F5344CB8AC3E}">
        <p14:creationId xmlns:p14="http://schemas.microsoft.com/office/powerpoint/2010/main" val="2611229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74116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55</a:t>
            </a:fld>
            <a:endParaRPr lang="en-US"/>
          </a:p>
        </p:txBody>
      </p:sp>
    </p:spTree>
    <p:extLst>
      <p:ext uri="{BB962C8B-B14F-4D97-AF65-F5344CB8AC3E}">
        <p14:creationId xmlns:p14="http://schemas.microsoft.com/office/powerpoint/2010/main" val="6234776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buFont typeface="Arial" panose="020B0604020202020204" pitchFamily="34" charset="0"/>
              <a:buChar char="•"/>
            </a:pPr>
            <a:r>
              <a:rPr lang="en-US" b="1" i="0" dirty="0">
                <a:solidFill>
                  <a:schemeClr val="bg1"/>
                </a:solidFill>
                <a:effectLst/>
                <a:latin typeface="roboto" panose="02000000000000000000" pitchFamily="2" charset="0"/>
              </a:rPr>
              <a:t>Performance Management </a:t>
            </a:r>
            <a:r>
              <a:rPr lang="en-US" b="0" i="0" dirty="0">
                <a:solidFill>
                  <a:schemeClr val="bg1"/>
                </a:solidFill>
                <a:effectLst/>
                <a:latin typeface="roboto" panose="02000000000000000000" pitchFamily="2" charset="0"/>
              </a:rPr>
              <a:t>– </a:t>
            </a:r>
            <a:r>
              <a:rPr lang="en-US" b="0" i="0" dirty="0">
                <a:solidFill>
                  <a:schemeClr val="tx2">
                    <a:lumMod val="50000"/>
                  </a:schemeClr>
                </a:solidFill>
                <a:effectLst/>
                <a:latin typeface="roboto" panose="02000000000000000000" pitchFamily="2" charset="0"/>
              </a:rPr>
              <a:t>As mentioned earlier, the importance of statistics in management is significant; with the help of statistics, a manager can analyze the performance or the productivity of employees like the units produced, or the task completed. The manager can use the data in sync with statistical techniques to improve the productivity of the workforce and multiply the production.</a:t>
            </a:r>
          </a:p>
          <a:p>
            <a:pPr algn="just">
              <a:buFont typeface="Arial" panose="020B0604020202020204" pitchFamily="34" charset="0"/>
              <a:buChar char="•"/>
            </a:pPr>
            <a:r>
              <a:rPr lang="en-US" b="1" i="0" dirty="0">
                <a:solidFill>
                  <a:schemeClr val="bg1"/>
                </a:solidFill>
                <a:effectLst/>
                <a:latin typeface="roboto" panose="02000000000000000000" pitchFamily="2" charset="0"/>
              </a:rPr>
              <a:t>Alternative Scenarios</a:t>
            </a:r>
            <a:r>
              <a:rPr lang="en-US" b="0" i="0" dirty="0">
                <a:solidFill>
                  <a:schemeClr val="bg1"/>
                </a:solidFill>
                <a:effectLst/>
                <a:latin typeface="roboto" panose="02000000000000000000" pitchFamily="2" charset="0"/>
              </a:rPr>
              <a:t> – </a:t>
            </a:r>
            <a:r>
              <a:rPr lang="en-US" b="0" i="0" dirty="0">
                <a:solidFill>
                  <a:schemeClr val="tx2">
                    <a:lumMod val="50000"/>
                  </a:schemeClr>
                </a:solidFill>
                <a:effectLst/>
                <a:latin typeface="roboto" panose="02000000000000000000" pitchFamily="2" charset="0"/>
              </a:rPr>
              <a:t>The task or the function of a manager does not end after increasing the productivity of the employees. A manager must participate with the other managers from different department for decision making. The decision can be on the choice of software, systems for customer automatic ordering systems, etc.</a:t>
            </a:r>
          </a:p>
          <a:p>
            <a:pPr algn="just">
              <a:buFont typeface="Arial" panose="020B0604020202020204" pitchFamily="34" charset="0"/>
              <a:buChar char="•"/>
            </a:pPr>
            <a:r>
              <a:rPr lang="en-US" b="1" i="0" dirty="0">
                <a:solidFill>
                  <a:schemeClr val="bg1"/>
                </a:solidFill>
                <a:effectLst/>
                <a:latin typeface="roboto" panose="02000000000000000000" pitchFamily="2" charset="0"/>
              </a:rPr>
              <a:t>Data Collection</a:t>
            </a:r>
            <a:r>
              <a:rPr lang="en-US" b="0" i="0" dirty="0">
                <a:solidFill>
                  <a:schemeClr val="bg1"/>
                </a:solidFill>
                <a:effectLst/>
                <a:latin typeface="roboto" panose="02000000000000000000" pitchFamily="2" charset="0"/>
              </a:rPr>
              <a:t> – </a:t>
            </a:r>
            <a:r>
              <a:rPr lang="en-US" b="0" i="0" dirty="0">
                <a:solidFill>
                  <a:schemeClr val="tx2">
                    <a:lumMod val="50000"/>
                  </a:schemeClr>
                </a:solidFill>
                <a:effectLst/>
                <a:latin typeface="roboto" panose="02000000000000000000" pitchFamily="2" charset="0"/>
              </a:rPr>
              <a:t>The data that is collected for the purpose of processing with the statistical tools must be done in an ethical manner, otherwise, the result of the analysis will be false and non-beneficial. With the help of these data, comparisons can be drawn if the actual sales were less or more than the projected sales or the future capital requirement for the fulfilment of a huge order.</a:t>
            </a:r>
          </a:p>
          <a:p>
            <a:pPr algn="just">
              <a:buFont typeface="Arial" panose="020B0604020202020204" pitchFamily="34" charset="0"/>
              <a:buChar char="•"/>
            </a:pPr>
            <a:r>
              <a:rPr lang="en-US" b="1" i="0" dirty="0">
                <a:solidFill>
                  <a:schemeClr val="bg1"/>
                </a:solidFill>
                <a:effectLst/>
                <a:latin typeface="roboto" panose="02000000000000000000" pitchFamily="2" charset="0"/>
              </a:rPr>
              <a:t>Research And Development</a:t>
            </a:r>
            <a:r>
              <a:rPr lang="en-US" b="0" i="0" dirty="0">
                <a:solidFill>
                  <a:schemeClr val="bg1"/>
                </a:solidFill>
                <a:effectLst/>
                <a:latin typeface="roboto" panose="02000000000000000000" pitchFamily="2" charset="0"/>
              </a:rPr>
              <a:t> – </a:t>
            </a:r>
            <a:r>
              <a:rPr lang="en-US" b="0" i="0" dirty="0">
                <a:solidFill>
                  <a:schemeClr val="tx2">
                    <a:lumMod val="50000"/>
                  </a:schemeClr>
                </a:solidFill>
                <a:effectLst/>
                <a:latin typeface="roboto" panose="02000000000000000000" pitchFamily="2" charset="0"/>
              </a:rPr>
              <a:t>The scope of statistics in business also extends to market research and product development. This is one of the most important functions of statistics, as a sample group is observed and their response to a product is tested, and data collected. This data is essential in the determination of the launch of new products and the development of it.</a:t>
            </a:r>
          </a:p>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60</a:t>
            </a:fld>
            <a:endParaRPr lang="en-US"/>
          </a:p>
        </p:txBody>
      </p:sp>
    </p:spTree>
    <p:extLst>
      <p:ext uri="{BB962C8B-B14F-4D97-AF65-F5344CB8AC3E}">
        <p14:creationId xmlns:p14="http://schemas.microsoft.com/office/powerpoint/2010/main" val="1810340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622842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a:t>
            </a:fld>
            <a:endParaRPr lang="en-US"/>
          </a:p>
        </p:txBody>
      </p:sp>
    </p:spTree>
    <p:extLst>
      <p:ext uri="{BB962C8B-B14F-4D97-AF65-F5344CB8AC3E}">
        <p14:creationId xmlns:p14="http://schemas.microsoft.com/office/powerpoint/2010/main" val="3046165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5</a:t>
            </a:fld>
            <a:endParaRPr lang="en-US"/>
          </a:p>
        </p:txBody>
      </p:sp>
    </p:spTree>
    <p:extLst>
      <p:ext uri="{BB962C8B-B14F-4D97-AF65-F5344CB8AC3E}">
        <p14:creationId xmlns:p14="http://schemas.microsoft.com/office/powerpoint/2010/main" val="1650524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7608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7411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9184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130</a:t>
            </a:fld>
            <a:endParaRPr lang="en-US"/>
          </a:p>
        </p:txBody>
      </p:sp>
    </p:spTree>
    <p:extLst>
      <p:ext uri="{BB962C8B-B14F-4D97-AF65-F5344CB8AC3E}">
        <p14:creationId xmlns:p14="http://schemas.microsoft.com/office/powerpoint/2010/main" val="16525461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186</a:t>
            </a:fld>
            <a:endParaRPr lang="en-US"/>
          </a:p>
        </p:txBody>
      </p:sp>
    </p:spTree>
    <p:extLst>
      <p:ext uri="{BB962C8B-B14F-4D97-AF65-F5344CB8AC3E}">
        <p14:creationId xmlns:p14="http://schemas.microsoft.com/office/powerpoint/2010/main" val="1424092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835441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19" y="1280160"/>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p:txBody>
      </p:sp>
    </p:spTree>
    <p:extLst>
      <p:ext uri="{BB962C8B-B14F-4D97-AF65-F5344CB8AC3E}">
        <p14:creationId xmlns:p14="http://schemas.microsoft.com/office/powerpoint/2010/main" val="2175678912"/>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78062111"/>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a:prstGeom prst="rect">
            <a:avLst/>
          </a:prstGeom>
        </p:spPr>
        <p:txBody>
          <a:bodyPr lIns="0" tIns="0" rIns="0" bIns="0"/>
          <a:lstStyle>
            <a:lvl1pPr>
              <a:defRPr lang="en-US" b="1" dirty="0">
                <a:latin typeface="Arial" panose="020B0604020202020204" pitchFamily="34" charset="0"/>
                <a:cs typeface="Arial" panose="020B0604020202020204" pitchFamily="34" charset="0"/>
              </a:defRPr>
            </a:lvl1pPr>
          </a:lstStyle>
          <a:p>
            <a:pPr marL="0" lvl="0" indent="0">
              <a:buNone/>
            </a:pPr>
            <a:r>
              <a:rPr lang="en-US" dirty="0"/>
              <a:t>Subhead</a:t>
            </a:r>
          </a:p>
        </p:txBody>
      </p:sp>
      <p:sp>
        <p:nvSpPr>
          <p:cNvPr id="2" name="Title 1"/>
          <p:cNvSpPr>
            <a:spLocks noGrp="1"/>
          </p:cNvSpPr>
          <p:nvPr>
            <p:ph type="title" hasCustomPrompt="1"/>
          </p:nvPr>
        </p:nvSpPr>
        <p:spPr>
          <a:xfrm>
            <a:off x="274319" y="271885"/>
            <a:ext cx="7955280" cy="640080"/>
          </a:xfrm>
          <a:prstGeom prst="rect">
            <a:avLst/>
          </a:prstGeom>
        </p:spPr>
        <p:txBody>
          <a:bodyPr lIns="0" rIns="0">
            <a:normAutofit/>
          </a:bodyPr>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 hasCustomPrompt="1"/>
          </p:nvPr>
        </p:nvSpPr>
        <p:spPr>
          <a:xfrm>
            <a:off x="274320" y="1554480"/>
            <a:ext cx="79552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254111004"/>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3" hasCustomPrompt="1"/>
          </p:nvPr>
        </p:nvSpPr>
        <p:spPr>
          <a:xfrm>
            <a:off x="2743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43891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24378676"/>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0" y="271463"/>
            <a:ext cx="4295219"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8" name="Content Placeholder 2"/>
          <p:cNvSpPr>
            <a:spLocks noGrp="1"/>
          </p:cNvSpPr>
          <p:nvPr>
            <p:ph sz="half" idx="13" hasCustomPrompt="1"/>
          </p:nvPr>
        </p:nvSpPr>
        <p:spPr>
          <a:xfrm>
            <a:off x="274320" y="1280160"/>
            <a:ext cx="428386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24754075"/>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6"/>
            <a:ext cx="4865304" cy="486332"/>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3050" y="1280160"/>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273050" y="819150"/>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2462848660"/>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664797"/>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a:t>
            </a:r>
            <a:br>
              <a:rPr lang="en-US" dirty="0"/>
            </a:br>
            <a:r>
              <a:rPr lang="en-US" dirty="0"/>
              <a:t>page title</a:t>
            </a:r>
          </a:p>
        </p:txBody>
      </p:sp>
      <p:sp>
        <p:nvSpPr>
          <p:cNvPr id="6" name="Content Placeholder 2"/>
          <p:cNvSpPr>
            <a:spLocks noGrp="1"/>
          </p:cNvSpPr>
          <p:nvPr>
            <p:ph sz="half" idx="1" hasCustomPrompt="1"/>
          </p:nvPr>
        </p:nvSpPr>
        <p:spPr>
          <a:xfrm>
            <a:off x="274320" y="1554480"/>
            <a:ext cx="42976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5" name="Text Placeholder 7"/>
          <p:cNvSpPr>
            <a:spLocks noGrp="1"/>
          </p:cNvSpPr>
          <p:nvPr>
            <p:ph type="body" sz="quarter" idx="10" hasCustomPrompt="1"/>
          </p:nvPr>
        </p:nvSpPr>
        <p:spPr>
          <a:xfrm>
            <a:off x="274320" y="1113348"/>
            <a:ext cx="4297680" cy="238842"/>
          </a:xfrm>
          <a:prstGeom prst="rect">
            <a:avLst/>
          </a:prstGeom>
        </p:spPr>
        <p:txBody>
          <a:bodyPr lIns="0" r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78229640"/>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775402808"/>
      </p:ext>
    </p:extLst>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2"/>
            <a:ext cx="8229600" cy="63779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478809198"/>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2/17/2022</a:t>
            </a:fld>
            <a:endParaRPr lang="en-US" sz="900" dirty="0">
              <a:solidFill>
                <a:schemeClr val="bg2">
                  <a:lumMod val="50000"/>
                  <a:lumOff val="50000"/>
                </a:schemeClr>
              </a:solidFill>
              <a:latin typeface="+mn-lt"/>
            </a:endParaRPr>
          </a:p>
        </p:txBody>
      </p:sp>
      <p:sp>
        <p:nvSpPr>
          <p:cNvPr id="13" name="TextBox 12"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2/17/2022</a:t>
            </a:fld>
            <a:endParaRPr lang="en-US" sz="900" dirty="0">
              <a:solidFill>
                <a:schemeClr val="bg2">
                  <a:lumMod val="50000"/>
                  <a:lumOff val="50000"/>
                </a:schemeClr>
              </a:solidFill>
              <a:latin typeface="+mn-lt"/>
            </a:endParaRPr>
          </a:p>
        </p:txBody>
      </p:sp>
      <p:sp>
        <p:nvSpPr>
          <p:cNvPr id="22" name="TextBox 21"/>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4" name="TextBox 23"/>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5" name="TextBox 24"/>
          <p:cNvSpPr txBox="1"/>
          <p:nvPr/>
        </p:nvSpPr>
        <p:spPr>
          <a:xfrm>
            <a:off x="8733880" y="4951976"/>
            <a:ext cx="141064"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5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50" b="0" kern="1200" dirty="0" err="1">
              <a:solidFill>
                <a:schemeClr val="bg2">
                  <a:lumMod val="50000"/>
                  <a:lumOff val="50000"/>
                </a:schemeClr>
              </a:solidFill>
              <a:latin typeface="+mn-lt"/>
              <a:ea typeface="+mn-ea"/>
              <a:cs typeface="+mn-cs"/>
            </a:endParaRPr>
          </a:p>
        </p:txBody>
      </p:sp>
      <p:sp>
        <p:nvSpPr>
          <p:cNvPr id="2" name="MSIPCMContentMarking" descr="{&quot;HashCode&quot;:-1912962988,&quot;Placement&quot;:&quot;Footer&quot;}">
            <a:extLst>
              <a:ext uri="{FF2B5EF4-FFF2-40B4-BE49-F238E27FC236}">
                <a16:creationId xmlns:a16="http://schemas.microsoft.com/office/drawing/2014/main" id="{F328E8F9-C379-4B42-A39A-E2B6F2E173A0}"/>
              </a:ext>
            </a:extLst>
          </p:cNvPr>
          <p:cNvSpPr txBox="1"/>
          <p:nvPr userDrawn="1"/>
        </p:nvSpPr>
        <p:spPr>
          <a:xfrm>
            <a:off x="-71846" y="4769553"/>
            <a:ext cx="1185008"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Trainer : Arun</a:t>
            </a:r>
            <a:endParaRPr lang="en-US" sz="700" dirty="0">
              <a:solidFill>
                <a:srgbClr val="7F7F7F"/>
              </a:solidFill>
              <a:latin typeface="Calibri" panose="020F0502020204030204" pitchFamily="34" charset="0"/>
            </a:endParaRPr>
          </a:p>
        </p:txBody>
      </p:sp>
      <p:sp>
        <p:nvSpPr>
          <p:cNvPr id="10" name="MSIPCMContentMarking" descr="{&quot;HashCode&quot;:-1912962988,&quot;Placement&quot;:&quot;Footer&quot;}">
            <a:extLst>
              <a:ext uri="{FF2B5EF4-FFF2-40B4-BE49-F238E27FC236}">
                <a16:creationId xmlns:a16="http://schemas.microsoft.com/office/drawing/2014/main" id="{D04AD605-86D5-49BD-9594-34302F56EB58}"/>
              </a:ext>
            </a:extLst>
          </p:cNvPr>
          <p:cNvSpPr txBox="1"/>
          <p:nvPr userDrawn="1"/>
        </p:nvSpPr>
        <p:spPr>
          <a:xfrm>
            <a:off x="-1" y="4931136"/>
            <a:ext cx="1665509"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Statistics for Data Science</a:t>
            </a:r>
            <a:endParaRPr lang="en-US" sz="7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367" r:id="rId1"/>
    <p:sldLayoutId id="2147484244" r:id="rId2"/>
    <p:sldLayoutId id="2147484245" r:id="rId3"/>
    <p:sldLayoutId id="2147484246" r:id="rId4"/>
    <p:sldLayoutId id="2147484247" r:id="rId5"/>
    <p:sldLayoutId id="2147484460" r:id="rId6"/>
    <p:sldLayoutId id="2147484249" r:id="rId7"/>
    <p:sldLayoutId id="2147484250" r:id="rId8"/>
    <p:sldLayoutId id="2147484463" r:id="rId9"/>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9.xml"/><Relationship Id="rId9" Type="http://schemas.openxmlformats.org/officeDocument/2006/relationships/hyperlink" Target="https://scherlund.blogspot.com/2018/01/ai-and-machine-learning-give-new.html"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1.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emf"/><Relationship Id="rId1" Type="http://schemas.openxmlformats.org/officeDocument/2006/relationships/slideLayout" Target="../slideLayouts/slideLayout9.xml"/><Relationship Id="rId4" Type="http://schemas.openxmlformats.org/officeDocument/2006/relationships/image" Target="../media/image165.png"/></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3.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9.xml"/></Relationships>
</file>

<file path=ppt/slides/_rels/slide104.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png"/><Relationship Id="rId1" Type="http://schemas.openxmlformats.org/officeDocument/2006/relationships/slideLayout" Target="../slideLayouts/slideLayout9.xml"/></Relationships>
</file>

<file path=ppt/slides/_rels/slide105.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hyperlink" Target="https://www.mathsisfun.com/data/bar-graphs.html" TargetMode="External"/><Relationship Id="rId1" Type="http://schemas.openxmlformats.org/officeDocument/2006/relationships/slideLayout" Target="../slideLayouts/slideLayout9.xml"/><Relationship Id="rId4" Type="http://schemas.openxmlformats.org/officeDocument/2006/relationships/image" Target="../media/image169.png"/></Relationships>
</file>

<file path=ppt/slides/_rels/slide106.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9.xml"/></Relationships>
</file>

<file path=ppt/slides/_rels/slide107.xml.rels><?xml version="1.0" encoding="UTF-8" standalone="yes"?>
<Relationships xmlns="http://schemas.openxmlformats.org/package/2006/relationships"><Relationship Id="rId3" Type="http://schemas.openxmlformats.org/officeDocument/2006/relationships/image" Target="../media/image171.emf"/><Relationship Id="rId2" Type="http://schemas.openxmlformats.org/officeDocument/2006/relationships/image" Target="../media/image170.png"/><Relationship Id="rId1" Type="http://schemas.openxmlformats.org/officeDocument/2006/relationships/slideLayout" Target="../slideLayouts/slideLayout5.xml"/><Relationship Id="rId5" Type="http://schemas.openxmlformats.org/officeDocument/2006/relationships/hyperlink" Target="https://www.mathsisfun.com/data/bar-graphs.html" TargetMode="External"/><Relationship Id="rId4" Type="http://schemas.openxmlformats.org/officeDocument/2006/relationships/hyperlink" Target="https://www.mathsisfun.com/data/data-discrete-continuous.html" TargetMode="External"/></Relationships>
</file>

<file path=ppt/slides/_rels/slide108.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slideLayout" Target="../slideLayouts/slideLayout5.xml"/><Relationship Id="rId4" Type="http://schemas.openxmlformats.org/officeDocument/2006/relationships/image" Target="../media/image175.png"/></Relationships>
</file>

<file path=ppt/slides/_rels/slide11.xml.rels><?xml version="1.0" encoding="UTF-8" standalone="yes"?>
<Relationships xmlns="http://schemas.openxmlformats.org/package/2006/relationships"><Relationship Id="rId3" Type="http://schemas.openxmlformats.org/officeDocument/2006/relationships/hyperlink" Target="http://www.collectedny.org/careerposts/assessing-job-offers/" TargetMode="External"/><Relationship Id="rId2" Type="http://schemas.openxmlformats.org/officeDocument/2006/relationships/image" Target="../media/image12.jp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hyperlink" Target="https://www.pexels.com/photo/university-entrance-arch-247823/" TargetMode="External"/><Relationship Id="rId4" Type="http://schemas.openxmlformats.org/officeDocument/2006/relationships/image" Target="../media/image13.jpeg"/></Relationships>
</file>

<file path=ppt/slides/_rels/slide110.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5.xml"/></Relationships>
</file>

<file path=ppt/slides/_rels/slide111.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177.png"/><Relationship Id="rId1" Type="http://schemas.openxmlformats.org/officeDocument/2006/relationships/slideLayout" Target="../slideLayouts/slideLayout5.xml"/><Relationship Id="rId4" Type="http://schemas.openxmlformats.org/officeDocument/2006/relationships/image" Target="../media/image179.png"/></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7.xml.rels><?xml version="1.0" encoding="UTF-8" standalone="yes"?>
<Relationships xmlns="http://schemas.openxmlformats.org/package/2006/relationships"><Relationship Id="rId3" Type="http://schemas.openxmlformats.org/officeDocument/2006/relationships/hyperlink" Target="https://www.mathsisfun.com/data/standard-normal-distribution.html" TargetMode="External"/><Relationship Id="rId2" Type="http://schemas.openxmlformats.org/officeDocument/2006/relationships/image" Target="../media/image180.png"/><Relationship Id="rId1" Type="http://schemas.openxmlformats.org/officeDocument/2006/relationships/slideLayout" Target="../slideLayouts/slideLayout5.xml"/></Relationships>
</file>

<file path=ppt/slides/_rels/slide118.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5.xml"/></Relationships>
</file>

<file path=ppt/slides/_rels/slide119.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5.xml"/></Relationships>
</file>

<file path=ppt/slides/_rels/slide121.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5.xml"/></Relationships>
</file>

<file path=ppt/slides/_rels/slide122.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5.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4.xml.rels><?xml version="1.0" encoding="UTF-8" standalone="yes"?>
<Relationships xmlns="http://schemas.openxmlformats.org/package/2006/relationships"><Relationship Id="rId3" Type="http://schemas.openxmlformats.org/officeDocument/2006/relationships/hyperlink" Target="https://pxhere.com/en/photo/1098814" TargetMode="External"/><Relationship Id="rId2" Type="http://schemas.openxmlformats.org/officeDocument/2006/relationships/image" Target="../media/image186.jpeg"/><Relationship Id="rId1" Type="http://schemas.openxmlformats.org/officeDocument/2006/relationships/slideLayout" Target="../slideLayouts/slideLayout5.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6.xml.rels><?xml version="1.0" encoding="UTF-8" standalone="yes"?>
<Relationships xmlns="http://schemas.openxmlformats.org/package/2006/relationships"><Relationship Id="rId3" Type="http://schemas.openxmlformats.org/officeDocument/2006/relationships/image" Target="../media/image187.png"/><Relationship Id="rId7" Type="http://schemas.openxmlformats.org/officeDocument/2006/relationships/image" Target="../media/image189.png"/><Relationship Id="rId2" Type="http://schemas.openxmlformats.org/officeDocument/2006/relationships/customXml" Target="../ink/ink95.xml"/><Relationship Id="rId1" Type="http://schemas.openxmlformats.org/officeDocument/2006/relationships/slideLayout" Target="../slideLayouts/slideLayout5.xml"/><Relationship Id="rId6" Type="http://schemas.openxmlformats.org/officeDocument/2006/relationships/customXml" Target="../ink/ink97.xml"/><Relationship Id="rId5" Type="http://schemas.openxmlformats.org/officeDocument/2006/relationships/image" Target="../media/image188.png"/><Relationship Id="rId4" Type="http://schemas.openxmlformats.org/officeDocument/2006/relationships/customXml" Target="../ink/ink96.xml"/></Relationships>
</file>

<file path=ppt/slides/_rels/slide127.xml.rels><?xml version="1.0" encoding="UTF-8" standalone="yes"?>
<Relationships xmlns="http://schemas.openxmlformats.org/package/2006/relationships"><Relationship Id="rId26" Type="http://schemas.openxmlformats.org/officeDocument/2006/relationships/image" Target="../media/image202.png"/><Relationship Id="rId21" Type="http://schemas.openxmlformats.org/officeDocument/2006/relationships/customXml" Target="../ink/ink107.xml"/><Relationship Id="rId42" Type="http://schemas.openxmlformats.org/officeDocument/2006/relationships/image" Target="../media/image210.png"/><Relationship Id="rId47" Type="http://schemas.openxmlformats.org/officeDocument/2006/relationships/customXml" Target="../ink/ink120.xml"/><Relationship Id="rId63" Type="http://schemas.openxmlformats.org/officeDocument/2006/relationships/image" Target="../media/image220.png"/><Relationship Id="rId68" Type="http://schemas.openxmlformats.org/officeDocument/2006/relationships/customXml" Target="../ink/ink131.xml"/><Relationship Id="rId84" Type="http://schemas.openxmlformats.org/officeDocument/2006/relationships/customXml" Target="../ink/ink139.xml"/><Relationship Id="rId89" Type="http://schemas.openxmlformats.org/officeDocument/2006/relationships/image" Target="../media/image233.png"/><Relationship Id="rId112" Type="http://schemas.openxmlformats.org/officeDocument/2006/relationships/customXml" Target="../ink/ink153.xml"/><Relationship Id="rId16" Type="http://schemas.openxmlformats.org/officeDocument/2006/relationships/image" Target="../media/image197.png"/><Relationship Id="rId107" Type="http://schemas.openxmlformats.org/officeDocument/2006/relationships/image" Target="../media/image242.png"/><Relationship Id="rId11" Type="http://schemas.openxmlformats.org/officeDocument/2006/relationships/customXml" Target="../ink/ink102.xml"/><Relationship Id="rId32" Type="http://schemas.openxmlformats.org/officeDocument/2006/relationships/image" Target="../media/image205.png"/><Relationship Id="rId37" Type="http://schemas.openxmlformats.org/officeDocument/2006/relationships/customXml" Target="../ink/ink115.xml"/><Relationship Id="rId53" Type="http://schemas.openxmlformats.org/officeDocument/2006/relationships/customXml" Target="../ink/ink123.xml"/><Relationship Id="rId58" Type="http://schemas.openxmlformats.org/officeDocument/2006/relationships/customXml" Target="../ink/ink126.xml"/><Relationship Id="rId74" Type="http://schemas.openxmlformats.org/officeDocument/2006/relationships/customXml" Target="../ink/ink134.xml"/><Relationship Id="rId79" Type="http://schemas.openxmlformats.org/officeDocument/2006/relationships/image" Target="../media/image228.png"/><Relationship Id="rId102" Type="http://schemas.openxmlformats.org/officeDocument/2006/relationships/customXml" Target="../ink/ink148.xml"/><Relationship Id="rId5" Type="http://schemas.openxmlformats.org/officeDocument/2006/relationships/customXml" Target="../ink/ink99.xml"/><Relationship Id="rId90" Type="http://schemas.openxmlformats.org/officeDocument/2006/relationships/customXml" Target="../ink/ink142.xml"/><Relationship Id="rId95" Type="http://schemas.openxmlformats.org/officeDocument/2006/relationships/image" Target="../media/image236.png"/><Relationship Id="rId22" Type="http://schemas.openxmlformats.org/officeDocument/2006/relationships/image" Target="../media/image200.png"/><Relationship Id="rId27" Type="http://schemas.openxmlformats.org/officeDocument/2006/relationships/customXml" Target="../ink/ink110.xml"/><Relationship Id="rId43" Type="http://schemas.openxmlformats.org/officeDocument/2006/relationships/customXml" Target="../ink/ink118.xml"/><Relationship Id="rId48" Type="http://schemas.openxmlformats.org/officeDocument/2006/relationships/image" Target="../media/image213.png"/><Relationship Id="rId64" Type="http://schemas.openxmlformats.org/officeDocument/2006/relationships/customXml" Target="../ink/ink129.xml"/><Relationship Id="rId69" Type="http://schemas.openxmlformats.org/officeDocument/2006/relationships/image" Target="../media/image223.png"/><Relationship Id="rId113" Type="http://schemas.openxmlformats.org/officeDocument/2006/relationships/image" Target="../media/image245.png"/><Relationship Id="rId80" Type="http://schemas.openxmlformats.org/officeDocument/2006/relationships/customXml" Target="../ink/ink137.xml"/><Relationship Id="rId85" Type="http://schemas.openxmlformats.org/officeDocument/2006/relationships/image" Target="../media/image231.png"/><Relationship Id="rId12" Type="http://schemas.openxmlformats.org/officeDocument/2006/relationships/image" Target="../media/image195.png"/><Relationship Id="rId17" Type="http://schemas.openxmlformats.org/officeDocument/2006/relationships/customXml" Target="../ink/ink105.xml"/><Relationship Id="rId33" Type="http://schemas.openxmlformats.org/officeDocument/2006/relationships/customXml" Target="../ink/ink113.xml"/><Relationship Id="rId38" Type="http://schemas.openxmlformats.org/officeDocument/2006/relationships/image" Target="../media/image208.png"/><Relationship Id="rId59" Type="http://schemas.openxmlformats.org/officeDocument/2006/relationships/image" Target="../media/image218.png"/><Relationship Id="rId103" Type="http://schemas.openxmlformats.org/officeDocument/2006/relationships/image" Target="../media/image240.png"/><Relationship Id="rId108" Type="http://schemas.openxmlformats.org/officeDocument/2006/relationships/customXml" Target="../ink/ink151.xml"/><Relationship Id="rId54" Type="http://schemas.openxmlformats.org/officeDocument/2006/relationships/customXml" Target="../ink/ink124.xml"/><Relationship Id="rId70" Type="http://schemas.openxmlformats.org/officeDocument/2006/relationships/customXml" Target="../ink/ink132.xml"/><Relationship Id="rId75" Type="http://schemas.openxmlformats.org/officeDocument/2006/relationships/image" Target="../media/image226.png"/><Relationship Id="rId91" Type="http://schemas.openxmlformats.org/officeDocument/2006/relationships/image" Target="../media/image234.png"/><Relationship Id="rId96" Type="http://schemas.openxmlformats.org/officeDocument/2006/relationships/customXml" Target="../ink/ink145.xml"/><Relationship Id="rId1" Type="http://schemas.openxmlformats.org/officeDocument/2006/relationships/slideLayout" Target="../slideLayouts/slideLayout5.xml"/><Relationship Id="rId6" Type="http://schemas.openxmlformats.org/officeDocument/2006/relationships/image" Target="../media/image192.png"/><Relationship Id="rId15" Type="http://schemas.openxmlformats.org/officeDocument/2006/relationships/customXml" Target="../ink/ink104.xml"/><Relationship Id="rId23" Type="http://schemas.openxmlformats.org/officeDocument/2006/relationships/customXml" Target="../ink/ink108.xml"/><Relationship Id="rId28" Type="http://schemas.openxmlformats.org/officeDocument/2006/relationships/image" Target="../media/image203.png"/><Relationship Id="rId36" Type="http://schemas.openxmlformats.org/officeDocument/2006/relationships/image" Target="../media/image207.png"/><Relationship Id="rId49" Type="http://schemas.openxmlformats.org/officeDocument/2006/relationships/customXml" Target="../ink/ink121.xml"/><Relationship Id="rId57" Type="http://schemas.openxmlformats.org/officeDocument/2006/relationships/image" Target="../media/image217.png"/><Relationship Id="rId106" Type="http://schemas.openxmlformats.org/officeDocument/2006/relationships/customXml" Target="../ink/ink150.xml"/><Relationship Id="rId114" Type="http://schemas.openxmlformats.org/officeDocument/2006/relationships/customXml" Target="../ink/ink154.xml"/><Relationship Id="rId10" Type="http://schemas.openxmlformats.org/officeDocument/2006/relationships/image" Target="../media/image194.png"/><Relationship Id="rId31" Type="http://schemas.openxmlformats.org/officeDocument/2006/relationships/customXml" Target="../ink/ink112.xml"/><Relationship Id="rId44" Type="http://schemas.openxmlformats.org/officeDocument/2006/relationships/image" Target="../media/image211.png"/><Relationship Id="rId52" Type="http://schemas.openxmlformats.org/officeDocument/2006/relationships/image" Target="../media/image215.png"/><Relationship Id="rId60" Type="http://schemas.openxmlformats.org/officeDocument/2006/relationships/customXml" Target="../ink/ink127.xml"/><Relationship Id="rId65" Type="http://schemas.openxmlformats.org/officeDocument/2006/relationships/image" Target="../media/image221.png"/><Relationship Id="rId73" Type="http://schemas.openxmlformats.org/officeDocument/2006/relationships/image" Target="../media/image225.png"/><Relationship Id="rId78" Type="http://schemas.openxmlformats.org/officeDocument/2006/relationships/customXml" Target="../ink/ink136.xml"/><Relationship Id="rId81" Type="http://schemas.openxmlformats.org/officeDocument/2006/relationships/image" Target="../media/image229.png"/><Relationship Id="rId86" Type="http://schemas.openxmlformats.org/officeDocument/2006/relationships/customXml" Target="../ink/ink140.xml"/><Relationship Id="rId94" Type="http://schemas.openxmlformats.org/officeDocument/2006/relationships/customXml" Target="../ink/ink144.xml"/><Relationship Id="rId99" Type="http://schemas.openxmlformats.org/officeDocument/2006/relationships/image" Target="../media/image238.png"/><Relationship Id="rId101" Type="http://schemas.openxmlformats.org/officeDocument/2006/relationships/image" Target="../media/image239.png"/><Relationship Id="rId4" Type="http://schemas.openxmlformats.org/officeDocument/2006/relationships/image" Target="../media/image191.png"/><Relationship Id="rId9" Type="http://schemas.openxmlformats.org/officeDocument/2006/relationships/customXml" Target="../ink/ink101.xml"/><Relationship Id="rId13" Type="http://schemas.openxmlformats.org/officeDocument/2006/relationships/customXml" Target="../ink/ink103.xml"/><Relationship Id="rId18" Type="http://schemas.openxmlformats.org/officeDocument/2006/relationships/image" Target="../media/image198.png"/><Relationship Id="rId39" Type="http://schemas.openxmlformats.org/officeDocument/2006/relationships/customXml" Target="../ink/ink116.xml"/><Relationship Id="rId109" Type="http://schemas.openxmlformats.org/officeDocument/2006/relationships/image" Target="../media/image243.png"/><Relationship Id="rId34" Type="http://schemas.openxmlformats.org/officeDocument/2006/relationships/image" Target="../media/image206.png"/><Relationship Id="rId50" Type="http://schemas.openxmlformats.org/officeDocument/2006/relationships/image" Target="../media/image214.png"/><Relationship Id="rId55" Type="http://schemas.openxmlformats.org/officeDocument/2006/relationships/image" Target="../media/image216.png"/><Relationship Id="rId76" Type="http://schemas.openxmlformats.org/officeDocument/2006/relationships/customXml" Target="../ink/ink135.xml"/><Relationship Id="rId97" Type="http://schemas.openxmlformats.org/officeDocument/2006/relationships/image" Target="../media/image237.png"/><Relationship Id="rId104" Type="http://schemas.openxmlformats.org/officeDocument/2006/relationships/customXml" Target="../ink/ink149.xml"/><Relationship Id="rId7" Type="http://schemas.openxmlformats.org/officeDocument/2006/relationships/customXml" Target="../ink/ink100.xml"/><Relationship Id="rId71" Type="http://schemas.openxmlformats.org/officeDocument/2006/relationships/image" Target="../media/image224.png"/><Relationship Id="rId92" Type="http://schemas.openxmlformats.org/officeDocument/2006/relationships/customXml" Target="../ink/ink143.xml"/><Relationship Id="rId2" Type="http://schemas.openxmlformats.org/officeDocument/2006/relationships/image" Target="../media/image190.png"/><Relationship Id="rId29" Type="http://schemas.openxmlformats.org/officeDocument/2006/relationships/customXml" Target="../ink/ink111.xml"/><Relationship Id="rId24" Type="http://schemas.openxmlformats.org/officeDocument/2006/relationships/image" Target="../media/image201.png"/><Relationship Id="rId40" Type="http://schemas.openxmlformats.org/officeDocument/2006/relationships/image" Target="../media/image209.png"/><Relationship Id="rId45" Type="http://schemas.openxmlformats.org/officeDocument/2006/relationships/customXml" Target="../ink/ink119.xml"/><Relationship Id="rId66" Type="http://schemas.openxmlformats.org/officeDocument/2006/relationships/customXml" Target="../ink/ink130.xml"/><Relationship Id="rId87" Type="http://schemas.openxmlformats.org/officeDocument/2006/relationships/image" Target="../media/image232.png"/><Relationship Id="rId110" Type="http://schemas.openxmlformats.org/officeDocument/2006/relationships/customXml" Target="../ink/ink152.xml"/><Relationship Id="rId115" Type="http://schemas.openxmlformats.org/officeDocument/2006/relationships/image" Target="../media/image246.png"/><Relationship Id="rId61" Type="http://schemas.openxmlformats.org/officeDocument/2006/relationships/image" Target="../media/image219.png"/><Relationship Id="rId82" Type="http://schemas.openxmlformats.org/officeDocument/2006/relationships/customXml" Target="../ink/ink138.xml"/><Relationship Id="rId19" Type="http://schemas.openxmlformats.org/officeDocument/2006/relationships/customXml" Target="../ink/ink106.xml"/><Relationship Id="rId14" Type="http://schemas.openxmlformats.org/officeDocument/2006/relationships/image" Target="../media/image196.png"/><Relationship Id="rId30" Type="http://schemas.openxmlformats.org/officeDocument/2006/relationships/image" Target="../media/image204.png"/><Relationship Id="rId35" Type="http://schemas.openxmlformats.org/officeDocument/2006/relationships/customXml" Target="../ink/ink114.xml"/><Relationship Id="rId56" Type="http://schemas.openxmlformats.org/officeDocument/2006/relationships/customXml" Target="../ink/ink125.xml"/><Relationship Id="rId77" Type="http://schemas.openxmlformats.org/officeDocument/2006/relationships/image" Target="../media/image227.png"/><Relationship Id="rId100" Type="http://schemas.openxmlformats.org/officeDocument/2006/relationships/customXml" Target="../ink/ink147.xml"/><Relationship Id="rId105" Type="http://schemas.openxmlformats.org/officeDocument/2006/relationships/image" Target="../media/image241.png"/><Relationship Id="rId8" Type="http://schemas.openxmlformats.org/officeDocument/2006/relationships/image" Target="../media/image193.png"/><Relationship Id="rId51" Type="http://schemas.openxmlformats.org/officeDocument/2006/relationships/customXml" Target="../ink/ink122.xml"/><Relationship Id="rId72" Type="http://schemas.openxmlformats.org/officeDocument/2006/relationships/customXml" Target="../ink/ink133.xml"/><Relationship Id="rId93" Type="http://schemas.openxmlformats.org/officeDocument/2006/relationships/image" Target="../media/image235.png"/><Relationship Id="rId98" Type="http://schemas.openxmlformats.org/officeDocument/2006/relationships/customXml" Target="../ink/ink146.xml"/><Relationship Id="rId3" Type="http://schemas.openxmlformats.org/officeDocument/2006/relationships/customXml" Target="../ink/ink98.xml"/><Relationship Id="rId25" Type="http://schemas.openxmlformats.org/officeDocument/2006/relationships/customXml" Target="../ink/ink109.xml"/><Relationship Id="rId46" Type="http://schemas.openxmlformats.org/officeDocument/2006/relationships/image" Target="../media/image212.png"/><Relationship Id="rId67" Type="http://schemas.openxmlformats.org/officeDocument/2006/relationships/image" Target="../media/image222.png"/><Relationship Id="rId20" Type="http://schemas.openxmlformats.org/officeDocument/2006/relationships/image" Target="../media/image199.png"/><Relationship Id="rId41" Type="http://schemas.openxmlformats.org/officeDocument/2006/relationships/customXml" Target="../ink/ink117.xml"/><Relationship Id="rId62" Type="http://schemas.openxmlformats.org/officeDocument/2006/relationships/customXml" Target="../ink/ink128.xml"/><Relationship Id="rId83" Type="http://schemas.openxmlformats.org/officeDocument/2006/relationships/image" Target="../media/image230.png"/><Relationship Id="rId88" Type="http://schemas.openxmlformats.org/officeDocument/2006/relationships/customXml" Target="../ink/ink141.xml"/><Relationship Id="rId111" Type="http://schemas.openxmlformats.org/officeDocument/2006/relationships/image" Target="../media/image244.png"/></Relationships>
</file>

<file path=ppt/slides/_rels/slide128.xml.rels><?xml version="1.0" encoding="UTF-8" standalone="yes"?>
<Relationships xmlns="http://schemas.openxmlformats.org/package/2006/relationships"><Relationship Id="rId13" Type="http://schemas.openxmlformats.org/officeDocument/2006/relationships/customXml" Target="../ink/ink160.xml"/><Relationship Id="rId18" Type="http://schemas.openxmlformats.org/officeDocument/2006/relationships/image" Target="../media/image251.png"/><Relationship Id="rId26" Type="http://schemas.openxmlformats.org/officeDocument/2006/relationships/image" Target="../media/image255.png"/><Relationship Id="rId3" Type="http://schemas.openxmlformats.org/officeDocument/2006/relationships/image" Target="../media/image187.png"/><Relationship Id="rId21" Type="http://schemas.openxmlformats.org/officeDocument/2006/relationships/customXml" Target="../ink/ink164.xml"/><Relationship Id="rId34" Type="http://schemas.openxmlformats.org/officeDocument/2006/relationships/image" Target="../media/image259.png"/><Relationship Id="rId7" Type="http://schemas.openxmlformats.org/officeDocument/2006/relationships/image" Target="../media/image189.png"/><Relationship Id="rId12" Type="http://schemas.openxmlformats.org/officeDocument/2006/relationships/image" Target="../media/image248.png"/><Relationship Id="rId17" Type="http://schemas.openxmlformats.org/officeDocument/2006/relationships/customXml" Target="../ink/ink162.xml"/><Relationship Id="rId25" Type="http://schemas.openxmlformats.org/officeDocument/2006/relationships/customXml" Target="../ink/ink166.xml"/><Relationship Id="rId33" Type="http://schemas.openxmlformats.org/officeDocument/2006/relationships/customXml" Target="../ink/ink170.xml"/><Relationship Id="rId2" Type="http://schemas.openxmlformats.org/officeDocument/2006/relationships/customXml" Target="../ink/ink155.xml"/><Relationship Id="rId16" Type="http://schemas.openxmlformats.org/officeDocument/2006/relationships/image" Target="../media/image250.png"/><Relationship Id="rId20" Type="http://schemas.openxmlformats.org/officeDocument/2006/relationships/image" Target="../media/image252.png"/><Relationship Id="rId29" Type="http://schemas.openxmlformats.org/officeDocument/2006/relationships/customXml" Target="../ink/ink168.xml"/><Relationship Id="rId1" Type="http://schemas.openxmlformats.org/officeDocument/2006/relationships/slideLayout" Target="../slideLayouts/slideLayout5.xml"/><Relationship Id="rId6" Type="http://schemas.openxmlformats.org/officeDocument/2006/relationships/customXml" Target="../ink/ink157.xml"/><Relationship Id="rId11" Type="http://schemas.openxmlformats.org/officeDocument/2006/relationships/customXml" Target="../ink/ink159.xml"/><Relationship Id="rId24" Type="http://schemas.openxmlformats.org/officeDocument/2006/relationships/image" Target="../media/image254.png"/><Relationship Id="rId32" Type="http://schemas.openxmlformats.org/officeDocument/2006/relationships/image" Target="../media/image258.png"/><Relationship Id="rId5" Type="http://schemas.openxmlformats.org/officeDocument/2006/relationships/image" Target="../media/image188.png"/><Relationship Id="rId15" Type="http://schemas.openxmlformats.org/officeDocument/2006/relationships/customXml" Target="../ink/ink161.xml"/><Relationship Id="rId23" Type="http://schemas.openxmlformats.org/officeDocument/2006/relationships/customXml" Target="../ink/ink165.xml"/><Relationship Id="rId28" Type="http://schemas.openxmlformats.org/officeDocument/2006/relationships/image" Target="../media/image256.png"/><Relationship Id="rId36" Type="http://schemas.openxmlformats.org/officeDocument/2006/relationships/image" Target="../media/image203.png"/><Relationship Id="rId10" Type="http://schemas.openxmlformats.org/officeDocument/2006/relationships/image" Target="../media/image247.png"/><Relationship Id="rId19" Type="http://schemas.openxmlformats.org/officeDocument/2006/relationships/customXml" Target="../ink/ink163.xml"/><Relationship Id="rId31" Type="http://schemas.openxmlformats.org/officeDocument/2006/relationships/customXml" Target="../ink/ink169.xml"/><Relationship Id="rId4" Type="http://schemas.openxmlformats.org/officeDocument/2006/relationships/customXml" Target="../ink/ink156.xml"/><Relationship Id="rId9" Type="http://schemas.openxmlformats.org/officeDocument/2006/relationships/customXml" Target="../ink/ink158.xml"/><Relationship Id="rId14" Type="http://schemas.openxmlformats.org/officeDocument/2006/relationships/image" Target="../media/image249.png"/><Relationship Id="rId22" Type="http://schemas.openxmlformats.org/officeDocument/2006/relationships/image" Target="../media/image253.png"/><Relationship Id="rId27" Type="http://schemas.openxmlformats.org/officeDocument/2006/relationships/customXml" Target="../ink/ink167.xml"/><Relationship Id="rId30" Type="http://schemas.openxmlformats.org/officeDocument/2006/relationships/image" Target="../media/image257.png"/><Relationship Id="rId35" Type="http://schemas.openxmlformats.org/officeDocument/2006/relationships/customXml" Target="../ink/ink171.xml"/><Relationship Id="rId8" Type="http://schemas.openxmlformats.org/officeDocument/2006/relationships/image" Target="../media/image190.png"/></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image" Target="../media/image191.jpe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hyperlink" Target="https://www.flickr.com/photos/icma/3635981474" TargetMode="External"/></Relationships>
</file>

<file path=ppt/slides/_rels/slide131.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192.jpeg"/><Relationship Id="rId1" Type="http://schemas.openxmlformats.org/officeDocument/2006/relationships/slideLayout" Target="../slideLayouts/slideLayout5.xml"/><Relationship Id="rId4" Type="http://schemas.openxmlformats.org/officeDocument/2006/relationships/image" Target="../media/image260.png"/></Relationships>
</file>

<file path=ppt/slides/_rels/slide132.xml.rels><?xml version="1.0" encoding="UTF-8" standalone="yes"?>
<Relationships xmlns="http://schemas.openxmlformats.org/package/2006/relationships"><Relationship Id="rId3" Type="http://schemas.openxmlformats.org/officeDocument/2006/relationships/hyperlink" Target="https://www.flickr.com/photos/101440531@N06/47077435382" TargetMode="External"/><Relationship Id="rId2" Type="http://schemas.openxmlformats.org/officeDocument/2006/relationships/image" Target="../media/image261.jpeg"/><Relationship Id="rId1" Type="http://schemas.openxmlformats.org/officeDocument/2006/relationships/slideLayout" Target="../slideLayouts/slideLayout5.xml"/><Relationship Id="rId5" Type="http://schemas.openxmlformats.org/officeDocument/2006/relationships/hyperlink" Target="http://www.flickr.com/photos/axis/20393969/" TargetMode="External"/><Relationship Id="rId4" Type="http://schemas.openxmlformats.org/officeDocument/2006/relationships/image" Target="../media/image262.jpg"/></Relationships>
</file>

<file path=ppt/slides/_rels/slide133.xml.rels><?xml version="1.0" encoding="UTF-8" standalone="yes"?>
<Relationships xmlns="http://schemas.openxmlformats.org/package/2006/relationships"><Relationship Id="rId2" Type="http://schemas.openxmlformats.org/officeDocument/2006/relationships/image" Target="../media/image263.png"/><Relationship Id="rId1" Type="http://schemas.openxmlformats.org/officeDocument/2006/relationships/slideLayout" Target="../slideLayouts/slideLayout5.xml"/></Relationships>
</file>

<file path=ppt/slides/_rels/slide134.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192.jpeg"/><Relationship Id="rId1" Type="http://schemas.openxmlformats.org/officeDocument/2006/relationships/slideLayout" Target="../slideLayouts/slideLayout5.xml"/></Relationships>
</file>

<file path=ppt/slides/_rels/slide135.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192.jpeg"/><Relationship Id="rId1" Type="http://schemas.openxmlformats.org/officeDocument/2006/relationships/slideLayout" Target="../slideLayouts/slideLayout5.xml"/></Relationships>
</file>

<file path=ppt/slides/_rels/slide136.xml.rels><?xml version="1.0" encoding="UTF-8" standalone="yes"?>
<Relationships xmlns="http://schemas.openxmlformats.org/package/2006/relationships"><Relationship Id="rId2" Type="http://schemas.openxmlformats.org/officeDocument/2006/relationships/image" Target="../media/image264.png"/><Relationship Id="rId1" Type="http://schemas.openxmlformats.org/officeDocument/2006/relationships/slideLayout" Target="../slideLayouts/slideLayout5.xml"/></Relationships>
</file>

<file path=ppt/slides/_rels/slide137.xml.rels><?xml version="1.0" encoding="UTF-8" standalone="yes"?>
<Relationships xmlns="http://schemas.openxmlformats.org/package/2006/relationships"><Relationship Id="rId2" Type="http://schemas.openxmlformats.org/officeDocument/2006/relationships/image" Target="../media/image265.png"/><Relationship Id="rId1" Type="http://schemas.openxmlformats.org/officeDocument/2006/relationships/slideLayout" Target="../slideLayouts/slideLayout5.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9.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image" Target="../media/image266.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1.xml.rels><?xml version="1.0" encoding="UTF-8" standalone="yes"?>
<Relationships xmlns="http://schemas.openxmlformats.org/package/2006/relationships"><Relationship Id="rId3" Type="http://schemas.openxmlformats.org/officeDocument/2006/relationships/hyperlink" Target="https://www.publicdomainpictures.net/view-image.php?image=209475&amp;picture=jaguar-car" TargetMode="External"/><Relationship Id="rId7" Type="http://schemas.openxmlformats.org/officeDocument/2006/relationships/hyperlink" Target="https://owl.excelsior.edu/educator-resources/owl-across-disciplines/owl-across-the-disciplines-grammar-and-usage/" TargetMode="External"/><Relationship Id="rId2" Type="http://schemas.openxmlformats.org/officeDocument/2006/relationships/image" Target="../media/image268.jpeg"/><Relationship Id="rId1" Type="http://schemas.openxmlformats.org/officeDocument/2006/relationships/slideLayout" Target="../slideLayouts/slideLayout5.xml"/><Relationship Id="rId6" Type="http://schemas.openxmlformats.org/officeDocument/2006/relationships/image" Target="../media/image270.jpeg"/><Relationship Id="rId5" Type="http://schemas.openxmlformats.org/officeDocument/2006/relationships/hyperlink" Target="https://www.publicdomainpictures.net/view-image.php?image=204352&amp;picture=red-honda-car" TargetMode="External"/><Relationship Id="rId4" Type="http://schemas.openxmlformats.org/officeDocument/2006/relationships/image" Target="../media/image269.jpeg"/></Relationships>
</file>

<file path=ppt/slides/_rels/slide142.xml.rels><?xml version="1.0" encoding="UTF-8" standalone="yes"?>
<Relationships xmlns="http://schemas.openxmlformats.org/package/2006/relationships"><Relationship Id="rId2" Type="http://schemas.openxmlformats.org/officeDocument/2006/relationships/image" Target="../media/image271.png"/><Relationship Id="rId1" Type="http://schemas.openxmlformats.org/officeDocument/2006/relationships/slideLayout" Target="../slideLayouts/slideLayout5.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4.xml.rels><?xml version="1.0" encoding="UTF-8" standalone="yes"?>
<Relationships xmlns="http://schemas.openxmlformats.org/package/2006/relationships"><Relationship Id="rId2" Type="http://schemas.openxmlformats.org/officeDocument/2006/relationships/image" Target="../media/image272.png"/><Relationship Id="rId1" Type="http://schemas.openxmlformats.org/officeDocument/2006/relationships/slideLayout" Target="../slideLayouts/slideLayout5.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6.xml.rels><?xml version="1.0" encoding="UTF-8" standalone="yes"?>
<Relationships xmlns="http://schemas.openxmlformats.org/package/2006/relationships"><Relationship Id="rId2" Type="http://schemas.openxmlformats.org/officeDocument/2006/relationships/image" Target="../media/image273.png"/><Relationship Id="rId1" Type="http://schemas.openxmlformats.org/officeDocument/2006/relationships/slideLayout" Target="../slideLayouts/slideLayout5.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9.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image" Target="../media/image274.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image" Target="../media/image276.png"/><Relationship Id="rId1" Type="http://schemas.openxmlformats.org/officeDocument/2006/relationships/slideLayout" Target="../slideLayouts/slideLayout5.xml"/></Relationships>
</file>

<file path=ppt/slides/_rels/slide151.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image" Target="../media/image277.png"/><Relationship Id="rId1" Type="http://schemas.openxmlformats.org/officeDocument/2006/relationships/slideLayout" Target="../slideLayouts/slideLayout5.xml"/><Relationship Id="rId4" Type="http://schemas.openxmlformats.org/officeDocument/2006/relationships/image" Target="../media/image278.png"/></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4.xml.rels><?xml version="1.0" encoding="UTF-8" standalone="yes"?>
<Relationships xmlns="http://schemas.openxmlformats.org/package/2006/relationships"><Relationship Id="rId2" Type="http://schemas.openxmlformats.org/officeDocument/2006/relationships/image" Target="../media/image279.png"/><Relationship Id="rId1" Type="http://schemas.openxmlformats.org/officeDocument/2006/relationships/slideLayout" Target="../slideLayouts/slideLayout5.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6.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image" Target="../media/image280.png"/><Relationship Id="rId1" Type="http://schemas.openxmlformats.org/officeDocument/2006/relationships/slideLayout" Target="../slideLayouts/slideLayout5.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9.xml.rels><?xml version="1.0" encoding="UTF-8" standalone="yes"?>
<Relationships xmlns="http://schemas.openxmlformats.org/package/2006/relationships"><Relationship Id="rId3" Type="http://schemas.openxmlformats.org/officeDocument/2006/relationships/hyperlink" Target="https://www.pexels.com/photo/orange-tabby-cat-laying-on-brown-sofa-33492/" TargetMode="External"/><Relationship Id="rId2" Type="http://schemas.openxmlformats.org/officeDocument/2006/relationships/image" Target="../media/image282.jpeg"/><Relationship Id="rId1" Type="http://schemas.openxmlformats.org/officeDocument/2006/relationships/slideLayout" Target="../slideLayouts/slideLayout5.xml"/><Relationship Id="rId4" Type="http://schemas.openxmlformats.org/officeDocument/2006/relationships/image" Target="../media/image28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1.xml.rels><?xml version="1.0" encoding="UTF-8" standalone="yes"?>
<Relationships xmlns="http://schemas.openxmlformats.org/package/2006/relationships"><Relationship Id="rId2" Type="http://schemas.openxmlformats.org/officeDocument/2006/relationships/image" Target="../media/image284.png"/><Relationship Id="rId1" Type="http://schemas.openxmlformats.org/officeDocument/2006/relationships/slideLayout" Target="../slideLayouts/slideLayout5.xml"/></Relationships>
</file>

<file path=ppt/slides/_rels/slide162.xml.rels><?xml version="1.0" encoding="UTF-8" standalone="yes"?>
<Relationships xmlns="http://schemas.openxmlformats.org/package/2006/relationships"><Relationship Id="rId2" Type="http://schemas.openxmlformats.org/officeDocument/2006/relationships/image" Target="../media/image285.png"/><Relationship Id="rId1" Type="http://schemas.openxmlformats.org/officeDocument/2006/relationships/slideLayout" Target="../slideLayouts/slideLayout5.xml"/></Relationships>
</file>

<file path=ppt/slides/_rels/slide163.xml.rels><?xml version="1.0" encoding="UTF-8" standalone="yes"?>
<Relationships xmlns="http://schemas.openxmlformats.org/package/2006/relationships"><Relationship Id="rId2" Type="http://schemas.openxmlformats.org/officeDocument/2006/relationships/image" Target="../media/image286.png"/><Relationship Id="rId1" Type="http://schemas.openxmlformats.org/officeDocument/2006/relationships/slideLayout" Target="../slideLayouts/slideLayout5.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6.xml.rels><?xml version="1.0" encoding="UTF-8" standalone="yes"?>
<Relationships xmlns="http://schemas.openxmlformats.org/package/2006/relationships"><Relationship Id="rId2" Type="http://schemas.openxmlformats.org/officeDocument/2006/relationships/image" Target="../media/image287.png"/><Relationship Id="rId1" Type="http://schemas.openxmlformats.org/officeDocument/2006/relationships/slideLayout" Target="../slideLayouts/slideLayout5.xml"/></Relationships>
</file>

<file path=ppt/slides/_rels/slide167.xml.rels><?xml version="1.0" encoding="UTF-8" standalone="yes"?>
<Relationships xmlns="http://schemas.openxmlformats.org/package/2006/relationships"><Relationship Id="rId2" Type="http://schemas.openxmlformats.org/officeDocument/2006/relationships/image" Target="../media/image288.png"/><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2" Type="http://schemas.openxmlformats.org/officeDocument/2006/relationships/image" Target="../media/image289.png"/><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2" Type="http://schemas.openxmlformats.org/officeDocument/2006/relationships/image" Target="../media/image29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1.xml.rels><?xml version="1.0" encoding="UTF-8" standalone="yes"?>
<Relationships xmlns="http://schemas.openxmlformats.org/package/2006/relationships"><Relationship Id="rId2" Type="http://schemas.openxmlformats.org/officeDocument/2006/relationships/image" Target="../media/image291.png"/><Relationship Id="rId1" Type="http://schemas.openxmlformats.org/officeDocument/2006/relationships/slideLayout" Target="../slideLayouts/slideLayout5.xml"/></Relationships>
</file>

<file path=ppt/slides/_rels/slide172.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image" Target="../media/image292.png"/><Relationship Id="rId1" Type="http://schemas.openxmlformats.org/officeDocument/2006/relationships/slideLayout" Target="../slideLayouts/slideLayout5.xml"/></Relationships>
</file>

<file path=ppt/slides/_rels/slide173.xml.rels><?xml version="1.0" encoding="UTF-8" standalone="yes"?>
<Relationships xmlns="http://schemas.openxmlformats.org/package/2006/relationships"><Relationship Id="rId2" Type="http://schemas.openxmlformats.org/officeDocument/2006/relationships/image" Target="../media/image294.png"/><Relationship Id="rId1" Type="http://schemas.openxmlformats.org/officeDocument/2006/relationships/slideLayout" Target="../slideLayouts/slideLayout5.xml"/></Relationships>
</file>

<file path=ppt/slides/_rels/slide174.xml.rels><?xml version="1.0" encoding="UTF-8" standalone="yes"?>
<Relationships xmlns="http://schemas.openxmlformats.org/package/2006/relationships"><Relationship Id="rId2" Type="http://schemas.openxmlformats.org/officeDocument/2006/relationships/hyperlink" Target="https://www.mathsisfun.com/algebra/introduction.html" TargetMode="External"/><Relationship Id="rId1" Type="http://schemas.openxmlformats.org/officeDocument/2006/relationships/slideLayout" Target="../slideLayouts/slideLayout5.xml"/></Relationships>
</file>

<file path=ppt/slides/_rels/slide175.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295.jpeg"/><Relationship Id="rId1" Type="http://schemas.openxmlformats.org/officeDocument/2006/relationships/slideLayout" Target="../slideLayouts/slideLayout5.xml"/></Relationships>
</file>

<file path=ppt/slides/_rels/slide176.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296.jpeg"/><Relationship Id="rId1" Type="http://schemas.openxmlformats.org/officeDocument/2006/relationships/slideLayout" Target="../slideLayouts/slideLayout5.xml"/></Relationships>
</file>

<file path=ppt/slides/_rels/slide177.xml.rels><?xml version="1.0" encoding="UTF-8" standalone="yes"?>
<Relationships xmlns="http://schemas.openxmlformats.org/package/2006/relationships"><Relationship Id="rId2" Type="http://schemas.openxmlformats.org/officeDocument/2006/relationships/image" Target="../media/image297.png"/><Relationship Id="rId1" Type="http://schemas.openxmlformats.org/officeDocument/2006/relationships/slideLayout" Target="../slideLayouts/slideLayout5.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80.xml.rels><?xml version="1.0" encoding="UTF-8" standalone="yes"?>
<Relationships xmlns="http://schemas.openxmlformats.org/package/2006/relationships"><Relationship Id="rId3" Type="http://schemas.openxmlformats.org/officeDocument/2006/relationships/hyperlink" Target="https://www.mathsisfun.com/data/standard-deviation.html" TargetMode="External"/><Relationship Id="rId2" Type="http://schemas.openxmlformats.org/officeDocument/2006/relationships/hyperlink" Target="https://www.mathsisfun.com/mean.html" TargetMode="External"/><Relationship Id="rId1" Type="http://schemas.openxmlformats.org/officeDocument/2006/relationships/slideLayout" Target="../slideLayouts/slideLayout5.xml"/></Relationships>
</file>

<file path=ppt/slides/_rels/slide181.xml.rels><?xml version="1.0" encoding="UTF-8" standalone="yes"?>
<Relationships xmlns="http://schemas.openxmlformats.org/package/2006/relationships"><Relationship Id="rId2" Type="http://schemas.openxmlformats.org/officeDocument/2006/relationships/hyperlink" Target="https://www.mathsisfun.com/data/standard-deviation.html" TargetMode="External"/><Relationship Id="rId1" Type="http://schemas.openxmlformats.org/officeDocument/2006/relationships/slideLayout" Target="../slideLayouts/slideLayout5.xml"/></Relationships>
</file>

<file path=ppt/slides/_rels/slide182.xml.rels><?xml version="1.0" encoding="UTF-8" standalone="yes"?>
<Relationships xmlns="http://schemas.openxmlformats.org/package/2006/relationships"><Relationship Id="rId2" Type="http://schemas.openxmlformats.org/officeDocument/2006/relationships/image" Target="../media/image298.png"/><Relationship Id="rId1" Type="http://schemas.openxmlformats.org/officeDocument/2006/relationships/slideLayout" Target="../slideLayouts/slideLayout5.xml"/></Relationships>
</file>

<file path=ppt/slides/_rels/slide183.xml.rels><?xml version="1.0" encoding="UTF-8" standalone="yes"?>
<Relationships xmlns="http://schemas.openxmlformats.org/package/2006/relationships"><Relationship Id="rId2" Type="http://schemas.openxmlformats.org/officeDocument/2006/relationships/image" Target="../media/image299.png"/><Relationship Id="rId1" Type="http://schemas.openxmlformats.org/officeDocument/2006/relationships/slideLayout" Target="../slideLayouts/slideLayout5.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5.xml.rels><?xml version="1.0" encoding="UTF-8" standalone="yes"?>
<Relationships xmlns="http://schemas.openxmlformats.org/package/2006/relationships"><Relationship Id="rId2" Type="http://schemas.openxmlformats.org/officeDocument/2006/relationships/image" Target="../media/image300.png"/><Relationship Id="rId1" Type="http://schemas.openxmlformats.org/officeDocument/2006/relationships/slideLayout" Target="../slideLayouts/slideLayout5.xml"/></Relationships>
</file>

<file path=ppt/slides/_rels/slide186.xml.rels><?xml version="1.0" encoding="UTF-8" standalone="yes"?>
<Relationships xmlns="http://schemas.openxmlformats.org/package/2006/relationships"><Relationship Id="rId3" Type="http://schemas.openxmlformats.org/officeDocument/2006/relationships/image" Target="../media/image301.jpe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302.png"/><Relationship Id="rId4" Type="http://schemas.openxmlformats.org/officeDocument/2006/relationships/hyperlink" Target="https://www.pexels.com/photo/green-apple-lot-693794/" TargetMode="Externa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8.xml.rels><?xml version="1.0" encoding="UTF-8" standalone="yes"?>
<Relationships xmlns="http://schemas.openxmlformats.org/package/2006/relationships"><Relationship Id="rId2" Type="http://schemas.openxmlformats.org/officeDocument/2006/relationships/image" Target="../media/image303.png"/><Relationship Id="rId1" Type="http://schemas.openxmlformats.org/officeDocument/2006/relationships/slideLayout" Target="../slideLayouts/slideLayout5.xml"/></Relationships>
</file>

<file path=ppt/slides/_rels/slide189.xml.rels><?xml version="1.0" encoding="UTF-8" standalone="yes"?>
<Relationships xmlns="http://schemas.openxmlformats.org/package/2006/relationships"><Relationship Id="rId2" Type="http://schemas.openxmlformats.org/officeDocument/2006/relationships/image" Target="../media/image303.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1.xml.rels><?xml version="1.0" encoding="UTF-8" standalone="yes"?>
<Relationships xmlns="http://schemas.openxmlformats.org/package/2006/relationships"><Relationship Id="rId2" Type="http://schemas.openxmlformats.org/officeDocument/2006/relationships/image" Target="../media/image304.png"/><Relationship Id="rId1" Type="http://schemas.openxmlformats.org/officeDocument/2006/relationships/slideLayout" Target="../slideLayouts/slideLayout5.xml"/></Relationships>
</file>

<file path=ppt/slides/_rels/slide192.xml.rels><?xml version="1.0" encoding="UTF-8" standalone="yes"?>
<Relationships xmlns="http://schemas.openxmlformats.org/package/2006/relationships"><Relationship Id="rId3" Type="http://schemas.openxmlformats.org/officeDocument/2006/relationships/hyperlink" Target="https://incoglilo.blogspot.com/2011/08/toss-coin-to-make-important-decision.html" TargetMode="External"/><Relationship Id="rId2" Type="http://schemas.openxmlformats.org/officeDocument/2006/relationships/image" Target="../media/image305.jpg"/><Relationship Id="rId1" Type="http://schemas.openxmlformats.org/officeDocument/2006/relationships/slideLayout" Target="../slideLayouts/slideLayout5.xml"/></Relationships>
</file>

<file path=ppt/slides/_rels/slide193.xml.rels><?xml version="1.0" encoding="UTF-8" standalone="yes"?>
<Relationships xmlns="http://schemas.openxmlformats.org/package/2006/relationships"><Relationship Id="rId3" Type="http://schemas.openxmlformats.org/officeDocument/2006/relationships/hyperlink" Target="https://www.flickr.com/photos/icma/3635981474" TargetMode="External"/><Relationship Id="rId2" Type="http://schemas.openxmlformats.org/officeDocument/2006/relationships/image" Target="../media/image306.jpg"/><Relationship Id="rId1" Type="http://schemas.openxmlformats.org/officeDocument/2006/relationships/slideLayout" Target="../slideLayouts/slideLayout5.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7.jpg"/><Relationship Id="rId5" Type="http://schemas.openxmlformats.org/officeDocument/2006/relationships/notesSlide" Target="../notesSlides/notesSlide9.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7.xml.rels><?xml version="1.0" encoding="UTF-8" standalone="yes"?>
<Relationships xmlns="http://schemas.openxmlformats.org/package/2006/relationships"><Relationship Id="rId3" Type="http://schemas.openxmlformats.org/officeDocument/2006/relationships/customXml" Target="../ink/ink172.xml"/><Relationship Id="rId2" Type="http://schemas.openxmlformats.org/officeDocument/2006/relationships/image" Target="../media/image307.png"/><Relationship Id="rId1" Type="http://schemas.openxmlformats.org/officeDocument/2006/relationships/slideLayout" Target="../slideLayouts/slideLayout5.xml"/><Relationship Id="rId4" Type="http://schemas.openxmlformats.org/officeDocument/2006/relationships/image" Target="../media/image308.png"/></Relationships>
</file>

<file path=ppt/slides/_rels/slide198.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customXml" Target="../ink/ink173.xml"/><Relationship Id="rId1" Type="http://schemas.openxmlformats.org/officeDocument/2006/relationships/slideLayout" Target="../slideLayouts/slideLayout5.xml"/></Relationships>
</file>

<file path=ppt/slides/_rels/slide199.xml.rels><?xml version="1.0" encoding="UTF-8" standalone="yes"?>
<Relationships xmlns="http://schemas.openxmlformats.org/package/2006/relationships"><Relationship Id="rId3" Type="http://schemas.openxmlformats.org/officeDocument/2006/relationships/customXml" Target="../ink/ink174.xml"/><Relationship Id="rId2" Type="http://schemas.openxmlformats.org/officeDocument/2006/relationships/image" Target="../media/image311.png"/><Relationship Id="rId1" Type="http://schemas.openxmlformats.org/officeDocument/2006/relationships/slideLayout" Target="../slideLayouts/slideLayout5.xml"/><Relationship Id="rId4" Type="http://schemas.openxmlformats.org/officeDocument/2006/relationships/image" Target="../media/image312.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0.xml.rels><?xml version="1.0" encoding="UTF-8" standalone="yes"?>
<Relationships xmlns="http://schemas.openxmlformats.org/package/2006/relationships"><Relationship Id="rId3" Type="http://schemas.openxmlformats.org/officeDocument/2006/relationships/customXml" Target="../ink/ink175.xml"/><Relationship Id="rId2" Type="http://schemas.openxmlformats.org/officeDocument/2006/relationships/image" Target="../media/image313.png"/><Relationship Id="rId1" Type="http://schemas.openxmlformats.org/officeDocument/2006/relationships/slideLayout" Target="../slideLayouts/slideLayout5.xml"/><Relationship Id="rId4" Type="http://schemas.openxmlformats.org/officeDocument/2006/relationships/image" Target="../media/image314.png"/></Relationships>
</file>

<file path=ppt/slides/_rels/slide201.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customXml" Target="../ink/ink176.xml"/><Relationship Id="rId1" Type="http://schemas.openxmlformats.org/officeDocument/2006/relationships/slideLayout" Target="../slideLayouts/slideLayout5.xml"/></Relationships>
</file>

<file path=ppt/slides/_rels/slide202.xml.rels><?xml version="1.0" encoding="UTF-8" standalone="yes"?>
<Relationships xmlns="http://schemas.openxmlformats.org/package/2006/relationships"><Relationship Id="rId3" Type="http://schemas.openxmlformats.org/officeDocument/2006/relationships/image" Target="../media/image317.png"/><Relationship Id="rId2" Type="http://schemas.openxmlformats.org/officeDocument/2006/relationships/image" Target="../media/image316.png"/><Relationship Id="rId1" Type="http://schemas.openxmlformats.org/officeDocument/2006/relationships/slideLayout" Target="../slideLayouts/slideLayout5.xml"/><Relationship Id="rId6" Type="http://schemas.openxmlformats.org/officeDocument/2006/relationships/image" Target="../media/image319.png"/><Relationship Id="rId5" Type="http://schemas.openxmlformats.org/officeDocument/2006/relationships/customXml" Target="../ink/ink177.xml"/><Relationship Id="rId4" Type="http://schemas.openxmlformats.org/officeDocument/2006/relationships/image" Target="../media/image318.png"/></Relationships>
</file>

<file path=ppt/slides/_rels/slide203.xml.rels><?xml version="1.0" encoding="UTF-8" standalone="yes"?>
<Relationships xmlns="http://schemas.openxmlformats.org/package/2006/relationships"><Relationship Id="rId3" Type="http://schemas.openxmlformats.org/officeDocument/2006/relationships/customXml" Target="../ink/ink178.xml"/><Relationship Id="rId2" Type="http://schemas.openxmlformats.org/officeDocument/2006/relationships/image" Target="../media/image320.png"/><Relationship Id="rId1" Type="http://schemas.openxmlformats.org/officeDocument/2006/relationships/slideLayout" Target="../slideLayouts/slideLayout5.xml"/><Relationship Id="rId4" Type="http://schemas.openxmlformats.org/officeDocument/2006/relationships/image" Target="../media/image321.png"/></Relationships>
</file>

<file path=ppt/slides/_rels/slide204.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image" Target="../media/image322.png"/><Relationship Id="rId1" Type="http://schemas.openxmlformats.org/officeDocument/2006/relationships/slideLayout" Target="../slideLayouts/slideLayout5.xml"/><Relationship Id="rId5" Type="http://schemas.openxmlformats.org/officeDocument/2006/relationships/image" Target="../media/image324.png"/><Relationship Id="rId4" Type="http://schemas.openxmlformats.org/officeDocument/2006/relationships/customXml" Target="../ink/ink179.xml"/></Relationships>
</file>

<file path=ppt/slides/_rels/slide205.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customXml" Target="../ink/ink180.xml"/><Relationship Id="rId1" Type="http://schemas.openxmlformats.org/officeDocument/2006/relationships/slideLayout" Target="../slideLayouts/slideLayout5.xml"/></Relationships>
</file>

<file path=ppt/slides/_rels/slide206.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customXml" Target="../ink/ink181.xml"/><Relationship Id="rId1" Type="http://schemas.openxmlformats.org/officeDocument/2006/relationships/slideLayout" Target="../slideLayouts/slideLayout5.xml"/></Relationships>
</file>

<file path=ppt/slides/_rels/slide207.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customXml" Target="../ink/ink182.xml"/><Relationship Id="rId1" Type="http://schemas.openxmlformats.org/officeDocument/2006/relationships/slideLayout" Target="../slideLayouts/slideLayout5.xml"/></Relationships>
</file>

<file path=ppt/slides/_rels/slide208.xml.rels><?xml version="1.0" encoding="UTF-8" standalone="yes"?>
<Relationships xmlns="http://schemas.openxmlformats.org/package/2006/relationships"><Relationship Id="rId3" Type="http://schemas.openxmlformats.org/officeDocument/2006/relationships/customXml" Target="../ink/ink183.xml"/><Relationship Id="rId2" Type="http://schemas.openxmlformats.org/officeDocument/2006/relationships/image" Target="../media/image328.png"/><Relationship Id="rId1" Type="http://schemas.openxmlformats.org/officeDocument/2006/relationships/slideLayout" Target="../slideLayouts/slideLayout5.xml"/><Relationship Id="rId4" Type="http://schemas.openxmlformats.org/officeDocument/2006/relationships/image" Target="../media/image329.png"/></Relationships>
</file>

<file path=ppt/slides/_rels/slide20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2.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7.jpg"/><Relationship Id="rId5" Type="http://schemas.openxmlformats.org/officeDocument/2006/relationships/notesSlide" Target="../notesSlides/notesSlide10.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10.xml.rels><?xml version="1.0" encoding="UTF-8" standalone="yes"?>
<Relationships xmlns="http://schemas.openxmlformats.org/package/2006/relationships"><Relationship Id="rId3" Type="http://schemas.openxmlformats.org/officeDocument/2006/relationships/image" Target="../media/image330.JPG"/><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331.png"/><Relationship Id="rId5" Type="http://schemas.openxmlformats.org/officeDocument/2006/relationships/customXml" Target="../ink/ink184.xml"/><Relationship Id="rId4" Type="http://schemas.openxmlformats.org/officeDocument/2006/relationships/hyperlink" Target="http://john.measey.com/Blog/2018/03/28/How-to-write-a-hypothesis" TargetMode="External"/></Relationships>
</file>

<file path=ppt/slides/_rels/slide211.xml.rels><?xml version="1.0" encoding="UTF-8" standalone="yes"?>
<Relationships xmlns="http://schemas.openxmlformats.org/package/2006/relationships"><Relationship Id="rId3" Type="http://schemas.openxmlformats.org/officeDocument/2006/relationships/customXml" Target="../ink/ink185.xml"/><Relationship Id="rId2" Type="http://schemas.openxmlformats.org/officeDocument/2006/relationships/image" Target="../media/image332.png"/><Relationship Id="rId1" Type="http://schemas.openxmlformats.org/officeDocument/2006/relationships/slideLayout" Target="../slideLayouts/slideLayout9.xml"/><Relationship Id="rId4" Type="http://schemas.openxmlformats.org/officeDocument/2006/relationships/image" Target="../media/image333.png"/></Relationships>
</file>

<file path=ppt/slides/_rels/slide212.xml.rels><?xml version="1.0" encoding="UTF-8" standalone="yes"?>
<Relationships xmlns="http://schemas.openxmlformats.org/package/2006/relationships"><Relationship Id="rId3" Type="http://schemas.openxmlformats.org/officeDocument/2006/relationships/hyperlink" Target="http://www.grassrootsnorthshore.com/kinney_resigns_from_wec" TargetMode="External"/><Relationship Id="rId2" Type="http://schemas.openxmlformats.org/officeDocument/2006/relationships/image" Target="../media/image334.jpg"/><Relationship Id="rId1" Type="http://schemas.openxmlformats.org/officeDocument/2006/relationships/slideLayout" Target="../slideLayouts/slideLayout9.xml"/><Relationship Id="rId5" Type="http://schemas.openxmlformats.org/officeDocument/2006/relationships/image" Target="../media/image335.png"/><Relationship Id="rId4" Type="http://schemas.openxmlformats.org/officeDocument/2006/relationships/customXml" Target="../ink/ink186.xml"/></Relationships>
</file>

<file path=ppt/slides/_rels/slide213.xml.rels><?xml version="1.0" encoding="UTF-8" standalone="yes"?>
<Relationships xmlns="http://schemas.openxmlformats.org/package/2006/relationships"><Relationship Id="rId3" Type="http://schemas.openxmlformats.org/officeDocument/2006/relationships/image" Target="../media/image336.png"/><Relationship Id="rId2" Type="http://schemas.openxmlformats.org/officeDocument/2006/relationships/customXml" Target="../ink/ink187.xml"/><Relationship Id="rId1" Type="http://schemas.openxmlformats.org/officeDocument/2006/relationships/slideLayout" Target="../slideLayouts/slideLayout9.xml"/></Relationships>
</file>

<file path=ppt/slides/_rels/slide214.xml.rels><?xml version="1.0" encoding="UTF-8" standalone="yes"?>
<Relationships xmlns="http://schemas.openxmlformats.org/package/2006/relationships"><Relationship Id="rId3" Type="http://schemas.openxmlformats.org/officeDocument/2006/relationships/image" Target="../media/image337.png"/><Relationship Id="rId2" Type="http://schemas.openxmlformats.org/officeDocument/2006/relationships/customXml" Target="../ink/ink188.xml"/><Relationship Id="rId1" Type="http://schemas.openxmlformats.org/officeDocument/2006/relationships/slideLayout" Target="../slideLayouts/slideLayout9.xml"/></Relationships>
</file>

<file path=ppt/slides/_rels/slide215.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image" Target="../media/image338.png"/><Relationship Id="rId1" Type="http://schemas.openxmlformats.org/officeDocument/2006/relationships/slideLayout" Target="../slideLayouts/slideLayout9.xml"/><Relationship Id="rId5" Type="http://schemas.openxmlformats.org/officeDocument/2006/relationships/image" Target="../media/image340.png"/><Relationship Id="rId4" Type="http://schemas.openxmlformats.org/officeDocument/2006/relationships/customXml" Target="../ink/ink189.xml"/></Relationships>
</file>

<file path=ppt/slides/_rels/slide216.xml.rels><?xml version="1.0" encoding="UTF-8" standalone="yes"?>
<Relationships xmlns="http://schemas.openxmlformats.org/package/2006/relationships"><Relationship Id="rId3" Type="http://schemas.openxmlformats.org/officeDocument/2006/relationships/customXml" Target="../ink/ink190.xml"/><Relationship Id="rId2" Type="http://schemas.openxmlformats.org/officeDocument/2006/relationships/image" Target="../media/image341.emf"/><Relationship Id="rId1" Type="http://schemas.openxmlformats.org/officeDocument/2006/relationships/slideLayout" Target="../slideLayouts/slideLayout9.xml"/><Relationship Id="rId4" Type="http://schemas.openxmlformats.org/officeDocument/2006/relationships/image" Target="../media/image342.png"/></Relationships>
</file>

<file path=ppt/slides/_rels/slide217.xml.rels><?xml version="1.0" encoding="UTF-8" standalone="yes"?>
<Relationships xmlns="http://schemas.openxmlformats.org/package/2006/relationships"><Relationship Id="rId3" Type="http://schemas.openxmlformats.org/officeDocument/2006/relationships/customXml" Target="../ink/ink191.xml"/><Relationship Id="rId2" Type="http://schemas.openxmlformats.org/officeDocument/2006/relationships/image" Target="../media/image343.png"/><Relationship Id="rId1" Type="http://schemas.openxmlformats.org/officeDocument/2006/relationships/slideLayout" Target="../slideLayouts/slideLayout9.xml"/><Relationship Id="rId4" Type="http://schemas.openxmlformats.org/officeDocument/2006/relationships/image" Target="../media/image344.png"/></Relationships>
</file>

<file path=ppt/slides/_rels/slide218.xml.rels><?xml version="1.0" encoding="UTF-8" standalone="yes"?>
<Relationships xmlns="http://schemas.openxmlformats.org/package/2006/relationships"><Relationship Id="rId3" Type="http://schemas.openxmlformats.org/officeDocument/2006/relationships/customXml" Target="../ink/ink192.xml"/><Relationship Id="rId2" Type="http://schemas.openxmlformats.org/officeDocument/2006/relationships/image" Target="../media/image345.png"/><Relationship Id="rId1" Type="http://schemas.openxmlformats.org/officeDocument/2006/relationships/slideLayout" Target="../slideLayouts/slideLayout9.xml"/><Relationship Id="rId4" Type="http://schemas.openxmlformats.org/officeDocument/2006/relationships/image" Target="../media/image346.png"/></Relationships>
</file>

<file path=ppt/slides/_rels/slide219.xml.rels><?xml version="1.0" encoding="UTF-8" standalone="yes"?>
<Relationships xmlns="http://schemas.openxmlformats.org/package/2006/relationships"><Relationship Id="rId3" Type="http://schemas.openxmlformats.org/officeDocument/2006/relationships/customXml" Target="../ink/ink193.xml"/><Relationship Id="rId2" Type="http://schemas.openxmlformats.org/officeDocument/2006/relationships/image" Target="../media/image347.png"/><Relationship Id="rId1" Type="http://schemas.openxmlformats.org/officeDocument/2006/relationships/slideLayout" Target="../slideLayouts/slideLayout9.xml"/><Relationship Id="rId4" Type="http://schemas.openxmlformats.org/officeDocument/2006/relationships/image" Target="../media/image34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0.xml.rels><?xml version="1.0" encoding="UTF-8" standalone="yes"?>
<Relationships xmlns="http://schemas.openxmlformats.org/package/2006/relationships"><Relationship Id="rId3" Type="http://schemas.openxmlformats.org/officeDocument/2006/relationships/customXml" Target="../ink/ink194.xml"/><Relationship Id="rId2" Type="http://schemas.openxmlformats.org/officeDocument/2006/relationships/image" Target="../media/image349.png"/><Relationship Id="rId1" Type="http://schemas.openxmlformats.org/officeDocument/2006/relationships/slideLayout" Target="../slideLayouts/slideLayout9.xml"/><Relationship Id="rId4" Type="http://schemas.openxmlformats.org/officeDocument/2006/relationships/image" Target="../media/image350.png"/></Relationships>
</file>

<file path=ppt/slides/_rels/slide221.xml.rels><?xml version="1.0" encoding="UTF-8" standalone="yes"?>
<Relationships xmlns="http://schemas.openxmlformats.org/package/2006/relationships"><Relationship Id="rId3" Type="http://schemas.openxmlformats.org/officeDocument/2006/relationships/hyperlink" Target="http://www.mentefilosofica.com/2017/01/relativizando-los-test-de-coeficiencia.html" TargetMode="External"/><Relationship Id="rId2" Type="http://schemas.openxmlformats.org/officeDocument/2006/relationships/image" Target="../media/image351.jpg"/><Relationship Id="rId1" Type="http://schemas.openxmlformats.org/officeDocument/2006/relationships/slideLayout" Target="../slideLayouts/slideLayout9.xml"/><Relationship Id="rId5" Type="http://schemas.openxmlformats.org/officeDocument/2006/relationships/image" Target="../media/image352.png"/><Relationship Id="rId4" Type="http://schemas.openxmlformats.org/officeDocument/2006/relationships/customXml" Target="../ink/ink195.xml"/></Relationships>
</file>

<file path=ppt/slides/_rels/slide222.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customXml" Target="../ink/ink196.xml"/><Relationship Id="rId1" Type="http://schemas.openxmlformats.org/officeDocument/2006/relationships/slideLayout" Target="../slideLayouts/slideLayout9.xml"/></Relationships>
</file>

<file path=ppt/slides/_rels/slide223.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customXml" Target="../ink/ink197.xml"/><Relationship Id="rId1" Type="http://schemas.openxmlformats.org/officeDocument/2006/relationships/slideLayout" Target="../slideLayouts/slideLayout9.xml"/></Relationships>
</file>

<file path=ppt/slides/_rels/slide224.xml.rels><?xml version="1.0" encoding="UTF-8" standalone="yes"?>
<Relationships xmlns="http://schemas.openxmlformats.org/package/2006/relationships"><Relationship Id="rId3" Type="http://schemas.openxmlformats.org/officeDocument/2006/relationships/image" Target="../media/image356.emf"/><Relationship Id="rId2" Type="http://schemas.openxmlformats.org/officeDocument/2006/relationships/image" Target="../media/image355.png"/><Relationship Id="rId1" Type="http://schemas.openxmlformats.org/officeDocument/2006/relationships/slideLayout" Target="../slideLayouts/slideLayout9.xml"/><Relationship Id="rId5" Type="http://schemas.openxmlformats.org/officeDocument/2006/relationships/image" Target="../media/image357.png"/><Relationship Id="rId4" Type="http://schemas.openxmlformats.org/officeDocument/2006/relationships/customXml" Target="../ink/ink198.xml"/></Relationships>
</file>

<file path=ppt/slides/_rels/slide225.xml.rels><?xml version="1.0" encoding="UTF-8" standalone="yes"?>
<Relationships xmlns="http://schemas.openxmlformats.org/package/2006/relationships"><Relationship Id="rId3" Type="http://schemas.openxmlformats.org/officeDocument/2006/relationships/customXml" Target="../ink/ink199.xml"/><Relationship Id="rId2" Type="http://schemas.openxmlformats.org/officeDocument/2006/relationships/image" Target="../media/image358.png"/><Relationship Id="rId1" Type="http://schemas.openxmlformats.org/officeDocument/2006/relationships/slideLayout" Target="../slideLayouts/slideLayout9.xml"/><Relationship Id="rId4" Type="http://schemas.openxmlformats.org/officeDocument/2006/relationships/image" Target="../media/image359.png"/></Relationships>
</file>

<file path=ppt/slides/_rels/slide226.xml.rels><?xml version="1.0" encoding="UTF-8" standalone="yes"?>
<Relationships xmlns="http://schemas.openxmlformats.org/package/2006/relationships"><Relationship Id="rId3" Type="http://schemas.openxmlformats.org/officeDocument/2006/relationships/image" Target="../media/image360.png"/><Relationship Id="rId2" Type="http://schemas.openxmlformats.org/officeDocument/2006/relationships/image" Target="../media/image355.png"/><Relationship Id="rId1" Type="http://schemas.openxmlformats.org/officeDocument/2006/relationships/slideLayout" Target="../slideLayouts/slideLayout9.xml"/><Relationship Id="rId5" Type="http://schemas.openxmlformats.org/officeDocument/2006/relationships/image" Target="../media/image361.png"/><Relationship Id="rId4" Type="http://schemas.openxmlformats.org/officeDocument/2006/relationships/customXml" Target="../ink/ink200.xml"/></Relationships>
</file>

<file path=ppt/slides/_rels/slide227.xml.rels><?xml version="1.0" encoding="UTF-8" standalone="yes"?>
<Relationships xmlns="http://schemas.openxmlformats.org/package/2006/relationships"><Relationship Id="rId3" Type="http://schemas.openxmlformats.org/officeDocument/2006/relationships/image" Target="../media/image2380.png"/><Relationship Id="rId2" Type="http://schemas.openxmlformats.org/officeDocument/2006/relationships/customXml" Target="../ink/ink201.xml"/><Relationship Id="rId1" Type="http://schemas.openxmlformats.org/officeDocument/2006/relationships/slideLayout" Target="../slideLayouts/slideLayout9.xml"/><Relationship Id="rId6" Type="http://schemas.openxmlformats.org/officeDocument/2006/relationships/image" Target="../media/image363.png"/><Relationship Id="rId5" Type="http://schemas.openxmlformats.org/officeDocument/2006/relationships/customXml" Target="../ink/ink202.xml"/><Relationship Id="rId4" Type="http://schemas.openxmlformats.org/officeDocument/2006/relationships/image" Target="../media/image362.emf"/></Relationships>
</file>

<file path=ppt/slides/_rels/slide228.xml.rels><?xml version="1.0" encoding="UTF-8" standalone="yes"?>
<Relationships xmlns="http://schemas.openxmlformats.org/package/2006/relationships"><Relationship Id="rId3" Type="http://schemas.openxmlformats.org/officeDocument/2006/relationships/image" Target="../media/image364.png"/><Relationship Id="rId2" Type="http://schemas.openxmlformats.org/officeDocument/2006/relationships/customXml" Target="../ink/ink203.xml"/><Relationship Id="rId1" Type="http://schemas.openxmlformats.org/officeDocument/2006/relationships/slideLayout" Target="../slideLayouts/slideLayout9.xml"/></Relationships>
</file>

<file path=ppt/slides/_rels/slide229.xml.rels><?xml version="1.0" encoding="UTF-8" standalone="yes"?>
<Relationships xmlns="http://schemas.openxmlformats.org/package/2006/relationships"><Relationship Id="rId3" Type="http://schemas.openxmlformats.org/officeDocument/2006/relationships/hyperlink" Target="http://www.mentefilosofica.com/2017/01/relativizando-los-test-de-coeficiencia.html" TargetMode="External"/><Relationship Id="rId2" Type="http://schemas.openxmlformats.org/officeDocument/2006/relationships/image" Target="../media/image351.jp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30.xml.rels><?xml version="1.0" encoding="UTF-8" standalone="yes"?>
<Relationships xmlns="http://schemas.openxmlformats.org/package/2006/relationships"><Relationship Id="rId3" Type="http://schemas.openxmlformats.org/officeDocument/2006/relationships/customXml" Target="../ink/ink204.xml"/><Relationship Id="rId2" Type="http://schemas.openxmlformats.org/officeDocument/2006/relationships/image" Target="../media/image365.png"/><Relationship Id="rId1" Type="http://schemas.openxmlformats.org/officeDocument/2006/relationships/slideLayout" Target="../slideLayouts/slideLayout9.xml"/><Relationship Id="rId4" Type="http://schemas.openxmlformats.org/officeDocument/2006/relationships/image" Target="../media/image366.png"/></Relationships>
</file>

<file path=ppt/slides/_rels/slide231.xml.rels><?xml version="1.0" encoding="UTF-8" standalone="yes"?>
<Relationships xmlns="http://schemas.openxmlformats.org/package/2006/relationships"><Relationship Id="rId3" Type="http://schemas.openxmlformats.org/officeDocument/2006/relationships/customXml" Target="../ink/ink205.xml"/><Relationship Id="rId2" Type="http://schemas.openxmlformats.org/officeDocument/2006/relationships/image" Target="../media/image367.png"/><Relationship Id="rId1" Type="http://schemas.openxmlformats.org/officeDocument/2006/relationships/slideLayout" Target="../slideLayouts/slideLayout9.xml"/><Relationship Id="rId4" Type="http://schemas.openxmlformats.org/officeDocument/2006/relationships/image" Target="../media/image368.png"/></Relationships>
</file>

<file path=ppt/slides/_rels/slide232.xml.rels><?xml version="1.0" encoding="UTF-8" standalone="yes"?>
<Relationships xmlns="http://schemas.openxmlformats.org/package/2006/relationships"><Relationship Id="rId3" Type="http://schemas.openxmlformats.org/officeDocument/2006/relationships/customXml" Target="../ink/ink206.xml"/><Relationship Id="rId2" Type="http://schemas.openxmlformats.org/officeDocument/2006/relationships/image" Target="../media/image369.png"/><Relationship Id="rId1" Type="http://schemas.openxmlformats.org/officeDocument/2006/relationships/slideLayout" Target="../slideLayouts/slideLayout9.xml"/><Relationship Id="rId6" Type="http://schemas.openxmlformats.org/officeDocument/2006/relationships/image" Target="../media/image370.png"/><Relationship Id="rId5" Type="http://schemas.openxmlformats.org/officeDocument/2006/relationships/customXml" Target="../ink/ink207.xml"/><Relationship Id="rId4" Type="http://schemas.openxmlformats.org/officeDocument/2006/relationships/image" Target="../media/image2420.png"/></Relationships>
</file>

<file path=ppt/slides/_rels/slide233.xml.rels><?xml version="1.0" encoding="UTF-8" standalone="yes"?>
<Relationships xmlns="http://schemas.openxmlformats.org/package/2006/relationships"><Relationship Id="rId3" Type="http://schemas.openxmlformats.org/officeDocument/2006/relationships/customXml" Target="../ink/ink208.xml"/><Relationship Id="rId2" Type="http://schemas.openxmlformats.org/officeDocument/2006/relationships/image" Target="../media/image371.png"/><Relationship Id="rId1" Type="http://schemas.openxmlformats.org/officeDocument/2006/relationships/slideLayout" Target="../slideLayouts/slideLayout9.xml"/><Relationship Id="rId4" Type="http://schemas.openxmlformats.org/officeDocument/2006/relationships/image" Target="../media/image372.png"/></Relationships>
</file>

<file path=ppt/slides/_rels/slide234.xml.rels><?xml version="1.0" encoding="UTF-8" standalone="yes"?>
<Relationships xmlns="http://schemas.openxmlformats.org/package/2006/relationships"><Relationship Id="rId3" Type="http://schemas.openxmlformats.org/officeDocument/2006/relationships/image" Target="../media/image373.png"/><Relationship Id="rId2" Type="http://schemas.openxmlformats.org/officeDocument/2006/relationships/customXml" Target="../ink/ink209.xml"/><Relationship Id="rId1" Type="http://schemas.openxmlformats.org/officeDocument/2006/relationships/slideLayout" Target="../slideLayouts/slideLayout9.xml"/></Relationships>
</file>

<file path=ppt/slides/_rels/slide235.xml.rels><?xml version="1.0" encoding="UTF-8" standalone="yes"?>
<Relationships xmlns="http://schemas.openxmlformats.org/package/2006/relationships"><Relationship Id="rId3" Type="http://schemas.openxmlformats.org/officeDocument/2006/relationships/image" Target="../media/image374.png"/><Relationship Id="rId2" Type="http://schemas.openxmlformats.org/officeDocument/2006/relationships/customXml" Target="../ink/ink210.xml"/><Relationship Id="rId1" Type="http://schemas.openxmlformats.org/officeDocument/2006/relationships/slideLayout" Target="../slideLayouts/slideLayout9.xml"/></Relationships>
</file>

<file path=ppt/slides/_rels/slide236.xml.rels><?xml version="1.0" encoding="UTF-8" standalone="yes"?>
<Relationships xmlns="http://schemas.openxmlformats.org/package/2006/relationships"><Relationship Id="rId3" Type="http://schemas.openxmlformats.org/officeDocument/2006/relationships/image" Target="../media/image375.png"/><Relationship Id="rId2" Type="http://schemas.openxmlformats.org/officeDocument/2006/relationships/customXml" Target="../ink/ink211.xml"/><Relationship Id="rId1" Type="http://schemas.openxmlformats.org/officeDocument/2006/relationships/slideLayout" Target="../slideLayouts/slideLayout9.xml"/></Relationships>
</file>

<file path=ppt/slides/_rels/slide237.xml.rels><?xml version="1.0" encoding="UTF-8" standalone="yes"?>
<Relationships xmlns="http://schemas.openxmlformats.org/package/2006/relationships"><Relationship Id="rId3" Type="http://schemas.openxmlformats.org/officeDocument/2006/relationships/image" Target="../media/image376.png"/><Relationship Id="rId2" Type="http://schemas.openxmlformats.org/officeDocument/2006/relationships/customXml" Target="../ink/ink212.xml"/><Relationship Id="rId1" Type="http://schemas.openxmlformats.org/officeDocument/2006/relationships/slideLayout" Target="../slideLayouts/slideLayout9.xml"/></Relationships>
</file>

<file path=ppt/slides/_rels/slide238.xml.rels><?xml version="1.0" encoding="UTF-8" standalone="yes"?>
<Relationships xmlns="http://schemas.openxmlformats.org/package/2006/relationships"><Relationship Id="rId3" Type="http://schemas.openxmlformats.org/officeDocument/2006/relationships/image" Target="../media/image378.png"/><Relationship Id="rId2" Type="http://schemas.openxmlformats.org/officeDocument/2006/relationships/image" Target="../media/image377.png"/><Relationship Id="rId1" Type="http://schemas.openxmlformats.org/officeDocument/2006/relationships/slideLayout" Target="../slideLayouts/slideLayout9.xml"/><Relationship Id="rId5" Type="http://schemas.openxmlformats.org/officeDocument/2006/relationships/image" Target="../media/image379.png"/><Relationship Id="rId4" Type="http://schemas.openxmlformats.org/officeDocument/2006/relationships/customXml" Target="../ink/ink213.xml"/></Relationships>
</file>

<file path=ppt/slides/_rels/slide239.xml.rels><?xml version="1.0" encoding="UTF-8" standalone="yes"?>
<Relationships xmlns="http://schemas.openxmlformats.org/package/2006/relationships"><Relationship Id="rId3" Type="http://schemas.openxmlformats.org/officeDocument/2006/relationships/customXml" Target="../ink/ink214.xml"/><Relationship Id="rId2" Type="http://schemas.openxmlformats.org/officeDocument/2006/relationships/image" Target="../media/image380.png"/><Relationship Id="rId1" Type="http://schemas.openxmlformats.org/officeDocument/2006/relationships/slideLayout" Target="../slideLayouts/slideLayout9.xml"/><Relationship Id="rId4" Type="http://schemas.openxmlformats.org/officeDocument/2006/relationships/image" Target="../media/image381.png"/></Relationships>
</file>

<file path=ppt/slides/_rels/slide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40.xml.rels><?xml version="1.0" encoding="UTF-8" standalone="yes"?>
<Relationships xmlns="http://schemas.openxmlformats.org/package/2006/relationships"><Relationship Id="rId3" Type="http://schemas.openxmlformats.org/officeDocument/2006/relationships/image" Target="../media/image383.png"/><Relationship Id="rId7" Type="http://schemas.openxmlformats.org/officeDocument/2006/relationships/image" Target="../media/image385.png"/><Relationship Id="rId2" Type="http://schemas.openxmlformats.org/officeDocument/2006/relationships/image" Target="../media/image382.png"/><Relationship Id="rId1" Type="http://schemas.openxmlformats.org/officeDocument/2006/relationships/slideLayout" Target="../slideLayouts/slideLayout9.xml"/><Relationship Id="rId6" Type="http://schemas.openxmlformats.org/officeDocument/2006/relationships/customXml" Target="../ink/ink216.xml"/><Relationship Id="rId5" Type="http://schemas.openxmlformats.org/officeDocument/2006/relationships/image" Target="../media/image384.png"/><Relationship Id="rId4" Type="http://schemas.openxmlformats.org/officeDocument/2006/relationships/customXml" Target="../ink/ink215.xml"/></Relationships>
</file>

<file path=ppt/slides/_rels/slide241.xml.rels><?xml version="1.0" encoding="UTF-8" standalone="yes"?>
<Relationships xmlns="http://schemas.openxmlformats.org/package/2006/relationships"><Relationship Id="rId8" Type="http://schemas.openxmlformats.org/officeDocument/2006/relationships/customXml" Target="../ink/ink219.xml"/><Relationship Id="rId3" Type="http://schemas.openxmlformats.org/officeDocument/2006/relationships/customXml" Target="../ink/ink217.xml"/><Relationship Id="rId7" Type="http://schemas.openxmlformats.org/officeDocument/2006/relationships/image" Target="../media/image388.emf"/><Relationship Id="rId2" Type="http://schemas.openxmlformats.org/officeDocument/2006/relationships/image" Target="../media/image386.png"/><Relationship Id="rId1" Type="http://schemas.openxmlformats.org/officeDocument/2006/relationships/slideLayout" Target="../slideLayouts/slideLayout9.xml"/><Relationship Id="rId6" Type="http://schemas.openxmlformats.org/officeDocument/2006/relationships/image" Target="../media/image387.png"/><Relationship Id="rId5" Type="http://schemas.openxmlformats.org/officeDocument/2006/relationships/customXml" Target="../ink/ink218.xml"/><Relationship Id="rId4" Type="http://schemas.openxmlformats.org/officeDocument/2006/relationships/image" Target="../media/image2500.png"/><Relationship Id="rId9" Type="http://schemas.openxmlformats.org/officeDocument/2006/relationships/image" Target="../media/image389.png"/></Relationships>
</file>

<file path=ppt/slides/_rels/slide242.xml.rels><?xml version="1.0" encoding="UTF-8" standalone="yes"?>
<Relationships xmlns="http://schemas.openxmlformats.org/package/2006/relationships"><Relationship Id="rId3" Type="http://schemas.openxmlformats.org/officeDocument/2006/relationships/image" Target="../media/image390.png"/><Relationship Id="rId2" Type="http://schemas.openxmlformats.org/officeDocument/2006/relationships/customXml" Target="../ink/ink220.xml"/><Relationship Id="rId1" Type="http://schemas.openxmlformats.org/officeDocument/2006/relationships/slideLayout" Target="../slideLayouts/slideLayout9.xml"/></Relationships>
</file>

<file path=ppt/slides/_rels/slide243.xml.rels><?xml version="1.0" encoding="UTF-8" standalone="yes"?>
<Relationships xmlns="http://schemas.openxmlformats.org/package/2006/relationships"><Relationship Id="rId3" Type="http://schemas.openxmlformats.org/officeDocument/2006/relationships/customXml" Target="../ink/ink221.xml"/><Relationship Id="rId2" Type="http://schemas.openxmlformats.org/officeDocument/2006/relationships/image" Target="../media/image391.png"/><Relationship Id="rId1" Type="http://schemas.openxmlformats.org/officeDocument/2006/relationships/slideLayout" Target="../slideLayouts/slideLayout9.xml"/><Relationship Id="rId4" Type="http://schemas.openxmlformats.org/officeDocument/2006/relationships/image" Target="../media/image392.png"/></Relationships>
</file>

<file path=ppt/slides/_rels/slide244.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notesSlide" Target="../notesSlides/notesSlide12.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245.xml.rels><?xml version="1.0" encoding="UTF-8" standalone="yes"?>
<Relationships xmlns="http://schemas.openxmlformats.org/package/2006/relationships"><Relationship Id="rId3" Type="http://schemas.openxmlformats.org/officeDocument/2006/relationships/image" Target="../media/image393.png"/><Relationship Id="rId2" Type="http://schemas.openxmlformats.org/officeDocument/2006/relationships/customXml" Target="../ink/ink222.xml"/><Relationship Id="rId1" Type="http://schemas.openxmlformats.org/officeDocument/2006/relationships/slideLayout" Target="../slideLayouts/slideLayout9.xml"/></Relationships>
</file>

<file path=ppt/slides/_rels/slide246.xml.rels><?xml version="1.0" encoding="UTF-8" standalone="yes"?>
<Relationships xmlns="http://schemas.openxmlformats.org/package/2006/relationships"><Relationship Id="rId3" Type="http://schemas.openxmlformats.org/officeDocument/2006/relationships/image" Target="../media/image394.png"/><Relationship Id="rId2" Type="http://schemas.openxmlformats.org/officeDocument/2006/relationships/customXml" Target="../ink/ink223.xml"/><Relationship Id="rId1" Type="http://schemas.openxmlformats.org/officeDocument/2006/relationships/slideLayout" Target="../slideLayouts/slideLayout9.xml"/></Relationships>
</file>

<file path=ppt/slides/_rels/slide247.xml.rels><?xml version="1.0" encoding="UTF-8" standalone="yes"?>
<Relationships xmlns="http://schemas.openxmlformats.org/package/2006/relationships"><Relationship Id="rId3" Type="http://schemas.openxmlformats.org/officeDocument/2006/relationships/customXml" Target="../ink/ink224.xml"/><Relationship Id="rId2" Type="http://schemas.openxmlformats.org/officeDocument/2006/relationships/image" Target="../media/image395.png"/><Relationship Id="rId1" Type="http://schemas.openxmlformats.org/officeDocument/2006/relationships/slideLayout" Target="../slideLayouts/slideLayout9.xml"/><Relationship Id="rId4" Type="http://schemas.openxmlformats.org/officeDocument/2006/relationships/image" Target="../media/image396.png"/></Relationships>
</file>

<file path=ppt/slides/_rels/slide248.xml.rels><?xml version="1.0" encoding="UTF-8" standalone="yes"?>
<Relationships xmlns="http://schemas.openxmlformats.org/package/2006/relationships"><Relationship Id="rId3" Type="http://schemas.openxmlformats.org/officeDocument/2006/relationships/image" Target="../media/image398.png"/><Relationship Id="rId2" Type="http://schemas.openxmlformats.org/officeDocument/2006/relationships/image" Target="../media/image397.png"/><Relationship Id="rId1" Type="http://schemas.openxmlformats.org/officeDocument/2006/relationships/slideLayout" Target="../slideLayouts/slideLayout9.xml"/><Relationship Id="rId5" Type="http://schemas.openxmlformats.org/officeDocument/2006/relationships/image" Target="../media/image399.png"/><Relationship Id="rId4" Type="http://schemas.openxmlformats.org/officeDocument/2006/relationships/customXml" Target="../ink/ink225.xml"/></Relationships>
</file>

<file path=ppt/slides/_rels/slide249.xml.rels><?xml version="1.0" encoding="UTF-8" standalone="yes"?>
<Relationships xmlns="http://schemas.openxmlformats.org/package/2006/relationships"><Relationship Id="rId3" Type="http://schemas.openxmlformats.org/officeDocument/2006/relationships/image" Target="../media/image401.png"/><Relationship Id="rId2" Type="http://schemas.openxmlformats.org/officeDocument/2006/relationships/image" Target="../media/image400.png"/><Relationship Id="rId1" Type="http://schemas.openxmlformats.org/officeDocument/2006/relationships/slideLayout" Target="../slideLayouts/slideLayout9.xml"/><Relationship Id="rId5" Type="http://schemas.openxmlformats.org/officeDocument/2006/relationships/image" Target="../media/image402.png"/><Relationship Id="rId4" Type="http://schemas.openxmlformats.org/officeDocument/2006/relationships/customXml" Target="../ink/ink226.xml"/></Relationships>
</file>

<file path=ppt/slides/_rels/slide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50.xml.rels><?xml version="1.0" encoding="UTF-8" standalone="yes"?>
<Relationships xmlns="http://schemas.openxmlformats.org/package/2006/relationships"><Relationship Id="rId3" Type="http://schemas.openxmlformats.org/officeDocument/2006/relationships/image" Target="../media/image397.png"/><Relationship Id="rId2" Type="http://schemas.openxmlformats.org/officeDocument/2006/relationships/image" Target="../media/image403.emf"/><Relationship Id="rId1" Type="http://schemas.openxmlformats.org/officeDocument/2006/relationships/slideLayout" Target="../slideLayouts/slideLayout9.xml"/><Relationship Id="rId6" Type="http://schemas.openxmlformats.org/officeDocument/2006/relationships/image" Target="../media/image404.png"/><Relationship Id="rId5" Type="http://schemas.openxmlformats.org/officeDocument/2006/relationships/customXml" Target="../ink/ink227.xml"/><Relationship Id="rId4" Type="http://schemas.openxmlformats.org/officeDocument/2006/relationships/image" Target="../media/image398.png"/></Relationships>
</file>

<file path=ppt/slides/_rels/slide251.xml.rels><?xml version="1.0" encoding="UTF-8" standalone="yes"?>
<Relationships xmlns="http://schemas.openxmlformats.org/package/2006/relationships"><Relationship Id="rId3" Type="http://schemas.openxmlformats.org/officeDocument/2006/relationships/image" Target="../media/image406.png"/><Relationship Id="rId2" Type="http://schemas.openxmlformats.org/officeDocument/2006/relationships/image" Target="../media/image405.png"/><Relationship Id="rId1" Type="http://schemas.openxmlformats.org/officeDocument/2006/relationships/slideLayout" Target="../slideLayouts/slideLayout9.xml"/><Relationship Id="rId5" Type="http://schemas.openxmlformats.org/officeDocument/2006/relationships/image" Target="../media/image407.png"/><Relationship Id="rId4" Type="http://schemas.openxmlformats.org/officeDocument/2006/relationships/customXml" Target="../ink/ink228.xml"/></Relationships>
</file>

<file path=ppt/slides/_rels/slide252.xml.rels><?xml version="1.0" encoding="UTF-8" standalone="yes"?>
<Relationships xmlns="http://schemas.openxmlformats.org/package/2006/relationships"><Relationship Id="rId3" Type="http://schemas.openxmlformats.org/officeDocument/2006/relationships/customXml" Target="../ink/ink229.xml"/><Relationship Id="rId2" Type="http://schemas.openxmlformats.org/officeDocument/2006/relationships/image" Target="../media/image408.png"/><Relationship Id="rId1" Type="http://schemas.openxmlformats.org/officeDocument/2006/relationships/slideLayout" Target="../slideLayouts/slideLayout9.xml"/><Relationship Id="rId4" Type="http://schemas.openxmlformats.org/officeDocument/2006/relationships/image" Target="../media/image409.png"/></Relationships>
</file>

<file path=ppt/slides/_rels/slide253.xml.rels><?xml version="1.0" encoding="UTF-8" standalone="yes"?>
<Relationships xmlns="http://schemas.openxmlformats.org/package/2006/relationships"><Relationship Id="rId3" Type="http://schemas.openxmlformats.org/officeDocument/2006/relationships/image" Target="../media/image411.png"/><Relationship Id="rId2" Type="http://schemas.openxmlformats.org/officeDocument/2006/relationships/image" Target="../media/image410.png"/><Relationship Id="rId1" Type="http://schemas.openxmlformats.org/officeDocument/2006/relationships/slideLayout" Target="../slideLayouts/slideLayout9.xml"/><Relationship Id="rId5" Type="http://schemas.openxmlformats.org/officeDocument/2006/relationships/image" Target="../media/image412.png"/><Relationship Id="rId4" Type="http://schemas.openxmlformats.org/officeDocument/2006/relationships/customXml" Target="../ink/ink230.xml"/></Relationships>
</file>

<file path=ppt/slides/_rels/slide254.xml.rels><?xml version="1.0" encoding="UTF-8" standalone="yes"?>
<Relationships xmlns="http://schemas.openxmlformats.org/package/2006/relationships"><Relationship Id="rId3" Type="http://schemas.openxmlformats.org/officeDocument/2006/relationships/image" Target="../media/image413.png"/><Relationship Id="rId2" Type="http://schemas.openxmlformats.org/officeDocument/2006/relationships/customXml" Target="../ink/ink231.xml"/><Relationship Id="rId1" Type="http://schemas.openxmlformats.org/officeDocument/2006/relationships/slideLayout" Target="../slideLayouts/slideLayout9.xml"/></Relationships>
</file>

<file path=ppt/slides/_rels/slide255.xml.rels><?xml version="1.0" encoding="UTF-8" standalone="yes"?>
<Relationships xmlns="http://schemas.openxmlformats.org/package/2006/relationships"><Relationship Id="rId3" Type="http://schemas.openxmlformats.org/officeDocument/2006/relationships/image" Target="../media/image414.png"/><Relationship Id="rId2" Type="http://schemas.openxmlformats.org/officeDocument/2006/relationships/notesSlide" Target="../notesSlides/notesSlide13.xml"/><Relationship Id="rId1" Type="http://schemas.openxmlformats.org/officeDocument/2006/relationships/slideLayout" Target="../slideLayouts/slideLayout9.xml"/><Relationship Id="rId5" Type="http://schemas.openxmlformats.org/officeDocument/2006/relationships/image" Target="../media/image415.png"/><Relationship Id="rId4" Type="http://schemas.openxmlformats.org/officeDocument/2006/relationships/customXml" Target="../ink/ink232.xml"/></Relationships>
</file>

<file path=ppt/slides/_rels/slide256.xml.rels><?xml version="1.0" encoding="UTF-8" standalone="yes"?>
<Relationships xmlns="http://schemas.openxmlformats.org/package/2006/relationships"><Relationship Id="rId3" Type="http://schemas.openxmlformats.org/officeDocument/2006/relationships/image" Target="../media/image416.png"/><Relationship Id="rId2" Type="http://schemas.openxmlformats.org/officeDocument/2006/relationships/customXml" Target="../ink/ink233.xml"/><Relationship Id="rId1" Type="http://schemas.openxmlformats.org/officeDocument/2006/relationships/slideLayout" Target="../slideLayouts/slideLayout9.xml"/></Relationships>
</file>

<file path=ppt/slides/_rels/slide257.xml.rels><?xml version="1.0" encoding="UTF-8" standalone="yes"?>
<Relationships xmlns="http://schemas.openxmlformats.org/package/2006/relationships"><Relationship Id="rId3" Type="http://schemas.openxmlformats.org/officeDocument/2006/relationships/image" Target="../media/image417.png"/><Relationship Id="rId2" Type="http://schemas.openxmlformats.org/officeDocument/2006/relationships/customXml" Target="../ink/ink234.xml"/><Relationship Id="rId1" Type="http://schemas.openxmlformats.org/officeDocument/2006/relationships/slideLayout" Target="../slideLayouts/slideLayout9.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hyperlink" Target="http://capitalcurrent.ca/opioid-overdoses-dwarf-covid-19/" TargetMode="External"/><Relationship Id="rId2" Type="http://schemas.openxmlformats.org/officeDocument/2006/relationships/image" Target="../media/image21.jpg"/><Relationship Id="rId1" Type="http://schemas.openxmlformats.org/officeDocument/2006/relationships/slideLayout" Target="../slideLayouts/slideLayout4.xml"/><Relationship Id="rId4" Type="http://schemas.openxmlformats.org/officeDocument/2006/relationships/hyperlink" Target="https://creativecommons.org/licenses/by-nc-nd/3.0/" TargetMode="Externa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61.xml.rels><?xml version="1.0" encoding="UTF-8" standalone="yes"?>
<Relationships xmlns="http://schemas.openxmlformats.org/package/2006/relationships"><Relationship Id="rId3" Type="http://schemas.openxmlformats.org/officeDocument/2006/relationships/hyperlink" Target="https://www.scribbr.com/statistics/standard-deviation/" TargetMode="External"/><Relationship Id="rId2" Type="http://schemas.openxmlformats.org/officeDocument/2006/relationships/hyperlink" Target="https://www.scribbr.com/methodology/population-vs-sample/" TargetMode="External"/><Relationship Id="rId1" Type="http://schemas.openxmlformats.org/officeDocument/2006/relationships/slideLayout" Target="../slideLayouts/slideLayout2.xml"/><Relationship Id="rId5" Type="http://schemas.openxmlformats.org/officeDocument/2006/relationships/image" Target="../media/image418.png"/><Relationship Id="rId4" Type="http://schemas.openxmlformats.org/officeDocument/2006/relationships/hyperlink" Target="https://www.scribbr.com/statistics/variability/" TargetMode="External"/></Relationships>
</file>

<file path=ppt/slides/_rels/slide2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3.xml.rels><?xml version="1.0" encoding="UTF-8" standalone="yes"?>
<Relationships xmlns="http://schemas.openxmlformats.org/package/2006/relationships"><Relationship Id="rId2" Type="http://schemas.openxmlformats.org/officeDocument/2006/relationships/image" Target="../media/image419.png"/><Relationship Id="rId1" Type="http://schemas.openxmlformats.org/officeDocument/2006/relationships/slideLayout" Target="../slideLayouts/slideLayout9.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5.xml.rels><?xml version="1.0" encoding="UTF-8" standalone="yes"?>
<Relationships xmlns="http://schemas.openxmlformats.org/package/2006/relationships"><Relationship Id="rId2" Type="http://schemas.openxmlformats.org/officeDocument/2006/relationships/image" Target="../media/image420.png"/><Relationship Id="rId1" Type="http://schemas.openxmlformats.org/officeDocument/2006/relationships/slideLayout" Target="../slideLayouts/slideLayout9.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8.xml.rels><?xml version="1.0" encoding="UTF-8" standalone="yes"?>
<Relationships xmlns="http://schemas.openxmlformats.org/package/2006/relationships"><Relationship Id="rId2" Type="http://schemas.openxmlformats.org/officeDocument/2006/relationships/hyperlink" Target="https://www.statisticshowto.com/probability-and-statistics/probability-main-index/" TargetMode="External"/><Relationship Id="rId1" Type="http://schemas.openxmlformats.org/officeDocument/2006/relationships/slideLayout" Target="../slideLayouts/slideLayout9.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0.xml.rels><?xml version="1.0" encoding="UTF-8" standalone="yes"?>
<Relationships xmlns="http://schemas.openxmlformats.org/package/2006/relationships"><Relationship Id="rId8" Type="http://schemas.openxmlformats.org/officeDocument/2006/relationships/hyperlink" Target="https://365datascience.com/" TargetMode="External"/><Relationship Id="rId13" Type="http://schemas.openxmlformats.org/officeDocument/2006/relationships/hyperlink" Target="https://probabilityandstatistics.com/white-papers/" TargetMode="External"/><Relationship Id="rId3" Type="http://schemas.openxmlformats.org/officeDocument/2006/relationships/hyperlink" Target="https://datascience.foundation/sciencewhitepaper" TargetMode="External"/><Relationship Id="rId7" Type="http://schemas.openxmlformats.org/officeDocument/2006/relationships/hyperlink" Target="https://www.scribbr.com/" TargetMode="External"/><Relationship Id="rId12" Type="http://schemas.openxmlformats.org/officeDocument/2006/relationships/hyperlink" Target="https://support.minitab.com/" TargetMode="External"/><Relationship Id="rId2" Type="http://schemas.openxmlformats.org/officeDocument/2006/relationships/hyperlink" Target="https://www.statisticshowto.com/" TargetMode="External"/><Relationship Id="rId1" Type="http://schemas.openxmlformats.org/officeDocument/2006/relationships/slideLayout" Target="../slideLayouts/slideLayout5.xml"/><Relationship Id="rId6" Type="http://schemas.openxmlformats.org/officeDocument/2006/relationships/hyperlink" Target="https://www.investopedia.com/" TargetMode="External"/><Relationship Id="rId11" Type="http://schemas.openxmlformats.org/officeDocument/2006/relationships/hyperlink" Target="https://www.montana.edu/rotella/documents/502/BinomDist.html" TargetMode="External"/><Relationship Id="rId5" Type="http://schemas.openxmlformats.org/officeDocument/2006/relationships/hyperlink" Target="https://www.mathsisfun.com/" TargetMode="External"/><Relationship Id="rId10" Type="http://schemas.openxmlformats.org/officeDocument/2006/relationships/hyperlink" Target="https://www.bluepiit.com/whitepaper/" TargetMode="External"/><Relationship Id="rId4" Type="http://schemas.openxmlformats.org/officeDocument/2006/relationships/hyperlink" Target="https://towardsdatascience.com/" TargetMode="External"/><Relationship Id="rId9" Type="http://schemas.openxmlformats.org/officeDocument/2006/relationships/hyperlink" Target="https://www.analyticsvidhya.com/" TargetMode="External"/></Relationships>
</file>

<file path=ppt/slides/_rels/slide271.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2.bin"/><Relationship Id="rId5" Type="http://schemas.openxmlformats.org/officeDocument/2006/relationships/notesSlide" Target="../notesSlides/notesSlide15.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272.xml.rels><?xml version="1.0" encoding="UTF-8" standalone="yes"?>
<Relationships xmlns="http://schemas.openxmlformats.org/package/2006/relationships"><Relationship Id="rId2" Type="http://schemas.openxmlformats.org/officeDocument/2006/relationships/image" Target="../media/image421.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hyperlink" Target="https://www.peakpx.com/1988/weather-forecast" TargetMode="External"/><Relationship Id="rId7" Type="http://schemas.openxmlformats.org/officeDocument/2006/relationships/hyperlink" Target="https://www.quoteinspector.com/free-images/" TargetMode="External"/><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6.jpeg"/><Relationship Id="rId11" Type="http://schemas.openxmlformats.org/officeDocument/2006/relationships/hyperlink" Target="https://www.flickr.com/photos/brusselsairport/38822732482" TargetMode="External"/><Relationship Id="rId5" Type="http://schemas.openxmlformats.org/officeDocument/2006/relationships/hyperlink" Target="https://journalistsresource.org/tag/election-beat-2020/" TargetMode="External"/><Relationship Id="rId10" Type="http://schemas.openxmlformats.org/officeDocument/2006/relationships/image" Target="../media/image8.jpeg"/><Relationship Id="rId4" Type="http://schemas.openxmlformats.org/officeDocument/2006/relationships/image" Target="../media/image5.png"/><Relationship Id="rId9" Type="http://schemas.openxmlformats.org/officeDocument/2006/relationships/hyperlink" Target="http://dangerouslee.biz/insurance-agency-seo/"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hyperlink" Target="https://blog.scielo.org/en/2015/03/27/peer-review-modalities-pros-and-cons/" TargetMode="External"/><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7.jpg"/><Relationship Id="rId5" Type="http://schemas.openxmlformats.org/officeDocument/2006/relationships/notesSlide" Target="../notesSlides/notesSlide4.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hyperlink" Target="https://www.publicdomainpictures.net/view-image.php?image=176108&amp;picture=fast-sport-car" TargetMode="External"/><Relationship Id="rId2" Type="http://schemas.openxmlformats.org/officeDocument/2006/relationships/image" Target="../media/image29.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flickr.com/photos/emptyjames/4768555013" TargetMode="External"/><Relationship Id="rId2" Type="http://schemas.openxmlformats.org/officeDocument/2006/relationships/image" Target="../media/image30.jpe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hyperlink" Target="http://www.publicdomainpictures.net/view-image.php?image=120577&amp;picture=forklift-truck-loading-up" TargetMode="External"/><Relationship Id="rId2" Type="http://schemas.openxmlformats.org/officeDocument/2006/relationships/image" Target="../media/image32.jpe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6" Type="http://schemas.openxmlformats.org/officeDocument/2006/relationships/image" Target="../media/image42.png"/><Relationship Id="rId21" Type="http://schemas.openxmlformats.org/officeDocument/2006/relationships/customXml" Target="../ink/ink10.xml"/><Relationship Id="rId42" Type="http://schemas.openxmlformats.org/officeDocument/2006/relationships/image" Target="../media/image50.png"/><Relationship Id="rId47" Type="http://schemas.openxmlformats.org/officeDocument/2006/relationships/customXml" Target="../ink/ink23.xml"/><Relationship Id="rId63" Type="http://schemas.openxmlformats.org/officeDocument/2006/relationships/customXml" Target="../ink/ink31.xml"/><Relationship Id="rId68" Type="http://schemas.openxmlformats.org/officeDocument/2006/relationships/image" Target="../media/image63.png"/><Relationship Id="rId2" Type="http://schemas.openxmlformats.org/officeDocument/2006/relationships/image" Target="../media/image33.png"/><Relationship Id="rId16" Type="http://schemas.openxmlformats.org/officeDocument/2006/relationships/image" Target="../media/image37.png"/><Relationship Id="rId29" Type="http://schemas.openxmlformats.org/officeDocument/2006/relationships/customXml" Target="../ink/ink14.xml"/><Relationship Id="rId11" Type="http://schemas.openxmlformats.org/officeDocument/2006/relationships/customXml" Target="../ink/ink5.xml"/><Relationship Id="rId24" Type="http://schemas.openxmlformats.org/officeDocument/2006/relationships/image" Target="../media/image41.png"/><Relationship Id="rId32" Type="http://schemas.openxmlformats.org/officeDocument/2006/relationships/image" Target="../media/image45.png"/><Relationship Id="rId37" Type="http://schemas.openxmlformats.org/officeDocument/2006/relationships/customXml" Target="../ink/ink18.xml"/><Relationship Id="rId40" Type="http://schemas.openxmlformats.org/officeDocument/2006/relationships/image" Target="../media/image49.png"/><Relationship Id="rId45" Type="http://schemas.openxmlformats.org/officeDocument/2006/relationships/customXml" Target="../ink/ink22.xml"/><Relationship Id="rId53" Type="http://schemas.openxmlformats.org/officeDocument/2006/relationships/customXml" Target="../ink/ink26.xml"/><Relationship Id="rId58" Type="http://schemas.openxmlformats.org/officeDocument/2006/relationships/image" Target="../media/image58.png"/><Relationship Id="rId66" Type="http://schemas.openxmlformats.org/officeDocument/2006/relationships/image" Target="../media/image62.png"/><Relationship Id="rId74" Type="http://schemas.openxmlformats.org/officeDocument/2006/relationships/image" Target="../media/image66.png"/><Relationship Id="rId5" Type="http://schemas.openxmlformats.org/officeDocument/2006/relationships/customXml" Target="../ink/ink2.xml"/><Relationship Id="rId61" Type="http://schemas.openxmlformats.org/officeDocument/2006/relationships/customXml" Target="../ink/ink30.xml"/><Relationship Id="rId19" Type="http://schemas.openxmlformats.org/officeDocument/2006/relationships/customXml" Target="../ink/ink9.xml"/><Relationship Id="rId14" Type="http://schemas.openxmlformats.org/officeDocument/2006/relationships/image" Target="../media/image36.png"/><Relationship Id="rId22" Type="http://schemas.openxmlformats.org/officeDocument/2006/relationships/image" Target="../media/image40.png"/><Relationship Id="rId27" Type="http://schemas.openxmlformats.org/officeDocument/2006/relationships/customXml" Target="../ink/ink13.xml"/><Relationship Id="rId30" Type="http://schemas.openxmlformats.org/officeDocument/2006/relationships/image" Target="../media/image44.png"/><Relationship Id="rId35" Type="http://schemas.openxmlformats.org/officeDocument/2006/relationships/customXml" Target="../ink/ink17.xml"/><Relationship Id="rId43" Type="http://schemas.openxmlformats.org/officeDocument/2006/relationships/customXml" Target="../ink/ink21.xml"/><Relationship Id="rId48" Type="http://schemas.openxmlformats.org/officeDocument/2006/relationships/image" Target="../media/image53.png"/><Relationship Id="rId56" Type="http://schemas.openxmlformats.org/officeDocument/2006/relationships/image" Target="../media/image57.png"/><Relationship Id="rId64" Type="http://schemas.openxmlformats.org/officeDocument/2006/relationships/image" Target="../media/image61.png"/><Relationship Id="rId69" Type="http://schemas.openxmlformats.org/officeDocument/2006/relationships/customXml" Target="../ink/ink34.xml"/><Relationship Id="rId8" Type="http://schemas.openxmlformats.org/officeDocument/2006/relationships/image" Target="../media/image330.png"/><Relationship Id="rId51" Type="http://schemas.openxmlformats.org/officeDocument/2006/relationships/customXml" Target="../ink/ink25.xml"/><Relationship Id="rId72" Type="http://schemas.openxmlformats.org/officeDocument/2006/relationships/image" Target="../media/image65.png"/><Relationship Id="rId3" Type="http://schemas.openxmlformats.org/officeDocument/2006/relationships/customXml" Target="../ink/ink1.xml"/><Relationship Id="rId12" Type="http://schemas.openxmlformats.org/officeDocument/2006/relationships/image" Target="../media/image35.png"/><Relationship Id="rId17" Type="http://schemas.openxmlformats.org/officeDocument/2006/relationships/customXml" Target="../ink/ink8.xml"/><Relationship Id="rId25" Type="http://schemas.openxmlformats.org/officeDocument/2006/relationships/customXml" Target="../ink/ink12.xml"/><Relationship Id="rId33" Type="http://schemas.openxmlformats.org/officeDocument/2006/relationships/customXml" Target="../ink/ink16.xml"/><Relationship Id="rId38" Type="http://schemas.openxmlformats.org/officeDocument/2006/relationships/image" Target="../media/image48.png"/><Relationship Id="rId46" Type="http://schemas.openxmlformats.org/officeDocument/2006/relationships/image" Target="../media/image52.png"/><Relationship Id="rId59" Type="http://schemas.openxmlformats.org/officeDocument/2006/relationships/customXml" Target="../ink/ink29.xml"/><Relationship Id="rId67" Type="http://schemas.openxmlformats.org/officeDocument/2006/relationships/customXml" Target="../ink/ink33.xml"/><Relationship Id="rId20" Type="http://schemas.openxmlformats.org/officeDocument/2006/relationships/image" Target="../media/image39.png"/><Relationship Id="rId41" Type="http://schemas.openxmlformats.org/officeDocument/2006/relationships/customXml" Target="../ink/ink20.xml"/><Relationship Id="rId54" Type="http://schemas.openxmlformats.org/officeDocument/2006/relationships/image" Target="../media/image56.png"/><Relationship Id="rId62" Type="http://schemas.openxmlformats.org/officeDocument/2006/relationships/image" Target="../media/image60.png"/><Relationship Id="rId70" Type="http://schemas.openxmlformats.org/officeDocument/2006/relationships/image" Target="../media/image64.png"/><Relationship Id="rId75" Type="http://schemas.openxmlformats.org/officeDocument/2006/relationships/customXml" Target="../ink/ink37.xml"/><Relationship Id="rId1" Type="http://schemas.openxmlformats.org/officeDocument/2006/relationships/slideLayout" Target="../slideLayouts/slideLayout3.xml"/><Relationship Id="rId6" Type="http://schemas.openxmlformats.org/officeDocument/2006/relationships/image" Target="../media/image32.png"/><Relationship Id="rId15" Type="http://schemas.openxmlformats.org/officeDocument/2006/relationships/customXml" Target="../ink/ink7.xml"/><Relationship Id="rId23" Type="http://schemas.openxmlformats.org/officeDocument/2006/relationships/customXml" Target="../ink/ink11.xml"/><Relationship Id="rId28" Type="http://schemas.openxmlformats.org/officeDocument/2006/relationships/image" Target="../media/image43.png"/><Relationship Id="rId36" Type="http://schemas.openxmlformats.org/officeDocument/2006/relationships/image" Target="../media/image47.png"/><Relationship Id="rId49" Type="http://schemas.openxmlformats.org/officeDocument/2006/relationships/customXml" Target="../ink/ink24.xml"/><Relationship Id="rId57" Type="http://schemas.openxmlformats.org/officeDocument/2006/relationships/customXml" Target="../ink/ink28.xml"/><Relationship Id="rId10" Type="http://schemas.openxmlformats.org/officeDocument/2006/relationships/image" Target="../media/image34.png"/><Relationship Id="rId31" Type="http://schemas.openxmlformats.org/officeDocument/2006/relationships/customXml" Target="../ink/ink15.xml"/><Relationship Id="rId44" Type="http://schemas.openxmlformats.org/officeDocument/2006/relationships/image" Target="../media/image51.png"/><Relationship Id="rId52" Type="http://schemas.openxmlformats.org/officeDocument/2006/relationships/image" Target="../media/image55.png"/><Relationship Id="rId60" Type="http://schemas.openxmlformats.org/officeDocument/2006/relationships/image" Target="../media/image59.png"/><Relationship Id="rId65" Type="http://schemas.openxmlformats.org/officeDocument/2006/relationships/customXml" Target="../ink/ink32.xml"/><Relationship Id="rId73" Type="http://schemas.openxmlformats.org/officeDocument/2006/relationships/customXml" Target="../ink/ink36.xml"/><Relationship Id="rId4" Type="http://schemas.openxmlformats.org/officeDocument/2006/relationships/image" Target="../media/image310.png"/><Relationship Id="rId9" Type="http://schemas.openxmlformats.org/officeDocument/2006/relationships/customXml" Target="../ink/ink4.xml"/><Relationship Id="rId13" Type="http://schemas.openxmlformats.org/officeDocument/2006/relationships/customXml" Target="../ink/ink6.xml"/><Relationship Id="rId18" Type="http://schemas.openxmlformats.org/officeDocument/2006/relationships/image" Target="../media/image38.png"/><Relationship Id="rId39" Type="http://schemas.openxmlformats.org/officeDocument/2006/relationships/customXml" Target="../ink/ink19.xml"/><Relationship Id="rId34" Type="http://schemas.openxmlformats.org/officeDocument/2006/relationships/image" Target="../media/image46.png"/><Relationship Id="rId50" Type="http://schemas.openxmlformats.org/officeDocument/2006/relationships/image" Target="../media/image54.png"/><Relationship Id="rId55" Type="http://schemas.openxmlformats.org/officeDocument/2006/relationships/customXml" Target="../ink/ink27.xml"/><Relationship Id="rId76" Type="http://schemas.openxmlformats.org/officeDocument/2006/relationships/image" Target="../media/image67.png"/><Relationship Id="rId7" Type="http://schemas.openxmlformats.org/officeDocument/2006/relationships/customXml" Target="../ink/ink3.xml"/><Relationship Id="rId71" Type="http://schemas.openxmlformats.org/officeDocument/2006/relationships/customXml" Target="../ink/ink35.xml"/></Relationships>
</file>

<file path=ppt/slides/_rels/slide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www.bettertechtips.com/bestbuy/dell-lightweight-laptop/" TargetMode="External"/><Relationship Id="rId2" Type="http://schemas.openxmlformats.org/officeDocument/2006/relationships/image" Target="../media/image69.jpeg"/><Relationship Id="rId1" Type="http://schemas.openxmlformats.org/officeDocument/2006/relationships/slideLayout" Target="../slideLayouts/slideLayout3.xml"/><Relationship Id="rId4" Type="http://schemas.openxmlformats.org/officeDocument/2006/relationships/image" Target="../media/image70.png"/></Relationships>
</file>

<file path=ppt/slides/_rels/slide51.xml.rels><?xml version="1.0" encoding="UTF-8" standalone="yes"?>
<Relationships xmlns="http://schemas.openxmlformats.org/package/2006/relationships"><Relationship Id="rId26" Type="http://schemas.openxmlformats.org/officeDocument/2006/relationships/customXml" Target="../ink/ink50.xml"/><Relationship Id="rId21" Type="http://schemas.openxmlformats.org/officeDocument/2006/relationships/image" Target="../media/image80.png"/><Relationship Id="rId42" Type="http://schemas.openxmlformats.org/officeDocument/2006/relationships/customXml" Target="../ink/ink58.xml"/><Relationship Id="rId47" Type="http://schemas.openxmlformats.org/officeDocument/2006/relationships/image" Target="../media/image93.png"/><Relationship Id="rId63" Type="http://schemas.openxmlformats.org/officeDocument/2006/relationships/image" Target="../media/image101.png"/><Relationship Id="rId68" Type="http://schemas.openxmlformats.org/officeDocument/2006/relationships/customXml" Target="../ink/ink71.xml"/><Relationship Id="rId84" Type="http://schemas.openxmlformats.org/officeDocument/2006/relationships/customXml" Target="../ink/ink80.xml"/><Relationship Id="rId89" Type="http://schemas.openxmlformats.org/officeDocument/2006/relationships/image" Target="../media/image113.png"/><Relationship Id="rId112" Type="http://schemas.openxmlformats.org/officeDocument/2006/relationships/image" Target="../media/image124.png"/><Relationship Id="rId16" Type="http://schemas.openxmlformats.org/officeDocument/2006/relationships/customXml" Target="../ink/ink45.xml"/><Relationship Id="rId107" Type="http://schemas.openxmlformats.org/officeDocument/2006/relationships/customXml" Target="../ink/ink92.xml"/><Relationship Id="rId11" Type="http://schemas.openxmlformats.org/officeDocument/2006/relationships/image" Target="../media/image75.png"/><Relationship Id="rId32" Type="http://schemas.openxmlformats.org/officeDocument/2006/relationships/customXml" Target="../ink/ink53.xml"/><Relationship Id="rId37" Type="http://schemas.openxmlformats.org/officeDocument/2006/relationships/image" Target="../media/image88.png"/><Relationship Id="rId53" Type="http://schemas.openxmlformats.org/officeDocument/2006/relationships/image" Target="../media/image96.png"/><Relationship Id="rId58" Type="http://schemas.openxmlformats.org/officeDocument/2006/relationships/customXml" Target="../ink/ink66.xml"/><Relationship Id="rId74" Type="http://schemas.openxmlformats.org/officeDocument/2006/relationships/customXml" Target="../ink/ink74.xml"/><Relationship Id="rId79" Type="http://schemas.openxmlformats.org/officeDocument/2006/relationships/customXml" Target="../ink/ink77.xml"/><Relationship Id="rId102" Type="http://schemas.openxmlformats.org/officeDocument/2006/relationships/customXml" Target="../ink/ink89.xml"/><Relationship Id="rId5" Type="http://schemas.openxmlformats.org/officeDocument/2006/relationships/image" Target="../media/image72.png"/><Relationship Id="rId90" Type="http://schemas.openxmlformats.org/officeDocument/2006/relationships/customXml" Target="../ink/ink83.xml"/><Relationship Id="rId95" Type="http://schemas.openxmlformats.org/officeDocument/2006/relationships/image" Target="../media/image116.png"/><Relationship Id="rId22" Type="http://schemas.openxmlformats.org/officeDocument/2006/relationships/customXml" Target="../ink/ink48.xml"/><Relationship Id="rId27" Type="http://schemas.openxmlformats.org/officeDocument/2006/relationships/image" Target="../media/image83.png"/><Relationship Id="rId43" Type="http://schemas.openxmlformats.org/officeDocument/2006/relationships/image" Target="../media/image91.png"/><Relationship Id="rId48" Type="http://schemas.openxmlformats.org/officeDocument/2006/relationships/customXml" Target="../ink/ink61.xml"/><Relationship Id="rId64" Type="http://schemas.openxmlformats.org/officeDocument/2006/relationships/customXml" Target="../ink/ink69.xml"/><Relationship Id="rId69" Type="http://schemas.openxmlformats.org/officeDocument/2006/relationships/image" Target="../media/image104.png"/><Relationship Id="rId80" Type="http://schemas.openxmlformats.org/officeDocument/2006/relationships/image" Target="../media/image109.png"/><Relationship Id="rId85" Type="http://schemas.openxmlformats.org/officeDocument/2006/relationships/image" Target="../media/image111.png"/><Relationship Id="rId12" Type="http://schemas.openxmlformats.org/officeDocument/2006/relationships/customXml" Target="../ink/ink43.xml"/><Relationship Id="rId17" Type="http://schemas.openxmlformats.org/officeDocument/2006/relationships/image" Target="../media/image78.png"/><Relationship Id="rId33" Type="http://schemas.openxmlformats.org/officeDocument/2006/relationships/image" Target="../media/image86.png"/><Relationship Id="rId38" Type="http://schemas.openxmlformats.org/officeDocument/2006/relationships/customXml" Target="../ink/ink56.xml"/><Relationship Id="rId59" Type="http://schemas.openxmlformats.org/officeDocument/2006/relationships/image" Target="../media/image99.png"/><Relationship Id="rId103" Type="http://schemas.openxmlformats.org/officeDocument/2006/relationships/customXml" Target="../ink/ink90.xml"/><Relationship Id="rId108" Type="http://schemas.openxmlformats.org/officeDocument/2006/relationships/image" Target="../media/image122.png"/><Relationship Id="rId54" Type="http://schemas.openxmlformats.org/officeDocument/2006/relationships/customXml" Target="../ink/ink64.xml"/><Relationship Id="rId70" Type="http://schemas.openxmlformats.org/officeDocument/2006/relationships/customXml" Target="../ink/ink72.xml"/><Relationship Id="rId75" Type="http://schemas.openxmlformats.org/officeDocument/2006/relationships/image" Target="../media/image107.png"/><Relationship Id="rId91" Type="http://schemas.openxmlformats.org/officeDocument/2006/relationships/image" Target="../media/image114.png"/><Relationship Id="rId96" Type="http://schemas.openxmlformats.org/officeDocument/2006/relationships/customXml" Target="../ink/ink86.xml"/><Relationship Id="rId1" Type="http://schemas.openxmlformats.org/officeDocument/2006/relationships/slideLayout" Target="../slideLayouts/slideLayout3.xml"/><Relationship Id="rId6" Type="http://schemas.openxmlformats.org/officeDocument/2006/relationships/customXml" Target="../ink/ink40.xml"/><Relationship Id="rId15" Type="http://schemas.openxmlformats.org/officeDocument/2006/relationships/image" Target="../media/image77.png"/><Relationship Id="rId23" Type="http://schemas.openxmlformats.org/officeDocument/2006/relationships/image" Target="../media/image81.png"/><Relationship Id="rId28" Type="http://schemas.openxmlformats.org/officeDocument/2006/relationships/customXml" Target="../ink/ink51.xml"/><Relationship Id="rId36" Type="http://schemas.openxmlformats.org/officeDocument/2006/relationships/customXml" Target="../ink/ink55.xml"/><Relationship Id="rId49" Type="http://schemas.openxmlformats.org/officeDocument/2006/relationships/image" Target="../media/image94.png"/><Relationship Id="rId57" Type="http://schemas.openxmlformats.org/officeDocument/2006/relationships/image" Target="../media/image98.png"/><Relationship Id="rId106" Type="http://schemas.openxmlformats.org/officeDocument/2006/relationships/image" Target="../media/image121.png"/><Relationship Id="rId10" Type="http://schemas.openxmlformats.org/officeDocument/2006/relationships/customXml" Target="../ink/ink42.xml"/><Relationship Id="rId31" Type="http://schemas.openxmlformats.org/officeDocument/2006/relationships/image" Target="../media/image85.png"/><Relationship Id="rId44" Type="http://schemas.openxmlformats.org/officeDocument/2006/relationships/customXml" Target="../ink/ink59.xml"/><Relationship Id="rId52" Type="http://schemas.openxmlformats.org/officeDocument/2006/relationships/customXml" Target="../ink/ink63.xml"/><Relationship Id="rId60" Type="http://schemas.openxmlformats.org/officeDocument/2006/relationships/customXml" Target="../ink/ink67.xml"/><Relationship Id="rId65" Type="http://schemas.openxmlformats.org/officeDocument/2006/relationships/image" Target="../media/image102.png"/><Relationship Id="rId73" Type="http://schemas.openxmlformats.org/officeDocument/2006/relationships/image" Target="../media/image106.png"/><Relationship Id="rId78" Type="http://schemas.openxmlformats.org/officeDocument/2006/relationships/customXml" Target="../ink/ink76.xml"/><Relationship Id="rId81" Type="http://schemas.openxmlformats.org/officeDocument/2006/relationships/customXml" Target="../ink/ink78.xml"/><Relationship Id="rId86" Type="http://schemas.openxmlformats.org/officeDocument/2006/relationships/customXml" Target="../ink/ink81.xml"/><Relationship Id="rId94" Type="http://schemas.openxmlformats.org/officeDocument/2006/relationships/customXml" Target="../ink/ink85.xml"/><Relationship Id="rId99" Type="http://schemas.openxmlformats.org/officeDocument/2006/relationships/image" Target="../media/image118.png"/><Relationship Id="rId101" Type="http://schemas.openxmlformats.org/officeDocument/2006/relationships/image" Target="../media/image119.png"/><Relationship Id="rId4" Type="http://schemas.openxmlformats.org/officeDocument/2006/relationships/customXml" Target="../ink/ink39.xml"/><Relationship Id="rId9" Type="http://schemas.openxmlformats.org/officeDocument/2006/relationships/image" Target="../media/image74.png"/><Relationship Id="rId13" Type="http://schemas.openxmlformats.org/officeDocument/2006/relationships/image" Target="../media/image76.png"/><Relationship Id="rId18" Type="http://schemas.openxmlformats.org/officeDocument/2006/relationships/customXml" Target="../ink/ink46.xml"/><Relationship Id="rId39" Type="http://schemas.openxmlformats.org/officeDocument/2006/relationships/image" Target="../media/image89.png"/><Relationship Id="rId109" Type="http://schemas.openxmlformats.org/officeDocument/2006/relationships/customXml" Target="../ink/ink93.xml"/><Relationship Id="rId34" Type="http://schemas.openxmlformats.org/officeDocument/2006/relationships/customXml" Target="../ink/ink54.xml"/><Relationship Id="rId50" Type="http://schemas.openxmlformats.org/officeDocument/2006/relationships/customXml" Target="../ink/ink62.xml"/><Relationship Id="rId55" Type="http://schemas.openxmlformats.org/officeDocument/2006/relationships/image" Target="../media/image97.png"/><Relationship Id="rId76" Type="http://schemas.openxmlformats.org/officeDocument/2006/relationships/customXml" Target="../ink/ink75.xml"/><Relationship Id="rId97" Type="http://schemas.openxmlformats.org/officeDocument/2006/relationships/image" Target="../media/image117.png"/><Relationship Id="rId104" Type="http://schemas.openxmlformats.org/officeDocument/2006/relationships/image" Target="../media/image120.png"/><Relationship Id="rId7" Type="http://schemas.openxmlformats.org/officeDocument/2006/relationships/image" Target="../media/image73.png"/><Relationship Id="rId71" Type="http://schemas.openxmlformats.org/officeDocument/2006/relationships/image" Target="../media/image105.png"/><Relationship Id="rId92" Type="http://schemas.openxmlformats.org/officeDocument/2006/relationships/customXml" Target="../ink/ink84.xml"/><Relationship Id="rId2" Type="http://schemas.openxmlformats.org/officeDocument/2006/relationships/customXml" Target="../ink/ink38.xml"/><Relationship Id="rId29" Type="http://schemas.openxmlformats.org/officeDocument/2006/relationships/image" Target="../media/image84.png"/><Relationship Id="rId24" Type="http://schemas.openxmlformats.org/officeDocument/2006/relationships/customXml" Target="../ink/ink49.xml"/><Relationship Id="rId40" Type="http://schemas.openxmlformats.org/officeDocument/2006/relationships/customXml" Target="../ink/ink57.xml"/><Relationship Id="rId45" Type="http://schemas.openxmlformats.org/officeDocument/2006/relationships/image" Target="../media/image92.png"/><Relationship Id="rId66" Type="http://schemas.openxmlformats.org/officeDocument/2006/relationships/customXml" Target="../ink/ink70.xml"/><Relationship Id="rId87" Type="http://schemas.openxmlformats.org/officeDocument/2006/relationships/image" Target="../media/image112.png"/><Relationship Id="rId110" Type="http://schemas.openxmlformats.org/officeDocument/2006/relationships/image" Target="../media/image123.png"/><Relationship Id="rId61" Type="http://schemas.openxmlformats.org/officeDocument/2006/relationships/image" Target="../media/image100.png"/><Relationship Id="rId82" Type="http://schemas.openxmlformats.org/officeDocument/2006/relationships/image" Target="../media/image110.png"/><Relationship Id="rId19" Type="http://schemas.openxmlformats.org/officeDocument/2006/relationships/image" Target="../media/image79.png"/><Relationship Id="rId14" Type="http://schemas.openxmlformats.org/officeDocument/2006/relationships/customXml" Target="../ink/ink44.xml"/><Relationship Id="rId30" Type="http://schemas.openxmlformats.org/officeDocument/2006/relationships/customXml" Target="../ink/ink52.xml"/><Relationship Id="rId35" Type="http://schemas.openxmlformats.org/officeDocument/2006/relationships/image" Target="../media/image87.png"/><Relationship Id="rId56" Type="http://schemas.openxmlformats.org/officeDocument/2006/relationships/customXml" Target="../ink/ink65.xml"/><Relationship Id="rId77" Type="http://schemas.openxmlformats.org/officeDocument/2006/relationships/image" Target="../media/image108.png"/><Relationship Id="rId100" Type="http://schemas.openxmlformats.org/officeDocument/2006/relationships/customXml" Target="../ink/ink88.xml"/><Relationship Id="rId105" Type="http://schemas.openxmlformats.org/officeDocument/2006/relationships/customXml" Target="../ink/ink91.xml"/><Relationship Id="rId8" Type="http://schemas.openxmlformats.org/officeDocument/2006/relationships/customXml" Target="../ink/ink41.xml"/><Relationship Id="rId51" Type="http://schemas.openxmlformats.org/officeDocument/2006/relationships/image" Target="../media/image95.png"/><Relationship Id="rId72" Type="http://schemas.openxmlformats.org/officeDocument/2006/relationships/customXml" Target="../ink/ink73.xml"/><Relationship Id="rId93" Type="http://schemas.openxmlformats.org/officeDocument/2006/relationships/image" Target="../media/image115.png"/><Relationship Id="rId98" Type="http://schemas.openxmlformats.org/officeDocument/2006/relationships/customXml" Target="../ink/ink87.xml"/><Relationship Id="rId3" Type="http://schemas.openxmlformats.org/officeDocument/2006/relationships/image" Target="../media/image71.png"/><Relationship Id="rId25" Type="http://schemas.openxmlformats.org/officeDocument/2006/relationships/image" Target="../media/image82.png"/><Relationship Id="rId46" Type="http://schemas.openxmlformats.org/officeDocument/2006/relationships/customXml" Target="../ink/ink60.xml"/><Relationship Id="rId67" Type="http://schemas.openxmlformats.org/officeDocument/2006/relationships/image" Target="../media/image103.png"/><Relationship Id="rId20" Type="http://schemas.openxmlformats.org/officeDocument/2006/relationships/customXml" Target="../ink/ink47.xml"/><Relationship Id="rId41" Type="http://schemas.openxmlformats.org/officeDocument/2006/relationships/image" Target="../media/image90.png"/><Relationship Id="rId62" Type="http://schemas.openxmlformats.org/officeDocument/2006/relationships/customXml" Target="../ink/ink68.xml"/><Relationship Id="rId83" Type="http://schemas.openxmlformats.org/officeDocument/2006/relationships/customXml" Target="../ink/ink79.xml"/><Relationship Id="rId88" Type="http://schemas.openxmlformats.org/officeDocument/2006/relationships/customXml" Target="../ink/ink82.xml"/><Relationship Id="rId111" Type="http://schemas.openxmlformats.org/officeDocument/2006/relationships/customXml" Target="../ink/ink94.xml"/></Relationships>
</file>

<file path=ppt/slides/_rels/slide52.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hyperlink" Target="https://www.mathsisfun.com/mean.html" TargetMode="Externa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image" Target="../media/image130.png"/><Relationship Id="rId1" Type="http://schemas.openxmlformats.org/officeDocument/2006/relationships/slideLayout" Target="../slideLayouts/slideLayout3.xml"/><Relationship Id="rId4" Type="http://schemas.openxmlformats.org/officeDocument/2006/relationships/hyperlink" Target="http://intersection4learning.blogspot.com/2012/01/wonder-wednesday-most-important.htm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thebluediamondgallery.com/handwriting/s/statistics.html" TargetMode="External"/><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hyperlink" Target="https://www.pexels.com/photo/black-dslr-camera-mounted-on-black-tripod-212372/" TargetMode="External"/><Relationship Id="rId2" Type="http://schemas.openxmlformats.org/officeDocument/2006/relationships/image" Target="../media/image132.jpe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hyperlink" Target="http://priyankas-point.blogspot.com/2009_06_14_archive.html" TargetMode="External"/><Relationship Id="rId2" Type="http://schemas.openxmlformats.org/officeDocument/2006/relationships/image" Target="../media/image133.jpe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hyperlink" Target="http://intersection4learning.blogspot.com/2012/01/wonder-wednesday-most-important.html" TargetMode="External"/><Relationship Id="rId2" Type="http://schemas.openxmlformats.org/officeDocument/2006/relationships/image" Target="../media/image134.jpeg"/><Relationship Id="rId1" Type="http://schemas.openxmlformats.org/officeDocument/2006/relationships/slideLayout" Target="../slideLayouts/slideLayout3.xml"/><Relationship Id="rId4" Type="http://schemas.openxmlformats.org/officeDocument/2006/relationships/image" Target="../media/image135.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www.scribbr.com/statistics/interquartile-range/" TargetMode="External"/><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 Id="rId5" Type="http://schemas.openxmlformats.org/officeDocument/2006/relationships/hyperlink" Target="https://www.scribbr.com/statistics/variance/" TargetMode="External"/><Relationship Id="rId4" Type="http://schemas.openxmlformats.org/officeDocument/2006/relationships/hyperlink" Target="https://www.scribbr.com/statistics/standard-deviation/"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www.scribbr.com/methodology/simple-random-sampling/" TargetMode="External"/><Relationship Id="rId2" Type="http://schemas.openxmlformats.org/officeDocument/2006/relationships/image" Target="../media/image138.png"/><Relationship Id="rId1" Type="http://schemas.openxmlformats.org/officeDocument/2006/relationships/slideLayout" Target="../slideLayouts/slideLayout9.xml"/><Relationship Id="rId4" Type="http://schemas.openxmlformats.org/officeDocument/2006/relationships/hyperlink" Target="https://www.scribbr.com/statistics/normal-distribution/" TargetMode="External"/></Relationships>
</file>

<file path=ppt/slides/_rels/slide69.xml.rels><?xml version="1.0" encoding="UTF-8" standalone="yes"?>
<Relationships xmlns="http://schemas.openxmlformats.org/package/2006/relationships"><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hyperlink" Target="https://www.scribbr.com/statistics/outliers/" TargetMode="External"/><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3" Type="http://schemas.openxmlformats.org/officeDocument/2006/relationships/hyperlink" Target="https://pixabay.com/en/question-mark-question-response-1019983/" TargetMode="External"/><Relationship Id="rId2" Type="http://schemas.openxmlformats.org/officeDocument/2006/relationships/image" Target="../media/image139.jpg"/><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hyperlink" Target="https://www.scribbr.com/statistics/interquartile-range/" TargetMode="External"/><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3" Type="http://schemas.openxmlformats.org/officeDocument/2006/relationships/hyperlink" Target="https://www.mathsisfun.com/numbers/absolute-value.html" TargetMode="External"/><Relationship Id="rId2" Type="http://schemas.openxmlformats.org/officeDocument/2006/relationships/hyperlink" Target="https://www.mathsisfun.com/algebra/sigma-notation.html" TargetMode="External"/><Relationship Id="rId1" Type="http://schemas.openxmlformats.org/officeDocument/2006/relationships/slideLayout" Target="../slideLayouts/slideLayout9.xml"/><Relationship Id="rId4" Type="http://schemas.openxmlformats.org/officeDocument/2006/relationships/image" Target="../media/image148.png"/></Relationships>
</file>

<file path=ppt/slides/_rels/slide86.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hyperlink" Target="https://www.mathsisfun.com/data/standard-deviation.html#WhySquare" TargetMode="External"/><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png"/><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3" Type="http://schemas.openxmlformats.org/officeDocument/2006/relationships/hyperlink" Target="https://www.mathsisfun.com/data/mean-deviation.html" TargetMode="External"/><Relationship Id="rId2" Type="http://schemas.openxmlformats.org/officeDocument/2006/relationships/hyperlink" Target="https://www.mathsisfun.com/numbers/absolute-value.html" TargetMode="External"/><Relationship Id="rId1" Type="http://schemas.openxmlformats.org/officeDocument/2006/relationships/slideLayout" Target="../slideLayouts/slideLayout9.xml"/><Relationship Id="rId5" Type="http://schemas.openxmlformats.org/officeDocument/2006/relationships/image" Target="../media/image160.png"/><Relationship Id="rId4" Type="http://schemas.openxmlformats.org/officeDocument/2006/relationships/image" Target="../media/image159.png"/></Relationships>
</file>

<file path=ppt/slides/_rels/slide98.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9.xml"/></Relationships>
</file>

<file path=ppt/slides/_rels/slide99.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239"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81419" y="1053978"/>
            <a:ext cx="2868459" cy="3035543"/>
          </a:xfrm>
        </p:spPr>
        <p:txBody>
          <a:bodyPr/>
          <a:lstStyle/>
          <a:p>
            <a:r>
              <a:rPr lang="en-US" sz="4800" dirty="0"/>
              <a:t>Statistics for </a:t>
            </a:r>
            <a:br>
              <a:rPr lang="en-US" sz="4800" dirty="0"/>
            </a:br>
            <a:r>
              <a:rPr lang="en-US" sz="4800" dirty="0">
                <a:solidFill>
                  <a:schemeClr val="tx2">
                    <a:lumMod val="50000"/>
                  </a:schemeClr>
                </a:solidFill>
              </a:rPr>
              <a:t>Data Science</a:t>
            </a:r>
            <a:br>
              <a:rPr lang="en-US" dirty="0"/>
            </a:br>
            <a:br>
              <a:rPr lang="en-US" dirty="0"/>
            </a:br>
            <a:r>
              <a:rPr lang="en-US" dirty="0"/>
              <a:t> </a:t>
            </a:r>
          </a:p>
        </p:txBody>
      </p:sp>
      <p:pic>
        <p:nvPicPr>
          <p:cNvPr id="44" name="Picture 43" descr="Background pattern&#10;&#10;Description automatically generated">
            <a:extLst>
              <a:ext uri="{FF2B5EF4-FFF2-40B4-BE49-F238E27FC236}">
                <a16:creationId xmlns:a16="http://schemas.microsoft.com/office/drawing/2014/main" id="{4BA223F5-9515-4D0A-940B-6C002E1DC056}"/>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3181610" y="-1"/>
            <a:ext cx="5962389" cy="5143500"/>
          </a:xfrm>
          <a:prstGeom prst="rect">
            <a:avLst/>
          </a:prstGeom>
        </p:spPr>
      </p:pic>
    </p:spTree>
    <p:extLst>
      <p:ext uri="{BB962C8B-B14F-4D97-AF65-F5344CB8AC3E}">
        <p14:creationId xmlns:p14="http://schemas.microsoft.com/office/powerpoint/2010/main" val="1576393387"/>
      </p:ext>
    </p:extLst>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425927352"/>
      </p:ext>
    </p:extLst>
  </p:cSld>
  <p:clrMapOvr>
    <a:masterClrMapping/>
  </p:clrMapOvr>
  <p:transition spd="med">
    <p:wipe dir="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15513-4618-43CC-A58D-6EBBB5D6C779}"/>
              </a:ext>
            </a:extLst>
          </p:cNvPr>
          <p:cNvSpPr>
            <a:spLocks noGrp="1"/>
          </p:cNvSpPr>
          <p:nvPr>
            <p:ph type="title"/>
          </p:nvPr>
        </p:nvSpPr>
        <p:spPr>
          <a:xfrm>
            <a:off x="0" y="0"/>
            <a:ext cx="8229600" cy="637794"/>
          </a:xfrm>
        </p:spPr>
        <p:txBody>
          <a:bodyPr/>
          <a:lstStyle/>
          <a:p>
            <a:r>
              <a:rPr lang="en-US" dirty="0"/>
              <a:t>Coefficient of Variance (CV)</a:t>
            </a:r>
          </a:p>
        </p:txBody>
      </p:sp>
      <p:sp>
        <p:nvSpPr>
          <p:cNvPr id="3" name="TextBox 2">
            <a:extLst>
              <a:ext uri="{FF2B5EF4-FFF2-40B4-BE49-F238E27FC236}">
                <a16:creationId xmlns:a16="http://schemas.microsoft.com/office/drawing/2014/main" id="{513FCA3B-E05B-4E7A-A5F2-9F78E18C22D3}"/>
              </a:ext>
            </a:extLst>
          </p:cNvPr>
          <p:cNvSpPr txBox="1"/>
          <p:nvPr/>
        </p:nvSpPr>
        <p:spPr>
          <a:xfrm>
            <a:off x="76782" y="502571"/>
            <a:ext cx="8836873" cy="4139595"/>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800" dirty="0">
                <a:solidFill>
                  <a:schemeClr val="bg2">
                    <a:lumMod val="50000"/>
                    <a:lumOff val="50000"/>
                  </a:schemeClr>
                </a:solidFill>
                <a:latin typeface="Verdana" panose="020B0604030504040204" pitchFamily="34" charset="0"/>
              </a:rPr>
              <a:t>Also known as relative standard deviation (RSD), the coefficient of variation (CV) is a standardized measure of dispersion. </a:t>
            </a:r>
          </a:p>
          <a:p>
            <a:pPr marL="171450" indent="-171450">
              <a:spcBef>
                <a:spcPts val="0"/>
              </a:spcBef>
              <a:spcAft>
                <a:spcPts val="0"/>
              </a:spcAft>
              <a:buClr>
                <a:schemeClr val="bg1"/>
              </a:buClr>
              <a:buFont typeface="Arial" panose="020B0604020202020204" pitchFamily="34" charset="0"/>
              <a:buChar char="•"/>
            </a:pPr>
            <a:r>
              <a:rPr lang="en-US" sz="1800" dirty="0">
                <a:solidFill>
                  <a:schemeClr val="bg2">
                    <a:lumMod val="50000"/>
                    <a:lumOff val="50000"/>
                  </a:schemeClr>
                </a:solidFill>
                <a:latin typeface="Verdana" panose="020B0604030504040204" pitchFamily="34" charset="0"/>
              </a:rPr>
              <a:t>It tells you how variable your data is relative to the mean. It can only be used with ratio levels of measurement because it is a fraction. The coefficient of variation (CV) is the standard deviation divided by the mean.</a:t>
            </a:r>
          </a:p>
          <a:p>
            <a:pPr marL="171450" indent="-171450">
              <a:spcBef>
                <a:spcPts val="0"/>
              </a:spcBef>
              <a:spcAft>
                <a:spcPts val="0"/>
              </a:spcAft>
              <a:buClr>
                <a:schemeClr val="bg1"/>
              </a:buClr>
              <a:buFont typeface="Arial" panose="020B0604020202020204" pitchFamily="34" charset="0"/>
              <a:buChar char="•"/>
            </a:pPr>
            <a:endParaRPr lang="en-US" sz="1800" dirty="0">
              <a:solidFill>
                <a:schemeClr val="bg2">
                  <a:lumMod val="50000"/>
                  <a:lumOff val="50000"/>
                </a:schemeClr>
              </a:solidFill>
              <a:latin typeface="Verdana" panose="020B0604030504040204" pitchFamily="34" charset="0"/>
            </a:endParaRPr>
          </a:p>
          <a:p>
            <a:pPr marL="171450" indent="-171450">
              <a:spcBef>
                <a:spcPts val="0"/>
              </a:spcBef>
              <a:spcAft>
                <a:spcPts val="0"/>
              </a:spcAft>
              <a:buClr>
                <a:schemeClr val="bg1"/>
              </a:buClr>
              <a:buFont typeface="Arial" panose="020B0604020202020204" pitchFamily="34" charset="0"/>
              <a:buChar char="•"/>
            </a:pPr>
            <a:endParaRPr lang="en-US" sz="1800" dirty="0">
              <a:solidFill>
                <a:schemeClr val="bg2">
                  <a:lumMod val="50000"/>
                  <a:lumOff val="50000"/>
                </a:schemeClr>
              </a:solidFill>
              <a:latin typeface="Verdana" panose="020B0604030504040204" pitchFamily="34" charset="0"/>
            </a:endParaRPr>
          </a:p>
          <a:p>
            <a:pPr algn="ctr"/>
            <a:r>
              <a:rPr lang="en-US" sz="1800" dirty="0">
                <a:solidFill>
                  <a:schemeClr val="accent1"/>
                </a:solidFill>
                <a:latin typeface="Verdana" panose="020B0604030504040204" pitchFamily="34" charset="0"/>
              </a:rPr>
              <a:t>CV = SD/Mean</a:t>
            </a:r>
          </a:p>
          <a:p>
            <a:pPr algn="ctr"/>
            <a:endParaRPr lang="en-US" sz="1800" dirty="0">
              <a:solidFill>
                <a:schemeClr val="accent1"/>
              </a:solidFill>
              <a:latin typeface="Verdana" panose="020B0604030504040204" pitchFamily="34" charset="0"/>
            </a:endParaRPr>
          </a:p>
          <a:p>
            <a:pPr algn="ctr"/>
            <a:r>
              <a:rPr lang="en-US" sz="1800" dirty="0">
                <a:solidFill>
                  <a:schemeClr val="accent1"/>
                </a:solidFill>
                <a:latin typeface="Verdana" panose="020B0604030504040204" pitchFamily="34" charset="0"/>
              </a:rPr>
              <a:t>CV = 36.9/13.34 = 0.36</a:t>
            </a:r>
          </a:p>
          <a:p>
            <a:pPr algn="ctr"/>
            <a:endParaRPr lang="en-US" sz="1800" dirty="0">
              <a:solidFill>
                <a:schemeClr val="bg2">
                  <a:lumMod val="50000"/>
                  <a:lumOff val="50000"/>
                </a:schemeClr>
              </a:solidFill>
              <a:latin typeface="Verdana" panose="020B0604030504040204" pitchFamily="34" charset="0"/>
            </a:endParaRPr>
          </a:p>
          <a:p>
            <a:pPr algn="l"/>
            <a:r>
              <a:rPr lang="en-US" sz="1800" dirty="0">
                <a:solidFill>
                  <a:schemeClr val="bg2">
                    <a:lumMod val="50000"/>
                    <a:lumOff val="50000"/>
                  </a:schemeClr>
                </a:solidFill>
                <a:latin typeface="Verdana" panose="020B0604030504040204" pitchFamily="34" charset="0"/>
              </a:rPr>
              <a:t>The coefficient of variation is 0.36 or 36%. This tells you that your data has a large spread because the standard deviation is 36% of the mean</a:t>
            </a:r>
          </a:p>
          <a:p>
            <a:pPr marL="171450" indent="-171450">
              <a:spcBef>
                <a:spcPts val="0"/>
              </a:spcBef>
              <a:spcAft>
                <a:spcPts val="0"/>
              </a:spcAft>
              <a:buClr>
                <a:schemeClr val="bg1"/>
              </a:buClr>
              <a:buFont typeface="Arial" panose="020B0604020202020204" pitchFamily="34" charset="0"/>
              <a:buChar char="•"/>
            </a:pPr>
            <a:endParaRPr lang="en-US" sz="1100" dirty="0">
              <a:solidFill>
                <a:schemeClr val="bg2">
                  <a:lumMod val="50000"/>
                  <a:lumOff val="50000"/>
                </a:schemeClr>
              </a:solidFill>
              <a:latin typeface="Verdana" panose="020B0604030504040204" pitchFamily="34" charset="0"/>
            </a:endParaRPr>
          </a:p>
        </p:txBody>
      </p:sp>
    </p:spTree>
    <p:extLst>
      <p:ext uri="{BB962C8B-B14F-4D97-AF65-F5344CB8AC3E}">
        <p14:creationId xmlns:p14="http://schemas.microsoft.com/office/powerpoint/2010/main" val="3643765442"/>
      </p:ext>
    </p:extLst>
  </p:cSld>
  <p:clrMapOvr>
    <a:masterClrMapping/>
  </p:clrMapOvr>
  <p:transition spd="med">
    <p:wipe dir="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FE915-C6F8-4B84-BF0E-CC4886DA14AD}"/>
              </a:ext>
            </a:extLst>
          </p:cNvPr>
          <p:cNvSpPr>
            <a:spLocks noGrp="1"/>
          </p:cNvSpPr>
          <p:nvPr>
            <p:ph type="title"/>
          </p:nvPr>
        </p:nvSpPr>
        <p:spPr>
          <a:xfrm>
            <a:off x="0" y="0"/>
            <a:ext cx="9144000" cy="637794"/>
          </a:xfrm>
        </p:spPr>
        <p:txBody>
          <a:bodyPr/>
          <a:lstStyle/>
          <a:p>
            <a:r>
              <a:rPr lang="en-US" dirty="0"/>
              <a:t>Example : </a:t>
            </a:r>
            <a:br>
              <a:rPr lang="en-US" dirty="0"/>
            </a:br>
            <a:br>
              <a:rPr lang="en-US" dirty="0"/>
            </a:br>
            <a:r>
              <a:rPr lang="en-US" sz="1200" b="0" i="0" dirty="0">
                <a:solidFill>
                  <a:srgbClr val="777777"/>
                </a:solidFill>
                <a:effectLst/>
                <a:latin typeface="pt sans" panose="020B0503020203020204" pitchFamily="34" charset="0"/>
              </a:rPr>
              <a:t>The CV is particularly useful when you want to compare results from two different surveys or tests that have different measures or values. For example, if you are comparing the results from two tests that have different scoring </a:t>
            </a:r>
            <a:r>
              <a:rPr lang="en-US" sz="1200" dirty="0">
                <a:solidFill>
                  <a:srgbClr val="777777"/>
                </a:solidFill>
                <a:latin typeface="pt sans" panose="020B0503020203020204" pitchFamily="34" charset="0"/>
              </a:rPr>
              <a:t>mechanisms. </a:t>
            </a:r>
          </a:p>
        </p:txBody>
      </p:sp>
      <p:graphicFrame>
        <p:nvGraphicFramePr>
          <p:cNvPr id="4" name="Table 4">
            <a:extLst>
              <a:ext uri="{FF2B5EF4-FFF2-40B4-BE49-F238E27FC236}">
                <a16:creationId xmlns:a16="http://schemas.microsoft.com/office/drawing/2014/main" id="{82BE1733-3C10-42E3-A691-1E95C43C85BB}"/>
              </a:ext>
            </a:extLst>
          </p:cNvPr>
          <p:cNvGraphicFramePr>
            <a:graphicFrameLocks noGrp="1"/>
          </p:cNvGraphicFramePr>
          <p:nvPr>
            <p:extLst>
              <p:ext uri="{D42A27DB-BD31-4B8C-83A1-F6EECF244321}">
                <p14:modId xmlns:p14="http://schemas.microsoft.com/office/powerpoint/2010/main" val="2877825890"/>
              </p:ext>
            </p:extLst>
          </p:nvPr>
        </p:nvGraphicFramePr>
        <p:xfrm>
          <a:off x="2900788" y="1544260"/>
          <a:ext cx="6096000" cy="18542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3954299871"/>
                    </a:ext>
                  </a:extLst>
                </a:gridCol>
                <a:gridCol w="2032000">
                  <a:extLst>
                    <a:ext uri="{9D8B030D-6E8A-4147-A177-3AD203B41FA5}">
                      <a16:colId xmlns:a16="http://schemas.microsoft.com/office/drawing/2014/main" val="1596437874"/>
                    </a:ext>
                  </a:extLst>
                </a:gridCol>
                <a:gridCol w="2032000">
                  <a:extLst>
                    <a:ext uri="{9D8B030D-6E8A-4147-A177-3AD203B41FA5}">
                      <a16:colId xmlns:a16="http://schemas.microsoft.com/office/drawing/2014/main" val="4240368581"/>
                    </a:ext>
                  </a:extLst>
                </a:gridCol>
              </a:tblGrid>
              <a:tr h="370840">
                <a:tc>
                  <a:txBody>
                    <a:bodyPr/>
                    <a:lstStyle/>
                    <a:p>
                      <a:endParaRPr lang="en-US">
                        <a:solidFill>
                          <a:schemeClr val="tx2"/>
                        </a:solidFill>
                      </a:endParaRPr>
                    </a:p>
                  </a:txBody>
                  <a:tcPr/>
                </a:tc>
                <a:tc>
                  <a:txBody>
                    <a:bodyPr/>
                    <a:lstStyle/>
                    <a:p>
                      <a:r>
                        <a:rPr lang="en-US" dirty="0">
                          <a:solidFill>
                            <a:schemeClr val="tx2"/>
                          </a:solidFill>
                        </a:rPr>
                        <a:t>SGD </a:t>
                      </a:r>
                    </a:p>
                  </a:txBody>
                  <a:tcPr/>
                </a:tc>
                <a:tc>
                  <a:txBody>
                    <a:bodyPr/>
                    <a:lstStyle/>
                    <a:p>
                      <a:r>
                        <a:rPr lang="en-US" dirty="0">
                          <a:solidFill>
                            <a:schemeClr val="tx2"/>
                          </a:solidFill>
                        </a:rPr>
                        <a:t>MY Ringgit</a:t>
                      </a:r>
                    </a:p>
                  </a:txBody>
                  <a:tcPr/>
                </a:tc>
                <a:extLst>
                  <a:ext uri="{0D108BD9-81ED-4DB2-BD59-A6C34878D82A}">
                    <a16:rowId xmlns:a16="http://schemas.microsoft.com/office/drawing/2014/main" val="1887661748"/>
                  </a:ext>
                </a:extLst>
              </a:tr>
              <a:tr h="370840">
                <a:tc>
                  <a:txBody>
                    <a:bodyPr/>
                    <a:lstStyle/>
                    <a:p>
                      <a:r>
                        <a:rPr lang="en-US" dirty="0"/>
                        <a:t>Mean</a:t>
                      </a:r>
                    </a:p>
                  </a:txBody>
                  <a:tcPr/>
                </a:tc>
                <a:tc>
                  <a:txBody>
                    <a:bodyPr/>
                    <a:lstStyle/>
                    <a:p>
                      <a:endParaRPr lang="en-US" dirty="0"/>
                    </a:p>
                  </a:txBody>
                  <a:tcPr/>
                </a:tc>
                <a:tc>
                  <a:txBody>
                    <a:bodyPr/>
                    <a:lstStyle/>
                    <a:p>
                      <a:endParaRPr lang="en-US"/>
                    </a:p>
                  </a:txBody>
                  <a:tcPr/>
                </a:tc>
                <a:extLst>
                  <a:ext uri="{0D108BD9-81ED-4DB2-BD59-A6C34878D82A}">
                    <a16:rowId xmlns:a16="http://schemas.microsoft.com/office/drawing/2014/main" val="321239270"/>
                  </a:ext>
                </a:extLst>
              </a:tr>
              <a:tr h="370840">
                <a:tc>
                  <a:txBody>
                    <a:bodyPr/>
                    <a:lstStyle/>
                    <a:p>
                      <a:r>
                        <a:rPr lang="en-US" dirty="0"/>
                        <a:t>Sample Variance</a:t>
                      </a:r>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502728200"/>
                  </a:ext>
                </a:extLst>
              </a:tr>
              <a:tr h="370840">
                <a:tc>
                  <a:txBody>
                    <a:bodyPr/>
                    <a:lstStyle/>
                    <a:p>
                      <a:r>
                        <a:rPr lang="en-US" dirty="0"/>
                        <a:t>Sample SD</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41960276"/>
                  </a:ext>
                </a:extLst>
              </a:tr>
              <a:tr h="370840">
                <a:tc>
                  <a:txBody>
                    <a:bodyPr/>
                    <a:lstStyle/>
                    <a:p>
                      <a:r>
                        <a:rPr lang="en-US" dirty="0"/>
                        <a:t>Sample CV</a:t>
                      </a:r>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939018461"/>
                  </a:ext>
                </a:extLst>
              </a:tr>
            </a:tbl>
          </a:graphicData>
        </a:graphic>
      </p:graphicFrame>
      <p:pic>
        <p:nvPicPr>
          <p:cNvPr id="6" name="Picture 5">
            <a:extLst>
              <a:ext uri="{FF2B5EF4-FFF2-40B4-BE49-F238E27FC236}">
                <a16:creationId xmlns:a16="http://schemas.microsoft.com/office/drawing/2014/main" id="{A319A54D-F911-4807-9AAD-7170EAF02AE0}"/>
              </a:ext>
            </a:extLst>
          </p:cNvPr>
          <p:cNvPicPr>
            <a:picLocks noChangeAspect="1"/>
          </p:cNvPicPr>
          <p:nvPr/>
        </p:nvPicPr>
        <p:blipFill>
          <a:blip r:embed="rId2"/>
          <a:stretch>
            <a:fillRect/>
          </a:stretch>
        </p:blipFill>
        <p:spPr>
          <a:xfrm>
            <a:off x="147212" y="1544260"/>
            <a:ext cx="2198119" cy="2433090"/>
          </a:xfrm>
          <a:prstGeom prst="rect">
            <a:avLst/>
          </a:prstGeom>
        </p:spPr>
      </p:pic>
      <p:pic>
        <p:nvPicPr>
          <p:cNvPr id="8" name="Picture 7">
            <a:extLst>
              <a:ext uri="{FF2B5EF4-FFF2-40B4-BE49-F238E27FC236}">
                <a16:creationId xmlns:a16="http://schemas.microsoft.com/office/drawing/2014/main" id="{F2244643-DE6F-479F-98B8-7DC4A272C509}"/>
              </a:ext>
            </a:extLst>
          </p:cNvPr>
          <p:cNvPicPr>
            <a:picLocks noChangeAspect="1"/>
          </p:cNvPicPr>
          <p:nvPr/>
        </p:nvPicPr>
        <p:blipFill>
          <a:blip r:embed="rId3"/>
          <a:stretch>
            <a:fillRect/>
          </a:stretch>
        </p:blipFill>
        <p:spPr>
          <a:xfrm>
            <a:off x="2848339" y="3656263"/>
            <a:ext cx="2400300" cy="1162050"/>
          </a:xfrm>
          <a:prstGeom prst="rect">
            <a:avLst/>
          </a:prstGeom>
        </p:spPr>
      </p:pic>
      <p:pic>
        <p:nvPicPr>
          <p:cNvPr id="10" name="Picture 9">
            <a:extLst>
              <a:ext uri="{FF2B5EF4-FFF2-40B4-BE49-F238E27FC236}">
                <a16:creationId xmlns:a16="http://schemas.microsoft.com/office/drawing/2014/main" id="{68ED49FD-3088-4EE4-BA72-E57EC13DB468}"/>
              </a:ext>
            </a:extLst>
          </p:cNvPr>
          <p:cNvPicPr>
            <a:picLocks noChangeAspect="1"/>
          </p:cNvPicPr>
          <p:nvPr/>
        </p:nvPicPr>
        <p:blipFill>
          <a:blip r:embed="rId4"/>
          <a:stretch>
            <a:fillRect/>
          </a:stretch>
        </p:blipFill>
        <p:spPr>
          <a:xfrm>
            <a:off x="5705475" y="3920327"/>
            <a:ext cx="2524125" cy="466725"/>
          </a:xfrm>
          <a:prstGeom prst="rect">
            <a:avLst/>
          </a:prstGeom>
        </p:spPr>
      </p:pic>
    </p:spTree>
    <p:extLst>
      <p:ext uri="{BB962C8B-B14F-4D97-AF65-F5344CB8AC3E}">
        <p14:creationId xmlns:p14="http://schemas.microsoft.com/office/powerpoint/2010/main" val="2749778074"/>
      </p:ext>
    </p:extLst>
  </p:cSld>
  <p:clrMapOvr>
    <a:masterClrMapping/>
  </p:clrMapOvr>
  <p:transition spd="med">
    <p:wipe dir="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5BBCD-0354-47E7-94C3-A29794FCA18F}"/>
              </a:ext>
            </a:extLst>
          </p:cNvPr>
          <p:cNvSpPr>
            <a:spLocks noGrp="1"/>
          </p:cNvSpPr>
          <p:nvPr>
            <p:ph type="title"/>
          </p:nvPr>
        </p:nvSpPr>
        <p:spPr>
          <a:xfrm>
            <a:off x="0" y="0"/>
            <a:ext cx="8229600" cy="637794"/>
          </a:xfrm>
        </p:spPr>
        <p:txBody>
          <a:bodyPr/>
          <a:lstStyle/>
          <a:p>
            <a:r>
              <a:rPr lang="en-US" dirty="0"/>
              <a:t>Standard deviation - Example</a:t>
            </a:r>
          </a:p>
        </p:txBody>
      </p:sp>
      <p:sp>
        <p:nvSpPr>
          <p:cNvPr id="3" name="TextBox 2">
            <a:extLst>
              <a:ext uri="{FF2B5EF4-FFF2-40B4-BE49-F238E27FC236}">
                <a16:creationId xmlns:a16="http://schemas.microsoft.com/office/drawing/2014/main" id="{6AFC26AC-E651-4FD1-B690-D878A0FD673F}"/>
              </a:ext>
            </a:extLst>
          </p:cNvPr>
          <p:cNvSpPr txBox="1"/>
          <p:nvPr/>
        </p:nvSpPr>
        <p:spPr>
          <a:xfrm>
            <a:off x="76781" y="637793"/>
            <a:ext cx="7817772" cy="584775"/>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lumMod val="50000"/>
                    <a:lumOff val="50000"/>
                  </a:schemeClr>
                </a:solidFill>
                <a:latin typeface="+mn-lt"/>
              </a:rPr>
              <a:t>Question : </a:t>
            </a:r>
            <a:r>
              <a:rPr lang="en-US" sz="1600" dirty="0">
                <a:solidFill>
                  <a:schemeClr val="bg2">
                    <a:lumMod val="50000"/>
                    <a:lumOff val="50000"/>
                  </a:schemeClr>
                </a:solidFill>
                <a:latin typeface="+mn-lt"/>
              </a:rPr>
              <a:t>95% of student at school are between 1.1m and 1.7m tall. Assuming this data is normally distributed can you calculate the mean and Standard deviation ? </a:t>
            </a:r>
          </a:p>
        </p:txBody>
      </p:sp>
    </p:spTree>
    <p:extLst>
      <p:ext uri="{BB962C8B-B14F-4D97-AF65-F5344CB8AC3E}">
        <p14:creationId xmlns:p14="http://schemas.microsoft.com/office/powerpoint/2010/main" val="3141678141"/>
      </p:ext>
    </p:extLst>
  </p:cSld>
  <p:clrMapOvr>
    <a:masterClrMapping/>
  </p:clrMapOvr>
  <p:transition spd="med">
    <p:wipe dir="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D35B5-573E-45F2-AA11-938D7EC027C1}"/>
              </a:ext>
            </a:extLst>
          </p:cNvPr>
          <p:cNvSpPr>
            <a:spLocks noGrp="1"/>
          </p:cNvSpPr>
          <p:nvPr>
            <p:ph type="title"/>
          </p:nvPr>
        </p:nvSpPr>
        <p:spPr>
          <a:xfrm>
            <a:off x="0" y="0"/>
            <a:ext cx="8229600" cy="637794"/>
          </a:xfrm>
        </p:spPr>
        <p:txBody>
          <a:bodyPr/>
          <a:lstStyle/>
          <a:p>
            <a:r>
              <a:rPr lang="en-US" dirty="0"/>
              <a:t>Standard Scores – Z score</a:t>
            </a:r>
          </a:p>
        </p:txBody>
      </p:sp>
      <p:sp>
        <p:nvSpPr>
          <p:cNvPr id="3" name="TextBox 2">
            <a:extLst>
              <a:ext uri="{FF2B5EF4-FFF2-40B4-BE49-F238E27FC236}">
                <a16:creationId xmlns:a16="http://schemas.microsoft.com/office/drawing/2014/main" id="{D9CF5642-1192-46E0-B3A4-1166F1C7D7CE}"/>
              </a:ext>
            </a:extLst>
          </p:cNvPr>
          <p:cNvSpPr txBox="1"/>
          <p:nvPr/>
        </p:nvSpPr>
        <p:spPr>
          <a:xfrm>
            <a:off x="328067" y="935340"/>
            <a:ext cx="7412922" cy="2246769"/>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The number of Standard Deviations from the mean is also called the “standard Score”. “ Sigma” or “z-score”.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Ex : In the same school one of your friend is 1.8m tall</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You can see on the bell curve that 1.85m is 3 standard deviations from the mean of 1.4, so</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Your friend’s height has “z-score” of 3.0</a:t>
            </a:r>
          </a:p>
          <a:p>
            <a:pPr>
              <a:spcBef>
                <a:spcPts val="0"/>
              </a:spcBef>
              <a:spcAft>
                <a:spcPts val="0"/>
              </a:spcAft>
              <a:buClr>
                <a:schemeClr val="bg1"/>
              </a:buClr>
            </a:pPr>
            <a:endParaRPr lang="en-US" sz="1400" dirty="0">
              <a:solidFill>
                <a:schemeClr val="bg2"/>
              </a:solidFill>
              <a:latin typeface="+mn-lt"/>
            </a:endParaRPr>
          </a:p>
        </p:txBody>
      </p:sp>
      <p:pic>
        <p:nvPicPr>
          <p:cNvPr id="7" name="Picture 6">
            <a:extLst>
              <a:ext uri="{FF2B5EF4-FFF2-40B4-BE49-F238E27FC236}">
                <a16:creationId xmlns:a16="http://schemas.microsoft.com/office/drawing/2014/main" id="{FFC91F7C-8051-454D-8388-96BF6F8C1ED9}"/>
              </a:ext>
            </a:extLst>
          </p:cNvPr>
          <p:cNvPicPr>
            <a:picLocks noChangeAspect="1"/>
          </p:cNvPicPr>
          <p:nvPr/>
        </p:nvPicPr>
        <p:blipFill>
          <a:blip r:embed="rId2"/>
          <a:stretch>
            <a:fillRect/>
          </a:stretch>
        </p:blipFill>
        <p:spPr>
          <a:xfrm>
            <a:off x="4955257" y="2664340"/>
            <a:ext cx="3714750" cy="2095500"/>
          </a:xfrm>
          <a:prstGeom prst="rect">
            <a:avLst/>
          </a:prstGeom>
        </p:spPr>
      </p:pic>
    </p:spTree>
    <p:extLst>
      <p:ext uri="{BB962C8B-B14F-4D97-AF65-F5344CB8AC3E}">
        <p14:creationId xmlns:p14="http://schemas.microsoft.com/office/powerpoint/2010/main" val="4159058822"/>
      </p:ext>
    </p:extLst>
  </p:cSld>
  <p:clrMapOvr>
    <a:masterClrMapping/>
  </p:clrMapOvr>
  <p:transition spd="med">
    <p:wipe dir="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7C354-71C7-4691-9AF7-C0B53DAD6904}"/>
              </a:ext>
            </a:extLst>
          </p:cNvPr>
          <p:cNvSpPr>
            <a:spLocks noGrp="1"/>
          </p:cNvSpPr>
          <p:nvPr>
            <p:ph type="title"/>
          </p:nvPr>
        </p:nvSpPr>
        <p:spPr>
          <a:xfrm>
            <a:off x="0" y="0"/>
            <a:ext cx="8229600" cy="637794"/>
          </a:xfrm>
        </p:spPr>
        <p:txBody>
          <a:bodyPr/>
          <a:lstStyle/>
          <a:p>
            <a:r>
              <a:rPr lang="en-US" dirty="0"/>
              <a:t>Standard Scores – Z score</a:t>
            </a:r>
          </a:p>
        </p:txBody>
      </p:sp>
      <p:sp>
        <p:nvSpPr>
          <p:cNvPr id="3" name="TextBox 2">
            <a:extLst>
              <a:ext uri="{FF2B5EF4-FFF2-40B4-BE49-F238E27FC236}">
                <a16:creationId xmlns:a16="http://schemas.microsoft.com/office/drawing/2014/main" id="{02017ADE-8590-473B-AC66-8F77B39B00FF}"/>
              </a:ext>
            </a:extLst>
          </p:cNvPr>
          <p:cNvSpPr txBox="1"/>
          <p:nvPr/>
        </p:nvSpPr>
        <p:spPr>
          <a:xfrm>
            <a:off x="209405" y="893460"/>
            <a:ext cx="5137392" cy="1384995"/>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t is also possible to calculate how many standard deviations 1.85 is from the mean</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How far is 1.85 from the mean ? </a:t>
            </a:r>
          </a:p>
          <a:p>
            <a:pPr marL="742950" lvl="1"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It is 1.85 – 1.4 = 0.45m from the mean</a:t>
            </a:r>
          </a:p>
          <a:p>
            <a:pPr lvl="1">
              <a:spcBef>
                <a:spcPts val="0"/>
              </a:spcBef>
              <a:spcAft>
                <a:spcPts val="0"/>
              </a:spcAft>
              <a:buClr>
                <a:schemeClr val="bg1"/>
              </a:buClr>
            </a:pPr>
            <a:endParaRPr lang="en-US" sz="1400" dirty="0">
              <a:solidFill>
                <a:schemeClr val="bg2"/>
              </a:solidFill>
              <a:latin typeface="+mn-lt"/>
            </a:endParaRPr>
          </a:p>
        </p:txBody>
      </p:sp>
      <p:sp>
        <p:nvSpPr>
          <p:cNvPr id="4" name="TextBox 3">
            <a:extLst>
              <a:ext uri="{FF2B5EF4-FFF2-40B4-BE49-F238E27FC236}">
                <a16:creationId xmlns:a16="http://schemas.microsoft.com/office/drawing/2014/main" id="{1C340921-A93E-418E-8C7D-652A415018A5}"/>
              </a:ext>
            </a:extLst>
          </p:cNvPr>
          <p:cNvSpPr txBox="1"/>
          <p:nvPr/>
        </p:nvSpPr>
        <p:spPr>
          <a:xfrm>
            <a:off x="209405" y="2429093"/>
            <a:ext cx="3357453" cy="95410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How many standard deviation is that ? The SD is 0.15m so it i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D95996C3-DB60-464B-ADA7-6360632584BC}"/>
              </a:ext>
            </a:extLst>
          </p:cNvPr>
          <p:cNvPicPr>
            <a:picLocks noChangeAspect="1"/>
          </p:cNvPicPr>
          <p:nvPr/>
        </p:nvPicPr>
        <p:blipFill>
          <a:blip r:embed="rId2"/>
          <a:stretch>
            <a:fillRect/>
          </a:stretch>
        </p:blipFill>
        <p:spPr>
          <a:xfrm>
            <a:off x="4759809" y="1585957"/>
            <a:ext cx="3714750" cy="2095500"/>
          </a:xfrm>
          <a:prstGeom prst="rect">
            <a:avLst/>
          </a:prstGeom>
        </p:spPr>
      </p:pic>
      <p:pic>
        <p:nvPicPr>
          <p:cNvPr id="7" name="Picture 6">
            <a:extLst>
              <a:ext uri="{FF2B5EF4-FFF2-40B4-BE49-F238E27FC236}">
                <a16:creationId xmlns:a16="http://schemas.microsoft.com/office/drawing/2014/main" id="{0B67CD34-7C4A-4AE7-9950-691B1C0CD442}"/>
              </a:ext>
            </a:extLst>
          </p:cNvPr>
          <p:cNvPicPr>
            <a:picLocks noChangeAspect="1"/>
          </p:cNvPicPr>
          <p:nvPr/>
        </p:nvPicPr>
        <p:blipFill>
          <a:blip r:embed="rId3"/>
          <a:stretch>
            <a:fillRect/>
          </a:stretch>
        </p:blipFill>
        <p:spPr>
          <a:xfrm>
            <a:off x="537581" y="2977872"/>
            <a:ext cx="1716681" cy="810655"/>
          </a:xfrm>
          <a:prstGeom prst="rect">
            <a:avLst/>
          </a:prstGeom>
        </p:spPr>
      </p:pic>
      <p:sp>
        <p:nvSpPr>
          <p:cNvPr id="8" name="TextBox 7">
            <a:extLst>
              <a:ext uri="{FF2B5EF4-FFF2-40B4-BE49-F238E27FC236}">
                <a16:creationId xmlns:a16="http://schemas.microsoft.com/office/drawing/2014/main" id="{D4454898-1E55-476F-BF21-5748303D9A9E}"/>
              </a:ext>
            </a:extLst>
          </p:cNvPr>
          <p:cNvSpPr txBox="1"/>
          <p:nvPr/>
        </p:nvSpPr>
        <p:spPr>
          <a:xfrm>
            <a:off x="1305288" y="3931979"/>
            <a:ext cx="294562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Z is “z score” (standard Score)</a:t>
            </a:r>
          </a:p>
          <a:p>
            <a:pPr>
              <a:spcBef>
                <a:spcPts val="0"/>
              </a:spcBef>
              <a:spcAft>
                <a:spcPts val="0"/>
              </a:spcAft>
              <a:buClr>
                <a:schemeClr val="bg1"/>
              </a:buClr>
            </a:pPr>
            <a:r>
              <a:rPr lang="en-US" sz="1400" dirty="0">
                <a:solidFill>
                  <a:schemeClr val="bg2"/>
                </a:solidFill>
                <a:latin typeface="+mn-lt"/>
              </a:rPr>
              <a:t>X is the Value to be standardized </a:t>
            </a:r>
          </a:p>
          <a:p>
            <a:pPr>
              <a:spcBef>
                <a:spcPts val="0"/>
              </a:spcBef>
              <a:spcAft>
                <a:spcPts val="0"/>
              </a:spcAft>
              <a:buClr>
                <a:schemeClr val="bg1"/>
              </a:buClr>
            </a:pPr>
            <a:r>
              <a:rPr lang="en-US" sz="1400" dirty="0">
                <a:solidFill>
                  <a:schemeClr val="bg2"/>
                </a:solidFill>
                <a:latin typeface="+mn-lt"/>
              </a:rPr>
              <a:t>µ is the mean</a:t>
            </a:r>
          </a:p>
          <a:p>
            <a:pPr>
              <a:spcBef>
                <a:spcPts val="0"/>
              </a:spcBef>
              <a:spcAft>
                <a:spcPts val="0"/>
              </a:spcAft>
              <a:buClr>
                <a:schemeClr val="bg1"/>
              </a:buClr>
            </a:pPr>
            <a:r>
              <a:rPr lang="en-US" sz="1400" dirty="0">
                <a:solidFill>
                  <a:schemeClr val="bg2"/>
                </a:solidFill>
                <a:latin typeface="+mn-lt"/>
              </a:rPr>
              <a:t>σ is the SD</a:t>
            </a:r>
          </a:p>
        </p:txBody>
      </p:sp>
    </p:spTree>
    <p:extLst>
      <p:ext uri="{BB962C8B-B14F-4D97-AF65-F5344CB8AC3E}">
        <p14:creationId xmlns:p14="http://schemas.microsoft.com/office/powerpoint/2010/main" val="2272793103"/>
      </p:ext>
    </p:extLst>
  </p:cSld>
  <p:clrMapOvr>
    <a:masterClrMapping/>
  </p:clrMapOvr>
  <p:transition spd="med">
    <p:wipe dir="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95229-5250-4E90-BFE7-38424398256E}"/>
              </a:ext>
            </a:extLst>
          </p:cNvPr>
          <p:cNvSpPr>
            <a:spLocks noGrp="1"/>
          </p:cNvSpPr>
          <p:nvPr>
            <p:ph type="title"/>
          </p:nvPr>
        </p:nvSpPr>
        <p:spPr>
          <a:xfrm>
            <a:off x="0" y="0"/>
            <a:ext cx="8229600" cy="637794"/>
          </a:xfrm>
        </p:spPr>
        <p:txBody>
          <a:bodyPr/>
          <a:lstStyle/>
          <a:p>
            <a:r>
              <a:rPr lang="en-US" dirty="0"/>
              <a:t>Histograms</a:t>
            </a:r>
          </a:p>
        </p:txBody>
      </p:sp>
      <p:sp>
        <p:nvSpPr>
          <p:cNvPr id="3" name="TextBox 2">
            <a:extLst>
              <a:ext uri="{FF2B5EF4-FFF2-40B4-BE49-F238E27FC236}">
                <a16:creationId xmlns:a16="http://schemas.microsoft.com/office/drawing/2014/main" id="{02CA0D85-203F-4043-BAA0-B836164FA90E}"/>
              </a:ext>
            </a:extLst>
          </p:cNvPr>
          <p:cNvSpPr txBox="1"/>
          <p:nvPr/>
        </p:nvSpPr>
        <p:spPr>
          <a:xfrm>
            <a:off x="97722" y="567762"/>
            <a:ext cx="6875451" cy="3985706"/>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It is like a </a:t>
            </a:r>
            <a:r>
              <a:rPr lang="en-US" sz="1100" b="0" i="0" dirty="0">
                <a:solidFill>
                  <a:schemeClr val="bg2">
                    <a:lumMod val="50000"/>
                    <a:lumOff val="50000"/>
                  </a:schemeClr>
                </a:solidFill>
                <a:effectLst/>
                <a:latin typeface="Verdana" panose="020B0604030504040204" pitchFamily="34" charset="0"/>
                <a:hlinkClick r:id="rId2">
                  <a:extLst>
                    <a:ext uri="{A12FA001-AC4F-418D-AE19-62706E023703}">
                      <ahyp:hlinkClr xmlns:ahyp="http://schemas.microsoft.com/office/drawing/2018/hyperlinkcolor" val="tx"/>
                    </a:ext>
                  </a:extLst>
                </a:hlinkClick>
              </a:rPr>
              <a:t>Bar Chart</a:t>
            </a:r>
            <a:r>
              <a:rPr lang="en-US" sz="1100" b="0" i="0" dirty="0">
                <a:solidFill>
                  <a:schemeClr val="bg2">
                    <a:lumMod val="50000"/>
                    <a:lumOff val="50000"/>
                  </a:schemeClr>
                </a:solidFill>
                <a:effectLst/>
                <a:latin typeface="Verdana" panose="020B0604030504040204" pitchFamily="34" charset="0"/>
              </a:rPr>
              <a:t>, but a histogram groups numbers into </a:t>
            </a:r>
            <a:r>
              <a:rPr lang="en-US" sz="1100" b="1" i="0" dirty="0">
                <a:solidFill>
                  <a:schemeClr val="bg2">
                    <a:lumMod val="50000"/>
                    <a:lumOff val="50000"/>
                  </a:schemeClr>
                </a:solidFill>
                <a:effectLst/>
                <a:latin typeface="Verdana" panose="020B0604030504040204" pitchFamily="34" charset="0"/>
              </a:rPr>
              <a:t>ranges </a:t>
            </a:r>
            <a:r>
              <a:rPr lang="en-US" sz="1100" b="0" i="0" dirty="0">
                <a:solidFill>
                  <a:schemeClr val="bg2">
                    <a:lumMod val="50000"/>
                    <a:lumOff val="50000"/>
                  </a:schemeClr>
                </a:solidFill>
                <a:effectLst/>
                <a:latin typeface="Verdana" panose="020B0604030504040204" pitchFamily="34" charset="0"/>
              </a:rPr>
              <a:t>.</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height of each bar shows how many fall into each range.</a:t>
            </a:r>
          </a:p>
          <a:p>
            <a:pPr algn="l"/>
            <a:r>
              <a:rPr lang="en-US" sz="1100" b="0" i="0" dirty="0">
                <a:solidFill>
                  <a:schemeClr val="bg2">
                    <a:lumMod val="50000"/>
                    <a:lumOff val="50000"/>
                  </a:schemeClr>
                </a:solidFill>
                <a:effectLst/>
                <a:latin typeface="Verdana" panose="020B0604030504040204" pitchFamily="34" charset="0"/>
              </a:rPr>
              <a:t>And you decide what ranges to use!</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Ex: </a:t>
            </a:r>
          </a:p>
          <a:p>
            <a:pPr algn="l"/>
            <a:endParaRPr lang="en-US" sz="1100" b="1" dirty="0">
              <a:solidFill>
                <a:schemeClr val="bg2">
                  <a:lumMod val="50000"/>
                  <a:lumOff val="50000"/>
                </a:schemeClr>
              </a:solidFill>
              <a:latin typeface="Verdana" panose="020B0604030504040204" pitchFamily="34" charset="0"/>
            </a:endParaRPr>
          </a:p>
          <a:p>
            <a:pPr algn="l"/>
            <a:r>
              <a:rPr lang="en-US" sz="1400" b="0" i="0" dirty="0">
                <a:solidFill>
                  <a:schemeClr val="bg2">
                    <a:lumMod val="50000"/>
                    <a:lumOff val="50000"/>
                  </a:schemeClr>
                </a:solidFill>
                <a:effectLst/>
                <a:latin typeface="Verdana" panose="020B0604030504040204" pitchFamily="34" charset="0"/>
              </a:rPr>
              <a:t>The heights vary from 100 cm to 340 cm</a:t>
            </a:r>
          </a:p>
          <a:p>
            <a:pPr algn="l"/>
            <a:r>
              <a:rPr lang="en-US" sz="1400" b="0" i="0" dirty="0">
                <a:solidFill>
                  <a:schemeClr val="bg2">
                    <a:lumMod val="50000"/>
                    <a:lumOff val="50000"/>
                  </a:schemeClr>
                </a:solidFill>
                <a:effectLst/>
                <a:latin typeface="Verdana" panose="020B0604030504040204" pitchFamily="34" charset="0"/>
              </a:rPr>
              <a:t>You decide to put the results into groups of 50 cm:</a:t>
            </a:r>
          </a:p>
          <a:p>
            <a:pPr algn="l"/>
            <a:endParaRPr lang="en-US" sz="1400" b="0" i="0" dirty="0">
              <a:solidFill>
                <a:schemeClr val="bg2">
                  <a:lumMod val="50000"/>
                  <a:lumOff val="50000"/>
                </a:schemeClr>
              </a:solidFill>
              <a:effectLst/>
              <a:latin typeface="Verdana" panose="020B0604030504040204" pitchFamily="34" charset="0"/>
            </a:endParaRP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The </a:t>
            </a:r>
            <a:r>
              <a:rPr lang="en-US" sz="1400" b="1" i="0" dirty="0">
                <a:solidFill>
                  <a:schemeClr val="bg2">
                    <a:lumMod val="50000"/>
                    <a:lumOff val="50000"/>
                  </a:schemeClr>
                </a:solidFill>
                <a:effectLst/>
                <a:latin typeface="Verdana" panose="020B0604030504040204" pitchFamily="34" charset="0"/>
              </a:rPr>
              <a:t>100 to just below 150 cm</a:t>
            </a:r>
            <a:r>
              <a:rPr lang="en-US" sz="1400" b="0" i="0" dirty="0">
                <a:solidFill>
                  <a:schemeClr val="bg2">
                    <a:lumMod val="50000"/>
                    <a:lumOff val="50000"/>
                  </a:schemeClr>
                </a:solidFill>
                <a:effectLst/>
                <a:latin typeface="Verdana" panose="020B0604030504040204" pitchFamily="34" charset="0"/>
              </a:rPr>
              <a:t> range,</a:t>
            </a: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The </a:t>
            </a:r>
            <a:r>
              <a:rPr lang="en-US" sz="1400" b="1" i="0" dirty="0">
                <a:solidFill>
                  <a:schemeClr val="bg2">
                    <a:lumMod val="50000"/>
                    <a:lumOff val="50000"/>
                  </a:schemeClr>
                </a:solidFill>
                <a:effectLst/>
                <a:latin typeface="Verdana" panose="020B0604030504040204" pitchFamily="34" charset="0"/>
              </a:rPr>
              <a:t>150 to just below 200 cm</a:t>
            </a:r>
            <a:r>
              <a:rPr lang="en-US" sz="1400" b="0" i="0" dirty="0">
                <a:solidFill>
                  <a:schemeClr val="bg2">
                    <a:lumMod val="50000"/>
                    <a:lumOff val="50000"/>
                  </a:schemeClr>
                </a:solidFill>
                <a:effectLst/>
                <a:latin typeface="Verdana" panose="020B0604030504040204" pitchFamily="34" charset="0"/>
              </a:rPr>
              <a:t> range,</a:t>
            </a: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etc...</a:t>
            </a:r>
          </a:p>
          <a:p>
            <a:pPr algn="l">
              <a:buFont typeface="Arial" panose="020B0604020202020204" pitchFamily="34" charset="0"/>
              <a:buChar char="•"/>
            </a:pPr>
            <a:endParaRPr lang="en-US" sz="1400" b="0" i="0" dirty="0">
              <a:solidFill>
                <a:schemeClr val="bg2">
                  <a:lumMod val="50000"/>
                  <a:lumOff val="50000"/>
                </a:schemeClr>
              </a:solidFill>
              <a:effectLst/>
              <a:latin typeface="Verdana" panose="020B0604030504040204" pitchFamily="34" charset="0"/>
            </a:endParaRPr>
          </a:p>
          <a:p>
            <a:pPr algn="l"/>
            <a:r>
              <a:rPr lang="en-US" sz="1400" b="0" i="0" dirty="0">
                <a:solidFill>
                  <a:schemeClr val="bg2">
                    <a:lumMod val="50000"/>
                    <a:lumOff val="50000"/>
                  </a:schemeClr>
                </a:solidFill>
                <a:effectLst/>
                <a:latin typeface="Verdana" panose="020B0604030504040204" pitchFamily="34" charset="0"/>
              </a:rPr>
              <a:t>So, a tree that is 260 cm tall is added to the "250-300" range.</a:t>
            </a:r>
          </a:p>
          <a:p>
            <a:pPr algn="l"/>
            <a:r>
              <a:rPr lang="en-US" sz="1400" b="0" i="0" dirty="0">
                <a:solidFill>
                  <a:schemeClr val="bg2">
                    <a:lumMod val="50000"/>
                    <a:lumOff val="50000"/>
                  </a:schemeClr>
                </a:solidFill>
                <a:effectLst/>
                <a:latin typeface="Verdana" panose="020B0604030504040204" pitchFamily="34" charset="0"/>
              </a:rPr>
              <a:t>And here is the result: </a:t>
            </a:r>
            <a:r>
              <a:rPr lang="en-US" sz="1400" dirty="0">
                <a:solidFill>
                  <a:schemeClr val="bg2">
                    <a:lumMod val="50000"/>
                    <a:lumOff val="50000"/>
                  </a:schemeClr>
                </a:solidFill>
                <a:latin typeface="Verdana" panose="020B0604030504040204" pitchFamily="34" charset="0"/>
              </a:rPr>
              <a:t>You can see (for example) that there are </a:t>
            </a:r>
            <a:r>
              <a:rPr lang="en-US" sz="1400" b="1" dirty="0">
                <a:solidFill>
                  <a:schemeClr val="bg2">
                    <a:lumMod val="50000"/>
                    <a:lumOff val="50000"/>
                  </a:schemeClr>
                </a:solidFill>
                <a:latin typeface="Verdana" panose="020B0604030504040204" pitchFamily="34" charset="0"/>
              </a:rPr>
              <a:t>30 trees </a:t>
            </a:r>
            <a:r>
              <a:rPr lang="en-US" sz="1400" dirty="0">
                <a:solidFill>
                  <a:schemeClr val="bg2">
                    <a:lumMod val="50000"/>
                    <a:lumOff val="50000"/>
                  </a:schemeClr>
                </a:solidFill>
                <a:latin typeface="Verdana" panose="020B0604030504040204" pitchFamily="34" charset="0"/>
              </a:rPr>
              <a:t>from 150 cm to just below 200 cm tall</a:t>
            </a:r>
          </a:p>
          <a:p>
            <a:pPr algn="l"/>
            <a:endParaRPr lang="en-US" sz="1100" b="1"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4AB5BAB6-917D-48BD-A220-866ABDB030B4}"/>
              </a:ext>
            </a:extLst>
          </p:cNvPr>
          <p:cNvPicPr>
            <a:picLocks noChangeAspect="1"/>
          </p:cNvPicPr>
          <p:nvPr/>
        </p:nvPicPr>
        <p:blipFill>
          <a:blip r:embed="rId3"/>
          <a:stretch>
            <a:fillRect/>
          </a:stretch>
        </p:blipFill>
        <p:spPr>
          <a:xfrm>
            <a:off x="7189475" y="0"/>
            <a:ext cx="1644959" cy="1472812"/>
          </a:xfrm>
          <a:prstGeom prst="rect">
            <a:avLst/>
          </a:prstGeom>
        </p:spPr>
      </p:pic>
      <p:sp>
        <p:nvSpPr>
          <p:cNvPr id="6" name="TextBox 5">
            <a:extLst>
              <a:ext uri="{FF2B5EF4-FFF2-40B4-BE49-F238E27FC236}">
                <a16:creationId xmlns:a16="http://schemas.microsoft.com/office/drawing/2014/main" id="{B2C1368F-05C5-41F3-8C92-C3184D2F0C42}"/>
              </a:ext>
            </a:extLst>
          </p:cNvPr>
          <p:cNvSpPr txBox="1"/>
          <p:nvPr/>
        </p:nvSpPr>
        <p:spPr>
          <a:xfrm>
            <a:off x="97722" y="4167151"/>
            <a:ext cx="7824751" cy="276999"/>
          </a:xfrm>
          <a:prstGeom prst="rect">
            <a:avLst/>
          </a:prstGeom>
          <a:noFill/>
        </p:spPr>
        <p:txBody>
          <a:bodyPr wrap="square" rtlCol="0">
            <a:spAutoFit/>
          </a:bodyPr>
          <a:lstStyle/>
          <a:p>
            <a:pPr>
              <a:spcBef>
                <a:spcPts val="0"/>
              </a:spcBef>
              <a:spcAft>
                <a:spcPts val="0"/>
              </a:spcAft>
              <a:buClr>
                <a:schemeClr val="bg1"/>
              </a:buClr>
            </a:pPr>
            <a:r>
              <a:rPr lang="en-US" sz="1200" b="0" i="0" dirty="0">
                <a:solidFill>
                  <a:schemeClr val="bg2">
                    <a:lumMod val="50000"/>
                    <a:lumOff val="50000"/>
                  </a:schemeClr>
                </a:solidFill>
                <a:effectLst/>
                <a:latin typeface="Verdana" panose="020B0604030504040204" pitchFamily="34" charset="0"/>
              </a:rPr>
              <a:t>The range of each bar is also called the </a:t>
            </a:r>
            <a:r>
              <a:rPr lang="en-US" sz="1200" b="1" i="0" dirty="0">
                <a:solidFill>
                  <a:schemeClr val="bg2">
                    <a:lumMod val="50000"/>
                    <a:lumOff val="50000"/>
                  </a:schemeClr>
                </a:solidFill>
                <a:effectLst/>
                <a:latin typeface="Verdana" panose="020B0604030504040204" pitchFamily="34" charset="0"/>
              </a:rPr>
              <a:t>Class Interval</a:t>
            </a:r>
            <a:endParaRPr lang="en-US" sz="1600" dirty="0">
              <a:solidFill>
                <a:schemeClr val="bg2">
                  <a:lumMod val="50000"/>
                  <a:lumOff val="50000"/>
                </a:schemeClr>
              </a:solidFill>
              <a:latin typeface="+mn-lt"/>
            </a:endParaRPr>
          </a:p>
        </p:txBody>
      </p:sp>
      <p:pic>
        <p:nvPicPr>
          <p:cNvPr id="8" name="Picture 7">
            <a:extLst>
              <a:ext uri="{FF2B5EF4-FFF2-40B4-BE49-F238E27FC236}">
                <a16:creationId xmlns:a16="http://schemas.microsoft.com/office/drawing/2014/main" id="{333C77C3-B4B9-46DA-8353-DCB6A97BD6C3}"/>
              </a:ext>
            </a:extLst>
          </p:cNvPr>
          <p:cNvPicPr>
            <a:picLocks noChangeAspect="1"/>
          </p:cNvPicPr>
          <p:nvPr/>
        </p:nvPicPr>
        <p:blipFill>
          <a:blip r:embed="rId4"/>
          <a:stretch>
            <a:fillRect/>
          </a:stretch>
        </p:blipFill>
        <p:spPr>
          <a:xfrm>
            <a:off x="7098089" y="2023881"/>
            <a:ext cx="1827730" cy="1759361"/>
          </a:xfrm>
          <a:prstGeom prst="rect">
            <a:avLst/>
          </a:prstGeom>
        </p:spPr>
      </p:pic>
    </p:spTree>
    <p:extLst>
      <p:ext uri="{BB962C8B-B14F-4D97-AF65-F5344CB8AC3E}">
        <p14:creationId xmlns:p14="http://schemas.microsoft.com/office/powerpoint/2010/main" val="1076367964"/>
      </p:ext>
    </p:extLst>
  </p:cSld>
  <p:clrMapOvr>
    <a:masterClrMapping/>
  </p:clrMapOvr>
  <p:transition spd="med">
    <p:wipe dir="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AD516-EB32-4D6F-A996-A221CB731514}"/>
              </a:ext>
            </a:extLst>
          </p:cNvPr>
          <p:cNvSpPr>
            <a:spLocks noGrp="1"/>
          </p:cNvSpPr>
          <p:nvPr>
            <p:ph type="title"/>
          </p:nvPr>
        </p:nvSpPr>
        <p:spPr/>
        <p:txBody>
          <a:bodyPr/>
          <a:lstStyle/>
          <a:p>
            <a:r>
              <a:rPr lang="en-US" dirty="0"/>
              <a:t>Histograms</a:t>
            </a:r>
          </a:p>
        </p:txBody>
      </p:sp>
      <p:pic>
        <p:nvPicPr>
          <p:cNvPr id="3" name="Picture 2">
            <a:extLst>
              <a:ext uri="{FF2B5EF4-FFF2-40B4-BE49-F238E27FC236}">
                <a16:creationId xmlns:a16="http://schemas.microsoft.com/office/drawing/2014/main" id="{1B4DE7F2-4C3F-4932-B02E-677EDE091489}"/>
              </a:ext>
            </a:extLst>
          </p:cNvPr>
          <p:cNvPicPr>
            <a:picLocks noChangeAspect="1"/>
          </p:cNvPicPr>
          <p:nvPr/>
        </p:nvPicPr>
        <p:blipFill>
          <a:blip r:embed="rId2"/>
          <a:stretch>
            <a:fillRect/>
          </a:stretch>
        </p:blipFill>
        <p:spPr>
          <a:xfrm>
            <a:off x="7014327" y="1144382"/>
            <a:ext cx="1827730" cy="1759361"/>
          </a:xfrm>
          <a:prstGeom prst="rect">
            <a:avLst/>
          </a:prstGeom>
        </p:spPr>
      </p:pic>
      <p:sp>
        <p:nvSpPr>
          <p:cNvPr id="4" name="TextBox 3">
            <a:extLst>
              <a:ext uri="{FF2B5EF4-FFF2-40B4-BE49-F238E27FC236}">
                <a16:creationId xmlns:a16="http://schemas.microsoft.com/office/drawing/2014/main" id="{CA3E50D1-0830-44E2-884E-56D3C7A922DC}"/>
              </a:ext>
            </a:extLst>
          </p:cNvPr>
          <p:cNvSpPr txBox="1"/>
          <p:nvPr/>
        </p:nvSpPr>
        <p:spPr>
          <a:xfrm>
            <a:off x="174504" y="984202"/>
            <a:ext cx="6114614" cy="1969770"/>
          </a:xfrm>
          <a:prstGeom prst="rect">
            <a:avLst/>
          </a:prstGeom>
          <a:noFill/>
        </p:spPr>
        <p:txBody>
          <a:bodyPr wrap="square" rtlCol="0">
            <a:spAutoFit/>
          </a:bodyPr>
          <a:lstStyle/>
          <a:p>
            <a:pPr algn="l"/>
            <a:r>
              <a:rPr lang="en-US" sz="1800" b="0" i="0" dirty="0">
                <a:solidFill>
                  <a:schemeClr val="bg2">
                    <a:lumMod val="50000"/>
                    <a:lumOff val="50000"/>
                  </a:schemeClr>
                </a:solidFill>
                <a:effectLst/>
                <a:latin typeface="Verdana" panose="020B0604030504040204" pitchFamily="34" charset="0"/>
              </a:rPr>
              <a:t>So, a tree that is 260 cm tall is added to the "250-300" range.</a:t>
            </a:r>
          </a:p>
          <a:p>
            <a:pPr algn="l"/>
            <a:endParaRPr lang="en-US" sz="1800" b="0" i="0" dirty="0">
              <a:solidFill>
                <a:schemeClr val="bg2">
                  <a:lumMod val="50000"/>
                  <a:lumOff val="50000"/>
                </a:schemeClr>
              </a:solidFill>
              <a:effectLst/>
              <a:latin typeface="Verdana" panose="020B0604030504040204" pitchFamily="34" charset="0"/>
            </a:endParaRPr>
          </a:p>
          <a:p>
            <a:pPr algn="l"/>
            <a:r>
              <a:rPr lang="en-US" sz="1800" b="0" i="0" dirty="0">
                <a:solidFill>
                  <a:schemeClr val="bg2">
                    <a:lumMod val="50000"/>
                    <a:lumOff val="50000"/>
                  </a:schemeClr>
                </a:solidFill>
                <a:effectLst/>
                <a:latin typeface="Verdana" panose="020B0604030504040204" pitchFamily="34" charset="0"/>
              </a:rPr>
              <a:t>And here is the result: </a:t>
            </a:r>
            <a:r>
              <a:rPr lang="en-US" sz="1800" dirty="0">
                <a:solidFill>
                  <a:schemeClr val="bg2">
                    <a:lumMod val="50000"/>
                    <a:lumOff val="50000"/>
                  </a:schemeClr>
                </a:solidFill>
                <a:latin typeface="Verdana" panose="020B0604030504040204" pitchFamily="34" charset="0"/>
              </a:rPr>
              <a:t>You can see (for example) that there are </a:t>
            </a:r>
            <a:r>
              <a:rPr lang="en-US" sz="1800" b="1" dirty="0">
                <a:solidFill>
                  <a:schemeClr val="bg2">
                    <a:lumMod val="50000"/>
                    <a:lumOff val="50000"/>
                  </a:schemeClr>
                </a:solidFill>
                <a:latin typeface="Verdana" panose="020B0604030504040204" pitchFamily="34" charset="0"/>
              </a:rPr>
              <a:t>30 trees </a:t>
            </a:r>
            <a:r>
              <a:rPr lang="en-US" sz="1800" dirty="0">
                <a:solidFill>
                  <a:schemeClr val="bg2">
                    <a:lumMod val="50000"/>
                    <a:lumOff val="50000"/>
                  </a:schemeClr>
                </a:solidFill>
                <a:latin typeface="Verdana" panose="020B0604030504040204" pitchFamily="34" charset="0"/>
              </a:rPr>
              <a:t>from 150 cm to just below 200 cm tall</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3098595869"/>
      </p:ext>
    </p:extLst>
  </p:cSld>
  <p:clrMapOvr>
    <a:masterClrMapping/>
  </p:clrMapOvr>
  <p:transition spd="med">
    <p:wipe dir="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9319C-B967-4DBC-B577-C36D61D4087E}"/>
              </a:ext>
            </a:extLst>
          </p:cNvPr>
          <p:cNvSpPr>
            <a:spLocks noGrp="1"/>
          </p:cNvSpPr>
          <p:nvPr>
            <p:ph type="title"/>
          </p:nvPr>
        </p:nvSpPr>
        <p:spPr>
          <a:xfrm>
            <a:off x="0" y="0"/>
            <a:ext cx="7280299" cy="640080"/>
          </a:xfrm>
        </p:spPr>
        <p:txBody>
          <a:bodyPr>
            <a:normAutofit/>
          </a:bodyPr>
          <a:lstStyle/>
          <a:p>
            <a:r>
              <a:rPr lang="en-US" sz="2200" dirty="0"/>
              <a:t>Difference between Bar chart and Histogram?</a:t>
            </a:r>
            <a:br>
              <a:rPr lang="en-US" sz="1500" dirty="0"/>
            </a:br>
            <a:endParaRPr lang="en-US" sz="1500" dirty="0"/>
          </a:p>
        </p:txBody>
      </p:sp>
      <p:pic>
        <p:nvPicPr>
          <p:cNvPr id="4" name="Picture 3">
            <a:extLst>
              <a:ext uri="{FF2B5EF4-FFF2-40B4-BE49-F238E27FC236}">
                <a16:creationId xmlns:a16="http://schemas.microsoft.com/office/drawing/2014/main" id="{2C7EC81D-861C-48BD-A0A8-B2F91ABA3322}"/>
              </a:ext>
            </a:extLst>
          </p:cNvPr>
          <p:cNvPicPr>
            <a:picLocks noChangeAspect="1"/>
          </p:cNvPicPr>
          <p:nvPr/>
        </p:nvPicPr>
        <p:blipFill>
          <a:blip r:embed="rId2"/>
          <a:stretch>
            <a:fillRect/>
          </a:stretch>
        </p:blipFill>
        <p:spPr>
          <a:xfrm>
            <a:off x="1307381" y="604652"/>
            <a:ext cx="3774169" cy="1537974"/>
          </a:xfrm>
          <a:prstGeom prst="rect">
            <a:avLst/>
          </a:prstGeom>
          <a:noFill/>
        </p:spPr>
      </p:pic>
      <p:pic>
        <p:nvPicPr>
          <p:cNvPr id="5" name="Picture 4">
            <a:extLst>
              <a:ext uri="{FF2B5EF4-FFF2-40B4-BE49-F238E27FC236}">
                <a16:creationId xmlns:a16="http://schemas.microsoft.com/office/drawing/2014/main" id="{AF69502C-67C4-4044-81C1-D6941ED26107}"/>
              </a:ext>
            </a:extLst>
          </p:cNvPr>
          <p:cNvPicPr>
            <a:picLocks noChangeAspect="1"/>
          </p:cNvPicPr>
          <p:nvPr/>
        </p:nvPicPr>
        <p:blipFill>
          <a:blip r:embed="rId3"/>
          <a:stretch>
            <a:fillRect/>
          </a:stretch>
        </p:blipFill>
        <p:spPr>
          <a:xfrm>
            <a:off x="583908" y="2304396"/>
            <a:ext cx="5321300" cy="2419350"/>
          </a:xfrm>
          <a:prstGeom prst="rect">
            <a:avLst/>
          </a:prstGeom>
        </p:spPr>
      </p:pic>
      <p:sp>
        <p:nvSpPr>
          <p:cNvPr id="6" name="TextBox 5">
            <a:extLst>
              <a:ext uri="{FF2B5EF4-FFF2-40B4-BE49-F238E27FC236}">
                <a16:creationId xmlns:a16="http://schemas.microsoft.com/office/drawing/2014/main" id="{20129627-80D3-4973-A282-9C67B56BC036}"/>
              </a:ext>
            </a:extLst>
          </p:cNvPr>
          <p:cNvSpPr txBox="1"/>
          <p:nvPr/>
        </p:nvSpPr>
        <p:spPr>
          <a:xfrm>
            <a:off x="5451499" y="565726"/>
            <a:ext cx="3471227" cy="1615827"/>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Histograms are a great way to show results of </a:t>
            </a:r>
            <a:r>
              <a:rPr lang="en-US" sz="1100" b="0" i="0" dirty="0">
                <a:solidFill>
                  <a:srgbClr val="333333"/>
                </a:solidFill>
                <a:effectLst/>
                <a:latin typeface="Verdana" panose="020B0604030504040204" pitchFamily="34" charset="0"/>
                <a:hlinkClick r:id="rId4"/>
              </a:rPr>
              <a:t>continuous data</a:t>
            </a:r>
            <a:r>
              <a:rPr lang="en-US" sz="1100" b="0" i="0" dirty="0">
                <a:solidFill>
                  <a:srgbClr val="333333"/>
                </a:solidFill>
                <a:effectLst/>
                <a:latin typeface="Verdana" panose="020B0604030504040204" pitchFamily="34" charset="0"/>
              </a:rPr>
              <a:t>, such as:</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weight</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height</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how much time</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etc.</a:t>
            </a:r>
          </a:p>
          <a:p>
            <a:pPr algn="l"/>
            <a:r>
              <a:rPr lang="en-US" sz="1100" b="0" i="0" dirty="0">
                <a:solidFill>
                  <a:srgbClr val="333333"/>
                </a:solidFill>
                <a:effectLst/>
                <a:latin typeface="Verdana" panose="020B0604030504040204" pitchFamily="34" charset="0"/>
              </a:rPr>
              <a:t>But when the data is in </a:t>
            </a:r>
            <a:r>
              <a:rPr lang="en-US" sz="1100" b="1" i="0" dirty="0">
                <a:solidFill>
                  <a:srgbClr val="333333"/>
                </a:solidFill>
                <a:effectLst/>
                <a:latin typeface="Verdana" panose="020B0604030504040204" pitchFamily="34" charset="0"/>
              </a:rPr>
              <a:t>categories</a:t>
            </a:r>
            <a:r>
              <a:rPr lang="en-US" sz="1100" b="0" i="0" dirty="0">
                <a:solidFill>
                  <a:srgbClr val="333333"/>
                </a:solidFill>
                <a:effectLst/>
                <a:latin typeface="Verdana" panose="020B0604030504040204" pitchFamily="34" charset="0"/>
              </a:rPr>
              <a:t> (such as Country or </a:t>
            </a:r>
            <a:r>
              <a:rPr lang="en-US" sz="1100" b="0" i="0" dirty="0" err="1">
                <a:solidFill>
                  <a:srgbClr val="333333"/>
                </a:solidFill>
                <a:effectLst/>
                <a:latin typeface="Verdana" panose="020B0604030504040204" pitchFamily="34" charset="0"/>
              </a:rPr>
              <a:t>Favourite</a:t>
            </a:r>
            <a:r>
              <a:rPr lang="en-US" sz="1100" b="0" i="0" dirty="0">
                <a:solidFill>
                  <a:srgbClr val="333333"/>
                </a:solidFill>
                <a:effectLst/>
                <a:latin typeface="Verdana" panose="020B0604030504040204" pitchFamily="34" charset="0"/>
              </a:rPr>
              <a:t> Movie), we should use a </a:t>
            </a:r>
            <a:r>
              <a:rPr lang="en-US" sz="1100" b="0" i="0" dirty="0">
                <a:solidFill>
                  <a:srgbClr val="333333"/>
                </a:solidFill>
                <a:effectLst/>
                <a:latin typeface="Verdana" panose="020B0604030504040204" pitchFamily="34" charset="0"/>
                <a:hlinkClick r:id="rId5"/>
              </a:rPr>
              <a:t>Bar Chart</a:t>
            </a:r>
            <a:r>
              <a:rPr lang="en-US" sz="1100" b="0" i="0" dirty="0">
                <a:solidFill>
                  <a:srgbClr val="333333"/>
                </a:solidFill>
                <a:effectLst/>
                <a:latin typeface="Verdana" panose="020B0604030504040204" pitchFamily="34" charset="0"/>
              </a:rPr>
              <a:t>.</a:t>
            </a:r>
          </a:p>
        </p:txBody>
      </p:sp>
    </p:spTree>
    <p:extLst>
      <p:ext uri="{BB962C8B-B14F-4D97-AF65-F5344CB8AC3E}">
        <p14:creationId xmlns:p14="http://schemas.microsoft.com/office/powerpoint/2010/main" val="209970773"/>
      </p:ext>
    </p:extLst>
  </p:cSld>
  <p:clrMapOvr>
    <a:masterClrMapping/>
  </p:clrMapOvr>
  <p:transition spd="med">
    <p:wipe dir="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F00B5-B4A0-49F0-B8B8-411104EA6D5A}"/>
              </a:ext>
            </a:extLst>
          </p:cNvPr>
          <p:cNvSpPr>
            <a:spLocks noGrp="1"/>
          </p:cNvSpPr>
          <p:nvPr>
            <p:ph type="title"/>
          </p:nvPr>
        </p:nvSpPr>
        <p:spPr>
          <a:xfrm>
            <a:off x="0" y="22860"/>
            <a:ext cx="4295219" cy="640080"/>
          </a:xfrm>
        </p:spPr>
        <p:txBody>
          <a:bodyPr/>
          <a:lstStyle/>
          <a:p>
            <a:r>
              <a:rPr lang="en-US" dirty="0"/>
              <a:t>Frequency Histogram</a:t>
            </a:r>
          </a:p>
        </p:txBody>
      </p:sp>
      <p:sp>
        <p:nvSpPr>
          <p:cNvPr id="3" name="Content Placeholder 2">
            <a:extLst>
              <a:ext uri="{FF2B5EF4-FFF2-40B4-BE49-F238E27FC236}">
                <a16:creationId xmlns:a16="http://schemas.microsoft.com/office/drawing/2014/main" id="{DEEEA18E-63DE-4CC5-A149-9DD21D04AE4B}"/>
              </a:ext>
            </a:extLst>
          </p:cNvPr>
          <p:cNvSpPr>
            <a:spLocks noGrp="1"/>
          </p:cNvSpPr>
          <p:nvPr>
            <p:ph sz="half" idx="13"/>
          </p:nvPr>
        </p:nvSpPr>
        <p:spPr>
          <a:xfrm>
            <a:off x="162637" y="1021894"/>
            <a:ext cx="8122804" cy="3200400"/>
          </a:xfrm>
        </p:spPr>
        <p:txBody>
          <a:bodyPr/>
          <a:lstStyle/>
          <a:p>
            <a:r>
              <a:rPr lang="en-US" b="0" i="0" dirty="0">
                <a:solidFill>
                  <a:srgbClr val="333333"/>
                </a:solidFill>
                <a:effectLst/>
                <a:latin typeface="Verdana" panose="020B0604030504040204" pitchFamily="34" charset="0"/>
              </a:rPr>
              <a:t>A Frequency Histogram is a special graph that uses vertical columns to show frequencies (how many times each score occurs):</a:t>
            </a:r>
            <a:endParaRPr lang="en-US" dirty="0"/>
          </a:p>
        </p:txBody>
      </p:sp>
      <p:pic>
        <p:nvPicPr>
          <p:cNvPr id="5" name="Picture 4">
            <a:extLst>
              <a:ext uri="{FF2B5EF4-FFF2-40B4-BE49-F238E27FC236}">
                <a16:creationId xmlns:a16="http://schemas.microsoft.com/office/drawing/2014/main" id="{F805CE92-2871-4815-B6D7-19282192ABEA}"/>
              </a:ext>
            </a:extLst>
          </p:cNvPr>
          <p:cNvPicPr>
            <a:picLocks noChangeAspect="1"/>
          </p:cNvPicPr>
          <p:nvPr/>
        </p:nvPicPr>
        <p:blipFill>
          <a:blip r:embed="rId2"/>
          <a:stretch>
            <a:fillRect/>
          </a:stretch>
        </p:blipFill>
        <p:spPr>
          <a:xfrm>
            <a:off x="2096940" y="1756207"/>
            <a:ext cx="2198279" cy="2365399"/>
          </a:xfrm>
          <a:prstGeom prst="rect">
            <a:avLst/>
          </a:prstGeom>
        </p:spPr>
      </p:pic>
      <p:sp>
        <p:nvSpPr>
          <p:cNvPr id="6" name="TextBox 5">
            <a:extLst>
              <a:ext uri="{FF2B5EF4-FFF2-40B4-BE49-F238E27FC236}">
                <a16:creationId xmlns:a16="http://schemas.microsoft.com/office/drawing/2014/main" id="{9F19E738-DFF2-4014-8A2C-7A2B1FE43B4A}"/>
              </a:ext>
            </a:extLst>
          </p:cNvPr>
          <p:cNvSpPr txBox="1"/>
          <p:nvPr/>
        </p:nvSpPr>
        <p:spPr>
          <a:xfrm>
            <a:off x="5514321" y="2324391"/>
            <a:ext cx="3148048" cy="769441"/>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Here I have added up how often 1 occurs (2 times),</a:t>
            </a:r>
            <a:br>
              <a:rPr lang="en-US" sz="1100" dirty="0"/>
            </a:br>
            <a:r>
              <a:rPr lang="en-US" sz="1100" b="0" i="0" dirty="0">
                <a:solidFill>
                  <a:srgbClr val="333333"/>
                </a:solidFill>
                <a:effectLst/>
                <a:latin typeface="Verdana" panose="020B0604030504040204" pitchFamily="34" charset="0"/>
              </a:rPr>
              <a:t>how often 2 occurs (5 times), </a:t>
            </a:r>
            <a:r>
              <a:rPr lang="en-US" sz="1100" b="0" i="0" dirty="0" err="1">
                <a:solidFill>
                  <a:srgbClr val="333333"/>
                </a:solidFill>
                <a:effectLst/>
                <a:latin typeface="Verdana" panose="020B0604030504040204" pitchFamily="34" charset="0"/>
              </a:rPr>
              <a:t>etc</a:t>
            </a:r>
            <a:r>
              <a:rPr lang="en-US" sz="1100" b="0" i="0" dirty="0">
                <a:solidFill>
                  <a:srgbClr val="333333"/>
                </a:solidFill>
                <a:effectLst/>
                <a:latin typeface="Verdana" panose="020B0604030504040204" pitchFamily="34" charset="0"/>
              </a:rPr>
              <a:t>,</a:t>
            </a:r>
            <a:br>
              <a:rPr lang="en-US" sz="1100" dirty="0"/>
            </a:br>
            <a:r>
              <a:rPr lang="en-US" sz="1100" b="0" i="0" dirty="0">
                <a:solidFill>
                  <a:srgbClr val="333333"/>
                </a:solidFill>
                <a:effectLst/>
                <a:latin typeface="Verdana" panose="020B0604030504040204" pitchFamily="34" charset="0"/>
              </a:rPr>
              <a:t>and shown them as a histogram.</a:t>
            </a:r>
            <a:endParaRPr lang="en-US" sz="1400" dirty="0">
              <a:solidFill>
                <a:schemeClr val="bg2"/>
              </a:solidFill>
              <a:latin typeface="+mn-lt"/>
            </a:endParaRPr>
          </a:p>
        </p:txBody>
      </p:sp>
    </p:spTree>
    <p:extLst>
      <p:ext uri="{BB962C8B-B14F-4D97-AF65-F5344CB8AC3E}">
        <p14:creationId xmlns:p14="http://schemas.microsoft.com/office/powerpoint/2010/main" val="2761370973"/>
      </p:ext>
    </p:extLst>
  </p:cSld>
  <p:clrMapOvr>
    <a:masterClrMapping/>
  </p:clrMapOvr>
  <p:transition spd="med">
    <p:wipe dir="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CE449-810C-4947-8A30-C5C6A047DDE9}"/>
              </a:ext>
            </a:extLst>
          </p:cNvPr>
          <p:cNvSpPr>
            <a:spLocks noGrp="1"/>
          </p:cNvSpPr>
          <p:nvPr>
            <p:ph type="title"/>
          </p:nvPr>
        </p:nvSpPr>
        <p:spPr>
          <a:xfrm>
            <a:off x="0" y="0"/>
            <a:ext cx="8298577" cy="640080"/>
          </a:xfrm>
        </p:spPr>
        <p:txBody>
          <a:bodyPr/>
          <a:lstStyle/>
          <a:p>
            <a:r>
              <a:rPr lang="en-US" dirty="0"/>
              <a:t>Normal Distribution</a:t>
            </a:r>
          </a:p>
        </p:txBody>
      </p:sp>
      <p:sp>
        <p:nvSpPr>
          <p:cNvPr id="3" name="Content Placeholder 2">
            <a:extLst>
              <a:ext uri="{FF2B5EF4-FFF2-40B4-BE49-F238E27FC236}">
                <a16:creationId xmlns:a16="http://schemas.microsoft.com/office/drawing/2014/main" id="{2B48B4E7-A91E-41DB-854D-B66CBEEBA92C}"/>
              </a:ext>
            </a:extLst>
          </p:cNvPr>
          <p:cNvSpPr>
            <a:spLocks noGrp="1"/>
          </p:cNvSpPr>
          <p:nvPr>
            <p:ph sz="half" idx="13"/>
          </p:nvPr>
        </p:nvSpPr>
        <p:spPr>
          <a:xfrm>
            <a:off x="0" y="547244"/>
            <a:ext cx="9065124" cy="3200400"/>
          </a:xfrm>
        </p:spPr>
        <p:txBody>
          <a:bodyPr/>
          <a:lstStyle/>
          <a:p>
            <a:r>
              <a:rPr lang="en-US" b="0" i="0" dirty="0">
                <a:solidFill>
                  <a:schemeClr val="bg2">
                    <a:lumMod val="50000"/>
                    <a:lumOff val="50000"/>
                  </a:schemeClr>
                </a:solidFill>
                <a:effectLst/>
                <a:latin typeface="Verdana" panose="020B0604030504040204" pitchFamily="34" charset="0"/>
              </a:rPr>
              <a:t>Data can be "distributed" (spread out) in different ways.</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0B486642-3923-4FF0-9B98-6FC95566A6AA}"/>
              </a:ext>
            </a:extLst>
          </p:cNvPr>
          <p:cNvPicPr>
            <a:picLocks noChangeAspect="1"/>
          </p:cNvPicPr>
          <p:nvPr/>
        </p:nvPicPr>
        <p:blipFill>
          <a:blip r:embed="rId2"/>
          <a:stretch>
            <a:fillRect/>
          </a:stretch>
        </p:blipFill>
        <p:spPr>
          <a:xfrm>
            <a:off x="1131584" y="911681"/>
            <a:ext cx="3440416" cy="1677083"/>
          </a:xfrm>
          <a:prstGeom prst="rect">
            <a:avLst/>
          </a:prstGeom>
        </p:spPr>
      </p:pic>
      <p:pic>
        <p:nvPicPr>
          <p:cNvPr id="7" name="Picture 6">
            <a:extLst>
              <a:ext uri="{FF2B5EF4-FFF2-40B4-BE49-F238E27FC236}">
                <a16:creationId xmlns:a16="http://schemas.microsoft.com/office/drawing/2014/main" id="{B8949DF2-72CB-4E05-BB91-D4723A9CD9FD}"/>
              </a:ext>
            </a:extLst>
          </p:cNvPr>
          <p:cNvPicPr>
            <a:picLocks noChangeAspect="1"/>
          </p:cNvPicPr>
          <p:nvPr/>
        </p:nvPicPr>
        <p:blipFill>
          <a:blip r:embed="rId3"/>
          <a:stretch>
            <a:fillRect/>
          </a:stretch>
        </p:blipFill>
        <p:spPr>
          <a:xfrm>
            <a:off x="4771115" y="1076325"/>
            <a:ext cx="1566863" cy="1495425"/>
          </a:xfrm>
          <a:prstGeom prst="rect">
            <a:avLst/>
          </a:prstGeom>
        </p:spPr>
      </p:pic>
      <p:pic>
        <p:nvPicPr>
          <p:cNvPr id="9" name="Picture 8">
            <a:extLst>
              <a:ext uri="{FF2B5EF4-FFF2-40B4-BE49-F238E27FC236}">
                <a16:creationId xmlns:a16="http://schemas.microsoft.com/office/drawing/2014/main" id="{31EBBA0A-2C14-4CC3-BC2F-11A65B17871E}"/>
              </a:ext>
            </a:extLst>
          </p:cNvPr>
          <p:cNvPicPr>
            <a:picLocks noChangeAspect="1"/>
          </p:cNvPicPr>
          <p:nvPr/>
        </p:nvPicPr>
        <p:blipFill>
          <a:blip r:embed="rId4"/>
          <a:stretch>
            <a:fillRect/>
          </a:stretch>
        </p:blipFill>
        <p:spPr>
          <a:xfrm>
            <a:off x="1986552" y="3242908"/>
            <a:ext cx="3440416" cy="1648533"/>
          </a:xfrm>
          <a:prstGeom prst="rect">
            <a:avLst/>
          </a:prstGeom>
        </p:spPr>
      </p:pic>
      <p:sp>
        <p:nvSpPr>
          <p:cNvPr id="10" name="TextBox 9">
            <a:extLst>
              <a:ext uri="{FF2B5EF4-FFF2-40B4-BE49-F238E27FC236}">
                <a16:creationId xmlns:a16="http://schemas.microsoft.com/office/drawing/2014/main" id="{E9F194E7-7F64-4C16-9487-1D5CACD12279}"/>
              </a:ext>
            </a:extLst>
          </p:cNvPr>
          <p:cNvSpPr txBox="1"/>
          <p:nvPr/>
        </p:nvSpPr>
        <p:spPr>
          <a:xfrm>
            <a:off x="0" y="2860365"/>
            <a:ext cx="2205728"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Normal Distribution : </a:t>
            </a:r>
          </a:p>
        </p:txBody>
      </p:sp>
    </p:spTree>
    <p:extLst>
      <p:ext uri="{BB962C8B-B14F-4D97-AF65-F5344CB8AC3E}">
        <p14:creationId xmlns:p14="http://schemas.microsoft.com/office/powerpoint/2010/main" val="2608275495"/>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AD2AC30-CBBF-43EB-AF23-963B8A7A6A13}"/>
              </a:ext>
            </a:extLst>
          </p:cNvPr>
          <p:cNvSpPr/>
          <p:nvPr/>
        </p:nvSpPr>
        <p:spPr>
          <a:xfrm>
            <a:off x="132621" y="1777656"/>
            <a:ext cx="7545547" cy="483913"/>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7" name="Picture 6" descr="A hand holding a sign&#10;&#10;Description automatically generated with low confidence">
            <a:extLst>
              <a:ext uri="{FF2B5EF4-FFF2-40B4-BE49-F238E27FC236}">
                <a16:creationId xmlns:a16="http://schemas.microsoft.com/office/drawing/2014/main" id="{E7CF08A8-2253-494F-B061-34EC8A35B25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442633" y="3365844"/>
            <a:ext cx="2237462" cy="1491641"/>
          </a:xfrm>
          <a:prstGeom prst="rect">
            <a:avLst/>
          </a:prstGeom>
        </p:spPr>
      </p:pic>
      <p:sp>
        <p:nvSpPr>
          <p:cNvPr id="2" name="Title 1">
            <a:extLst>
              <a:ext uri="{FF2B5EF4-FFF2-40B4-BE49-F238E27FC236}">
                <a16:creationId xmlns:a16="http://schemas.microsoft.com/office/drawing/2014/main" id="{0346C8A9-0ABB-4118-8AEB-EBEA4B84D459}"/>
              </a:ext>
            </a:extLst>
          </p:cNvPr>
          <p:cNvSpPr>
            <a:spLocks noGrp="1"/>
          </p:cNvSpPr>
          <p:nvPr>
            <p:ph type="title"/>
          </p:nvPr>
        </p:nvSpPr>
        <p:spPr>
          <a:xfrm>
            <a:off x="80166" y="52681"/>
            <a:ext cx="7955280" cy="640080"/>
          </a:xfrm>
        </p:spPr>
        <p:txBody>
          <a:bodyPr/>
          <a:lstStyle/>
          <a:p>
            <a:r>
              <a:rPr lang="en-US" dirty="0"/>
              <a:t>Population &amp; Sample</a:t>
            </a:r>
          </a:p>
        </p:txBody>
      </p:sp>
      <p:sp>
        <p:nvSpPr>
          <p:cNvPr id="3" name="Content Placeholder 2">
            <a:extLst>
              <a:ext uri="{FF2B5EF4-FFF2-40B4-BE49-F238E27FC236}">
                <a16:creationId xmlns:a16="http://schemas.microsoft.com/office/drawing/2014/main" id="{ED8E31E5-95A7-4252-A308-0E980CDDFA19}"/>
              </a:ext>
            </a:extLst>
          </p:cNvPr>
          <p:cNvSpPr>
            <a:spLocks noGrp="1"/>
          </p:cNvSpPr>
          <p:nvPr>
            <p:ph sz="half" idx="1"/>
          </p:nvPr>
        </p:nvSpPr>
        <p:spPr>
          <a:xfrm>
            <a:off x="80166" y="692761"/>
            <a:ext cx="7924386" cy="3200400"/>
          </a:xfrm>
        </p:spPr>
        <p:txBody>
          <a:bodyPr/>
          <a:lstStyle/>
          <a:p>
            <a:r>
              <a:rPr lang="en-US" dirty="0">
                <a:solidFill>
                  <a:schemeClr val="bg2">
                    <a:lumMod val="50000"/>
                    <a:lumOff val="50000"/>
                  </a:schemeClr>
                </a:solidFill>
              </a:rPr>
              <a:t>A </a:t>
            </a:r>
            <a:r>
              <a:rPr lang="en-US" b="1" dirty="0">
                <a:solidFill>
                  <a:schemeClr val="bg1"/>
                </a:solidFill>
              </a:rPr>
              <a:t>population</a:t>
            </a:r>
            <a:r>
              <a:rPr lang="en-US" dirty="0">
                <a:solidFill>
                  <a:schemeClr val="bg2">
                    <a:lumMod val="50000"/>
                    <a:lumOff val="50000"/>
                  </a:schemeClr>
                </a:solidFill>
              </a:rPr>
              <a:t> is the collection of all items of interest to our study and is usually denoted with an uppercase N.. The numbers we've obtained when using a population are called parameters..</a:t>
            </a:r>
          </a:p>
          <a:p>
            <a:r>
              <a:rPr lang="en-US" dirty="0">
                <a:solidFill>
                  <a:schemeClr val="bg2">
                    <a:lumMod val="50000"/>
                    <a:lumOff val="50000"/>
                  </a:schemeClr>
                </a:solidFill>
              </a:rPr>
              <a:t>A </a:t>
            </a:r>
            <a:r>
              <a:rPr lang="en-US" b="1" dirty="0">
                <a:solidFill>
                  <a:schemeClr val="bg1"/>
                </a:solidFill>
              </a:rPr>
              <a:t>sample</a:t>
            </a:r>
            <a:r>
              <a:rPr lang="en-US" dirty="0">
                <a:solidFill>
                  <a:schemeClr val="bg2">
                    <a:lumMod val="50000"/>
                    <a:lumOff val="50000"/>
                  </a:schemeClr>
                </a:solidFill>
              </a:rPr>
              <a:t> is a subset of the population and is denoted with a lowercase n and the numbers we've obtained when working with the sample are called statistics.</a:t>
            </a:r>
          </a:p>
        </p:txBody>
      </p:sp>
      <p:pic>
        <p:nvPicPr>
          <p:cNvPr id="5" name="Picture 4" descr="A picture containing tree, outdoor, sky, grass&#10;&#10;Description automatically generated">
            <a:extLst>
              <a:ext uri="{FF2B5EF4-FFF2-40B4-BE49-F238E27FC236}">
                <a16:creationId xmlns:a16="http://schemas.microsoft.com/office/drawing/2014/main" id="{431BA9D4-D8FA-4E00-8D33-B168C9712A2F}"/>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373330" y="2571750"/>
            <a:ext cx="2138607" cy="1247197"/>
          </a:xfrm>
          <a:prstGeom prst="rect">
            <a:avLst/>
          </a:prstGeom>
        </p:spPr>
      </p:pic>
      <p:pic>
        <p:nvPicPr>
          <p:cNvPr id="10" name="Picture 9">
            <a:extLst>
              <a:ext uri="{FF2B5EF4-FFF2-40B4-BE49-F238E27FC236}">
                <a16:creationId xmlns:a16="http://schemas.microsoft.com/office/drawing/2014/main" id="{356CE689-21BC-4E4B-B48F-87112F3A0EA6}"/>
              </a:ext>
            </a:extLst>
          </p:cNvPr>
          <p:cNvPicPr>
            <a:picLocks noChangeAspect="1"/>
          </p:cNvPicPr>
          <p:nvPr/>
        </p:nvPicPr>
        <p:blipFill>
          <a:blip r:embed="rId6"/>
          <a:stretch>
            <a:fillRect/>
          </a:stretch>
        </p:blipFill>
        <p:spPr>
          <a:xfrm>
            <a:off x="4481048" y="2411832"/>
            <a:ext cx="4324457" cy="2378765"/>
          </a:xfrm>
          <a:prstGeom prst="rect">
            <a:avLst/>
          </a:prstGeom>
        </p:spPr>
      </p:pic>
      <p:sp>
        <p:nvSpPr>
          <p:cNvPr id="11" name="TextBox 10">
            <a:extLst>
              <a:ext uri="{FF2B5EF4-FFF2-40B4-BE49-F238E27FC236}">
                <a16:creationId xmlns:a16="http://schemas.microsoft.com/office/drawing/2014/main" id="{828B196D-C3C6-48AA-BBC5-176FE77028BF}"/>
              </a:ext>
            </a:extLst>
          </p:cNvPr>
          <p:cNvSpPr txBox="1"/>
          <p:nvPr/>
        </p:nvSpPr>
        <p:spPr>
          <a:xfrm>
            <a:off x="132622" y="1777656"/>
            <a:ext cx="759800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tx2"/>
                </a:solidFill>
                <a:latin typeface="Arial" panose="020B0604020202020204" pitchFamily="34" charset="0"/>
                <a:cs typeface="Arial" panose="020B0604020202020204" pitchFamily="34" charset="0"/>
              </a:rPr>
              <a:t>Example : Let's say we want to perform a survey of the job prospects of the students studying in the New York University, what is the population?</a:t>
            </a:r>
          </a:p>
          <a:p>
            <a:pPr>
              <a:spcBef>
                <a:spcPts val="0"/>
              </a:spcBef>
              <a:spcAft>
                <a:spcPts val="0"/>
              </a:spcAft>
              <a:buClr>
                <a:schemeClr val="bg1"/>
              </a:buClr>
            </a:pPr>
            <a:r>
              <a:rPr lang="en-US" sz="1400" dirty="0">
                <a:solidFill>
                  <a:schemeClr val="bg2"/>
                </a:solidFill>
                <a:latin typeface="+mn-lt"/>
              </a:rPr>
              <a:t> </a:t>
            </a:r>
          </a:p>
        </p:txBody>
      </p:sp>
    </p:spTree>
    <p:extLst>
      <p:ext uri="{BB962C8B-B14F-4D97-AF65-F5344CB8AC3E}">
        <p14:creationId xmlns:p14="http://schemas.microsoft.com/office/powerpoint/2010/main" val="1833670930"/>
      </p:ext>
    </p:extLst>
  </p:cSld>
  <p:clrMapOvr>
    <a:masterClrMapping/>
  </p:clrMapOvr>
  <p:transition spd="med">
    <p:wipe dir="r"/>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6639C-8CEC-428A-9B08-0BF1C8C1A8AE}"/>
              </a:ext>
            </a:extLst>
          </p:cNvPr>
          <p:cNvSpPr>
            <a:spLocks noGrp="1"/>
          </p:cNvSpPr>
          <p:nvPr>
            <p:ph type="title"/>
          </p:nvPr>
        </p:nvSpPr>
        <p:spPr>
          <a:xfrm>
            <a:off x="0" y="0"/>
            <a:ext cx="7782046" cy="640080"/>
          </a:xfrm>
        </p:spPr>
        <p:txBody>
          <a:bodyPr/>
          <a:lstStyle/>
          <a:p>
            <a:r>
              <a:rPr lang="en-US" dirty="0"/>
              <a:t>Normal Distribution - Continued</a:t>
            </a:r>
          </a:p>
        </p:txBody>
      </p:sp>
      <p:sp>
        <p:nvSpPr>
          <p:cNvPr id="3" name="Content Placeholder 2">
            <a:extLst>
              <a:ext uri="{FF2B5EF4-FFF2-40B4-BE49-F238E27FC236}">
                <a16:creationId xmlns:a16="http://schemas.microsoft.com/office/drawing/2014/main" id="{D6C06C03-2BE3-4DB4-AD24-8584747C8398}"/>
              </a:ext>
            </a:extLst>
          </p:cNvPr>
          <p:cNvSpPr>
            <a:spLocks noGrp="1"/>
          </p:cNvSpPr>
          <p:nvPr>
            <p:ph sz="half" idx="13"/>
          </p:nvPr>
        </p:nvSpPr>
        <p:spPr>
          <a:xfrm>
            <a:off x="57935" y="640080"/>
            <a:ext cx="7962260" cy="3200400"/>
          </a:xfrm>
        </p:spPr>
        <p:txBody>
          <a:bodyPr/>
          <a:lstStyle/>
          <a:p>
            <a:r>
              <a:rPr lang="en-US" b="0" i="0" dirty="0">
                <a:solidFill>
                  <a:srgbClr val="333333"/>
                </a:solidFill>
                <a:effectLst/>
                <a:latin typeface="Verdana" panose="020B0604030504040204" pitchFamily="34" charset="0"/>
              </a:rPr>
              <a:t>It is often called a "Bell Curve“ because it looks like a bell.</a:t>
            </a:r>
            <a:endParaRPr lang="en-US" dirty="0">
              <a:solidFill>
                <a:srgbClr val="333333"/>
              </a:solidFill>
              <a:latin typeface="Verdana" panose="020B0604030504040204" pitchFamily="34" charset="0"/>
            </a:endParaRPr>
          </a:p>
          <a:p>
            <a:pPr algn="l"/>
            <a:r>
              <a:rPr lang="en-US" b="0" i="0" dirty="0">
                <a:solidFill>
                  <a:srgbClr val="333333"/>
                </a:solidFill>
                <a:effectLst/>
                <a:latin typeface="Verdana" panose="020B0604030504040204" pitchFamily="34" charset="0"/>
              </a:rPr>
              <a:t>Many things closely follow a Normal Distribution:</a:t>
            </a:r>
          </a:p>
          <a:p>
            <a:pPr lvl="1">
              <a:buFont typeface="Arial" panose="020B0604020202020204" pitchFamily="34" charset="0"/>
              <a:buChar char="•"/>
            </a:pPr>
            <a:r>
              <a:rPr lang="en-US" b="0" i="0" dirty="0">
                <a:solidFill>
                  <a:srgbClr val="333333"/>
                </a:solidFill>
                <a:effectLst/>
                <a:latin typeface="Verdana" panose="020B0604030504040204" pitchFamily="34" charset="0"/>
              </a:rPr>
              <a:t>heights of people</a:t>
            </a:r>
          </a:p>
          <a:p>
            <a:pPr lvl="1">
              <a:buFont typeface="Arial" panose="020B0604020202020204" pitchFamily="34" charset="0"/>
              <a:buChar char="•"/>
            </a:pPr>
            <a:r>
              <a:rPr lang="en-US" b="0" i="0" dirty="0">
                <a:solidFill>
                  <a:srgbClr val="333333"/>
                </a:solidFill>
                <a:effectLst/>
                <a:latin typeface="Verdana" panose="020B0604030504040204" pitchFamily="34" charset="0"/>
              </a:rPr>
              <a:t>size of things produced by machines</a:t>
            </a:r>
          </a:p>
          <a:p>
            <a:pPr lvl="1">
              <a:buFont typeface="Arial" panose="020B0604020202020204" pitchFamily="34" charset="0"/>
              <a:buChar char="•"/>
            </a:pPr>
            <a:r>
              <a:rPr lang="en-US" b="0" i="0" dirty="0">
                <a:solidFill>
                  <a:srgbClr val="333333"/>
                </a:solidFill>
                <a:effectLst/>
                <a:latin typeface="Verdana" panose="020B0604030504040204" pitchFamily="34" charset="0"/>
              </a:rPr>
              <a:t>errors in measurements</a:t>
            </a:r>
          </a:p>
          <a:p>
            <a:pPr lvl="1">
              <a:buFont typeface="Arial" panose="020B0604020202020204" pitchFamily="34" charset="0"/>
              <a:buChar char="•"/>
            </a:pPr>
            <a:r>
              <a:rPr lang="en-US" b="0" i="0" dirty="0">
                <a:solidFill>
                  <a:srgbClr val="333333"/>
                </a:solidFill>
                <a:effectLst/>
                <a:latin typeface="Verdana" panose="020B0604030504040204" pitchFamily="34" charset="0"/>
              </a:rPr>
              <a:t>blood pressure</a:t>
            </a:r>
          </a:p>
          <a:p>
            <a:pPr lvl="1">
              <a:buFont typeface="Arial" panose="020B0604020202020204" pitchFamily="34" charset="0"/>
              <a:buChar char="•"/>
            </a:pPr>
            <a:r>
              <a:rPr lang="en-US" b="0" i="0" dirty="0">
                <a:solidFill>
                  <a:srgbClr val="333333"/>
                </a:solidFill>
                <a:effectLst/>
                <a:latin typeface="Verdana" panose="020B0604030504040204" pitchFamily="34" charset="0"/>
              </a:rPr>
              <a:t>marks on a test</a:t>
            </a:r>
          </a:p>
          <a:p>
            <a:endParaRPr lang="en-US" dirty="0"/>
          </a:p>
        </p:txBody>
      </p:sp>
      <p:pic>
        <p:nvPicPr>
          <p:cNvPr id="5" name="Picture 4">
            <a:extLst>
              <a:ext uri="{FF2B5EF4-FFF2-40B4-BE49-F238E27FC236}">
                <a16:creationId xmlns:a16="http://schemas.microsoft.com/office/drawing/2014/main" id="{323A7D53-51A0-43DB-B005-CF90D9BB7DFE}"/>
              </a:ext>
            </a:extLst>
          </p:cNvPr>
          <p:cNvPicPr>
            <a:picLocks noChangeAspect="1"/>
          </p:cNvPicPr>
          <p:nvPr/>
        </p:nvPicPr>
        <p:blipFill>
          <a:blip r:embed="rId2"/>
          <a:stretch>
            <a:fillRect/>
          </a:stretch>
        </p:blipFill>
        <p:spPr>
          <a:xfrm>
            <a:off x="1123805" y="2571750"/>
            <a:ext cx="5402732" cy="1931670"/>
          </a:xfrm>
          <a:prstGeom prst="rect">
            <a:avLst/>
          </a:prstGeom>
        </p:spPr>
      </p:pic>
    </p:spTree>
    <p:extLst>
      <p:ext uri="{BB962C8B-B14F-4D97-AF65-F5344CB8AC3E}">
        <p14:creationId xmlns:p14="http://schemas.microsoft.com/office/powerpoint/2010/main" val="1274034444"/>
      </p:ext>
    </p:extLst>
  </p:cSld>
  <p:clrMapOvr>
    <a:masterClrMapping/>
  </p:clrMapOvr>
  <p:transition spd="med">
    <p:wipe dir="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76DBB-8ECF-4567-A38D-5A24476D6577}"/>
              </a:ext>
            </a:extLst>
          </p:cNvPr>
          <p:cNvSpPr>
            <a:spLocks noGrp="1"/>
          </p:cNvSpPr>
          <p:nvPr>
            <p:ph type="title"/>
          </p:nvPr>
        </p:nvSpPr>
        <p:spPr>
          <a:xfrm>
            <a:off x="0" y="22860"/>
            <a:ext cx="8598724" cy="640080"/>
          </a:xfrm>
        </p:spPr>
        <p:txBody>
          <a:bodyPr/>
          <a:lstStyle/>
          <a:p>
            <a:r>
              <a:rPr lang="en-US" dirty="0"/>
              <a:t>Correlation</a:t>
            </a:r>
          </a:p>
        </p:txBody>
      </p:sp>
      <p:sp>
        <p:nvSpPr>
          <p:cNvPr id="3" name="Content Placeholder 2">
            <a:extLst>
              <a:ext uri="{FF2B5EF4-FFF2-40B4-BE49-F238E27FC236}">
                <a16:creationId xmlns:a16="http://schemas.microsoft.com/office/drawing/2014/main" id="{B7539B1F-DF25-4AA4-977D-D1A34E8A7D99}"/>
              </a:ext>
            </a:extLst>
          </p:cNvPr>
          <p:cNvSpPr>
            <a:spLocks noGrp="1"/>
          </p:cNvSpPr>
          <p:nvPr>
            <p:ph sz="half" idx="13"/>
          </p:nvPr>
        </p:nvSpPr>
        <p:spPr>
          <a:xfrm>
            <a:off x="0" y="505363"/>
            <a:ext cx="8918541" cy="3200400"/>
          </a:xfrm>
        </p:spPr>
        <p:txBody>
          <a:bodyPr/>
          <a:lstStyle/>
          <a:p>
            <a:r>
              <a:rPr lang="en-US" b="0" i="0" dirty="0">
                <a:solidFill>
                  <a:schemeClr val="bg2">
                    <a:lumMod val="50000"/>
                    <a:lumOff val="50000"/>
                  </a:schemeClr>
                </a:solidFill>
                <a:effectLst/>
                <a:latin typeface="Verdana" panose="020B0604030504040204" pitchFamily="34" charset="0"/>
              </a:rPr>
              <a:t>When two sets of data are strongly linked together, we say they have a </a:t>
            </a:r>
            <a:r>
              <a:rPr lang="en-US" b="1" i="0" dirty="0">
                <a:solidFill>
                  <a:schemeClr val="bg2">
                    <a:lumMod val="50000"/>
                    <a:lumOff val="50000"/>
                  </a:schemeClr>
                </a:solidFill>
                <a:effectLst/>
                <a:latin typeface="Verdana" panose="020B0604030504040204" pitchFamily="34" charset="0"/>
              </a:rPr>
              <a:t>High Correlatio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7DB1435-794D-4ED8-9D47-3925A9A143B1}"/>
              </a:ext>
            </a:extLst>
          </p:cNvPr>
          <p:cNvPicPr>
            <a:picLocks noChangeAspect="1"/>
          </p:cNvPicPr>
          <p:nvPr/>
        </p:nvPicPr>
        <p:blipFill>
          <a:blip r:embed="rId2"/>
          <a:stretch>
            <a:fillRect/>
          </a:stretch>
        </p:blipFill>
        <p:spPr>
          <a:xfrm>
            <a:off x="481667" y="794865"/>
            <a:ext cx="4467225" cy="2171700"/>
          </a:xfrm>
          <a:prstGeom prst="rect">
            <a:avLst/>
          </a:prstGeom>
        </p:spPr>
      </p:pic>
      <p:pic>
        <p:nvPicPr>
          <p:cNvPr id="7" name="Picture 6">
            <a:extLst>
              <a:ext uri="{FF2B5EF4-FFF2-40B4-BE49-F238E27FC236}">
                <a16:creationId xmlns:a16="http://schemas.microsoft.com/office/drawing/2014/main" id="{DE30AE90-61F3-4883-93FA-EA1B18A2BD3C}"/>
              </a:ext>
            </a:extLst>
          </p:cNvPr>
          <p:cNvPicPr>
            <a:picLocks noChangeAspect="1"/>
          </p:cNvPicPr>
          <p:nvPr/>
        </p:nvPicPr>
        <p:blipFill>
          <a:blip r:embed="rId3"/>
          <a:stretch>
            <a:fillRect/>
          </a:stretch>
        </p:blipFill>
        <p:spPr>
          <a:xfrm>
            <a:off x="5094349" y="794865"/>
            <a:ext cx="1524000" cy="2114550"/>
          </a:xfrm>
          <a:prstGeom prst="rect">
            <a:avLst/>
          </a:prstGeom>
        </p:spPr>
      </p:pic>
      <p:pic>
        <p:nvPicPr>
          <p:cNvPr id="9" name="Picture 8">
            <a:extLst>
              <a:ext uri="{FF2B5EF4-FFF2-40B4-BE49-F238E27FC236}">
                <a16:creationId xmlns:a16="http://schemas.microsoft.com/office/drawing/2014/main" id="{340E5063-21FB-4C74-8F96-B906EFD88A76}"/>
              </a:ext>
            </a:extLst>
          </p:cNvPr>
          <p:cNvPicPr>
            <a:picLocks noChangeAspect="1"/>
          </p:cNvPicPr>
          <p:nvPr/>
        </p:nvPicPr>
        <p:blipFill>
          <a:blip r:embed="rId4"/>
          <a:stretch>
            <a:fillRect/>
          </a:stretch>
        </p:blipFill>
        <p:spPr>
          <a:xfrm>
            <a:off x="1785465" y="3000375"/>
            <a:ext cx="3896379" cy="1992467"/>
          </a:xfrm>
          <a:prstGeom prst="rect">
            <a:avLst/>
          </a:prstGeom>
        </p:spPr>
      </p:pic>
    </p:spTree>
    <p:extLst>
      <p:ext uri="{BB962C8B-B14F-4D97-AF65-F5344CB8AC3E}">
        <p14:creationId xmlns:p14="http://schemas.microsoft.com/office/powerpoint/2010/main" val="3654578520"/>
      </p:ext>
    </p:extLst>
  </p:cSld>
  <p:clrMapOvr>
    <a:masterClrMapping/>
  </p:clrMapOvr>
  <p:transition spd="med">
    <p:wipe dir="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EB8EF-840C-4BAE-90C8-55442E57D1C8}"/>
              </a:ext>
            </a:extLst>
          </p:cNvPr>
          <p:cNvSpPr>
            <a:spLocks noGrp="1"/>
          </p:cNvSpPr>
          <p:nvPr>
            <p:ph type="title"/>
          </p:nvPr>
        </p:nvSpPr>
        <p:spPr>
          <a:xfrm>
            <a:off x="0" y="0"/>
            <a:ext cx="6351115" cy="640080"/>
          </a:xfrm>
        </p:spPr>
        <p:txBody>
          <a:bodyPr/>
          <a:lstStyle/>
          <a:p>
            <a:r>
              <a:rPr lang="en-US" dirty="0"/>
              <a:t>Correlation Coefficient</a:t>
            </a:r>
          </a:p>
        </p:txBody>
      </p:sp>
      <p:sp>
        <p:nvSpPr>
          <p:cNvPr id="3" name="Content Placeholder 2">
            <a:extLst>
              <a:ext uri="{FF2B5EF4-FFF2-40B4-BE49-F238E27FC236}">
                <a16:creationId xmlns:a16="http://schemas.microsoft.com/office/drawing/2014/main" id="{B7B7A0F1-C568-44EF-9828-F9D786C4428B}"/>
              </a:ext>
            </a:extLst>
          </p:cNvPr>
          <p:cNvSpPr>
            <a:spLocks noGrp="1"/>
          </p:cNvSpPr>
          <p:nvPr>
            <p:ph sz="half" idx="13"/>
          </p:nvPr>
        </p:nvSpPr>
        <p:spPr>
          <a:xfrm>
            <a:off x="148677" y="721748"/>
            <a:ext cx="7787756" cy="3200400"/>
          </a:xfrm>
        </p:spPr>
        <p:txBody>
          <a:bodyPr/>
          <a:lstStyle/>
          <a:p>
            <a:endParaRPr lang="en-US"/>
          </a:p>
        </p:txBody>
      </p:sp>
    </p:spTree>
    <p:extLst>
      <p:ext uri="{BB962C8B-B14F-4D97-AF65-F5344CB8AC3E}">
        <p14:creationId xmlns:p14="http://schemas.microsoft.com/office/powerpoint/2010/main" val="2423241985"/>
      </p:ext>
    </p:extLst>
  </p:cSld>
  <p:clrMapOvr>
    <a:masterClrMapping/>
  </p:clrMapOvr>
  <p:transition spd="med">
    <p:wipe dir="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47B85C-624C-45F4-9762-37B9DF7C8893}"/>
              </a:ext>
            </a:extLst>
          </p:cNvPr>
          <p:cNvSpPr>
            <a:spLocks noGrp="1"/>
          </p:cNvSpPr>
          <p:nvPr>
            <p:ph type="title"/>
          </p:nvPr>
        </p:nvSpPr>
        <p:spPr>
          <a:xfrm>
            <a:off x="0" y="22860"/>
            <a:ext cx="8535903" cy="640080"/>
          </a:xfrm>
        </p:spPr>
        <p:txBody>
          <a:bodyPr/>
          <a:lstStyle/>
          <a:p>
            <a:r>
              <a:rPr lang="en-US" dirty="0"/>
              <a:t>Correlation - continued</a:t>
            </a:r>
          </a:p>
        </p:txBody>
      </p:sp>
      <p:sp>
        <p:nvSpPr>
          <p:cNvPr id="3" name="Content Placeholder 2">
            <a:extLst>
              <a:ext uri="{FF2B5EF4-FFF2-40B4-BE49-F238E27FC236}">
                <a16:creationId xmlns:a16="http://schemas.microsoft.com/office/drawing/2014/main" id="{E1B18987-248B-423A-89C7-35FA1BCB556E}"/>
              </a:ext>
            </a:extLst>
          </p:cNvPr>
          <p:cNvSpPr>
            <a:spLocks noGrp="1"/>
          </p:cNvSpPr>
          <p:nvPr>
            <p:ph sz="half" idx="13"/>
          </p:nvPr>
        </p:nvSpPr>
        <p:spPr>
          <a:xfrm>
            <a:off x="63456" y="662940"/>
            <a:ext cx="8408990" cy="3200400"/>
          </a:xfrm>
        </p:spPr>
        <p:txBody>
          <a:bodyPr/>
          <a:lstStyle/>
          <a:p>
            <a:pPr marL="0" indent="0">
              <a:buNone/>
            </a:pPr>
            <a:r>
              <a:rPr lang="en-US" b="1" dirty="0">
                <a:solidFill>
                  <a:srgbClr val="FF0000"/>
                </a:solidFill>
                <a:effectLst/>
                <a:latin typeface="champ"/>
              </a:rPr>
              <a:t>Correlation Is Not Good at Curves</a:t>
            </a:r>
          </a:p>
          <a:p>
            <a:r>
              <a:rPr lang="en-US" b="1" dirty="0">
                <a:solidFill>
                  <a:schemeClr val="bg2">
                    <a:lumMod val="50000"/>
                    <a:lumOff val="50000"/>
                  </a:schemeClr>
                </a:solidFill>
              </a:rPr>
              <a:t>Ex: </a:t>
            </a:r>
            <a:r>
              <a:rPr lang="en-US" dirty="0">
                <a:solidFill>
                  <a:schemeClr val="bg2">
                    <a:lumMod val="50000"/>
                    <a:lumOff val="50000"/>
                  </a:schemeClr>
                </a:solidFill>
              </a:rPr>
              <a:t>Ice Cream shop keeps track of how much ice cream they sell versus the temperature on that day</a:t>
            </a:r>
          </a:p>
          <a:p>
            <a:r>
              <a:rPr lang="en-US" dirty="0">
                <a:solidFill>
                  <a:schemeClr val="bg2">
                    <a:lumMod val="50000"/>
                    <a:lumOff val="50000"/>
                  </a:schemeClr>
                </a:solidFill>
              </a:rPr>
              <a:t>The correlation calculation only works properly for straight line relationships</a:t>
            </a:r>
          </a:p>
          <a:p>
            <a:r>
              <a:rPr lang="en-US" b="1" dirty="0">
                <a:solidFill>
                  <a:schemeClr val="bg2">
                    <a:lumMod val="50000"/>
                    <a:lumOff val="50000"/>
                  </a:schemeClr>
                </a:solidFill>
              </a:rPr>
              <a:t>Ex: </a:t>
            </a:r>
            <a:r>
              <a:rPr lang="en-US" dirty="0">
                <a:solidFill>
                  <a:schemeClr val="bg2">
                    <a:lumMod val="50000"/>
                    <a:lumOff val="50000"/>
                  </a:schemeClr>
                </a:solidFill>
              </a:rPr>
              <a:t>there has been a heart wave! It gets so hot that people aren’t going to the shop, and sales start dropping</a:t>
            </a:r>
          </a:p>
        </p:txBody>
      </p:sp>
    </p:spTree>
    <p:extLst>
      <p:ext uri="{BB962C8B-B14F-4D97-AF65-F5344CB8AC3E}">
        <p14:creationId xmlns:p14="http://schemas.microsoft.com/office/powerpoint/2010/main" val="2055871581"/>
      </p:ext>
    </p:extLst>
  </p:cSld>
  <p:clrMapOvr>
    <a:masterClrMapping/>
  </p:clrMapOvr>
  <p:transition spd="med">
    <p:wipe dir="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B2322-AFA8-42E4-8E76-348C567AB262}"/>
              </a:ext>
            </a:extLst>
          </p:cNvPr>
          <p:cNvSpPr>
            <a:spLocks noGrp="1"/>
          </p:cNvSpPr>
          <p:nvPr>
            <p:ph type="title"/>
          </p:nvPr>
        </p:nvSpPr>
        <p:spPr>
          <a:xfrm>
            <a:off x="0" y="0"/>
            <a:ext cx="8647585" cy="640080"/>
          </a:xfrm>
        </p:spPr>
        <p:txBody>
          <a:bodyPr/>
          <a:lstStyle/>
          <a:p>
            <a:r>
              <a:rPr lang="en-US" dirty="0"/>
              <a:t>Correlation is NOT Causation</a:t>
            </a:r>
          </a:p>
        </p:txBody>
      </p:sp>
      <p:sp>
        <p:nvSpPr>
          <p:cNvPr id="3" name="Content Placeholder 2">
            <a:extLst>
              <a:ext uri="{FF2B5EF4-FFF2-40B4-BE49-F238E27FC236}">
                <a16:creationId xmlns:a16="http://schemas.microsoft.com/office/drawing/2014/main" id="{910E7ECD-077C-4B0A-867E-43A7BDB6F0C6}"/>
              </a:ext>
            </a:extLst>
          </p:cNvPr>
          <p:cNvSpPr>
            <a:spLocks noGrp="1"/>
          </p:cNvSpPr>
          <p:nvPr>
            <p:ph sz="half" idx="13"/>
          </p:nvPr>
        </p:nvSpPr>
        <p:spPr>
          <a:xfrm>
            <a:off x="120757" y="728728"/>
            <a:ext cx="8647584" cy="3200400"/>
          </a:xfrm>
        </p:spPr>
        <p:txBody>
          <a:bodyPr/>
          <a:lstStyle/>
          <a:p>
            <a:pPr algn="l"/>
            <a:r>
              <a:rPr lang="en-US" b="0" i="0" dirty="0">
                <a:solidFill>
                  <a:schemeClr val="bg2">
                    <a:lumMod val="50000"/>
                    <a:lumOff val="50000"/>
                  </a:schemeClr>
                </a:solidFill>
                <a:effectLst/>
                <a:latin typeface="Verdana" panose="020B0604030504040204" pitchFamily="34" charset="0"/>
              </a:rPr>
              <a:t>A common saying is "Correlation Is Not Causation".</a:t>
            </a:r>
          </a:p>
          <a:p>
            <a:pPr algn="l"/>
            <a:r>
              <a:rPr lang="en-US" b="0" i="0" dirty="0">
                <a:solidFill>
                  <a:schemeClr val="bg2">
                    <a:lumMod val="50000"/>
                    <a:lumOff val="50000"/>
                  </a:schemeClr>
                </a:solidFill>
                <a:effectLst/>
                <a:latin typeface="Verdana" panose="020B0604030504040204" pitchFamily="34" charset="0"/>
              </a:rPr>
              <a:t>What it </a:t>
            </a:r>
            <a:r>
              <a:rPr lang="en-US" b="1" i="0" dirty="0">
                <a:solidFill>
                  <a:schemeClr val="bg2">
                    <a:lumMod val="50000"/>
                    <a:lumOff val="50000"/>
                  </a:schemeClr>
                </a:solidFill>
                <a:effectLst/>
                <a:latin typeface="Verdana" panose="020B0604030504040204" pitchFamily="34" charset="0"/>
              </a:rPr>
              <a:t>really</a:t>
            </a:r>
            <a:r>
              <a:rPr lang="en-US" b="0" i="0" dirty="0">
                <a:solidFill>
                  <a:schemeClr val="bg2">
                    <a:lumMod val="50000"/>
                    <a:lumOff val="50000"/>
                  </a:schemeClr>
                </a:solidFill>
                <a:effectLst/>
                <a:latin typeface="Verdana" panose="020B0604030504040204" pitchFamily="34" charset="0"/>
              </a:rPr>
              <a:t> means is that a correlation does </a:t>
            </a:r>
            <a:r>
              <a:rPr lang="en-US" b="1" i="0" dirty="0">
                <a:solidFill>
                  <a:schemeClr val="bg2">
                    <a:lumMod val="50000"/>
                    <a:lumOff val="50000"/>
                  </a:schemeClr>
                </a:solidFill>
                <a:effectLst/>
                <a:latin typeface="Verdana" panose="020B0604030504040204" pitchFamily="34" charset="0"/>
              </a:rPr>
              <a:t>not prove</a:t>
            </a:r>
            <a:r>
              <a:rPr lang="en-US" b="0" i="0" dirty="0">
                <a:solidFill>
                  <a:schemeClr val="bg2">
                    <a:lumMod val="50000"/>
                    <a:lumOff val="50000"/>
                  </a:schemeClr>
                </a:solidFill>
                <a:effectLst/>
                <a:latin typeface="Verdana" panose="020B0604030504040204" pitchFamily="34" charset="0"/>
              </a:rPr>
              <a:t> one thing causes the other:</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One thing </a:t>
            </a:r>
            <a:r>
              <a:rPr lang="en-US" b="1" i="0" dirty="0">
                <a:solidFill>
                  <a:schemeClr val="bg2">
                    <a:lumMod val="50000"/>
                    <a:lumOff val="50000"/>
                  </a:schemeClr>
                </a:solidFill>
                <a:effectLst/>
                <a:latin typeface="Verdana" panose="020B0604030504040204" pitchFamily="34" charset="0"/>
              </a:rPr>
              <a:t>might</a:t>
            </a:r>
            <a:r>
              <a:rPr lang="en-US" b="0" i="0" dirty="0">
                <a:solidFill>
                  <a:schemeClr val="bg2">
                    <a:lumMod val="50000"/>
                    <a:lumOff val="50000"/>
                  </a:schemeClr>
                </a:solidFill>
                <a:effectLst/>
                <a:latin typeface="Verdana" panose="020B0604030504040204" pitchFamily="34" charset="0"/>
              </a:rPr>
              <a:t> cause the other</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The other </a:t>
            </a:r>
            <a:r>
              <a:rPr lang="en-US" b="1" i="0" dirty="0">
                <a:solidFill>
                  <a:schemeClr val="bg2">
                    <a:lumMod val="50000"/>
                    <a:lumOff val="50000"/>
                  </a:schemeClr>
                </a:solidFill>
                <a:effectLst/>
                <a:latin typeface="Verdana" panose="020B0604030504040204" pitchFamily="34" charset="0"/>
              </a:rPr>
              <a:t>might</a:t>
            </a:r>
            <a:r>
              <a:rPr lang="en-US" b="0" i="0" dirty="0">
                <a:solidFill>
                  <a:schemeClr val="bg2">
                    <a:lumMod val="50000"/>
                    <a:lumOff val="50000"/>
                  </a:schemeClr>
                </a:solidFill>
                <a:effectLst/>
                <a:latin typeface="Verdana" panose="020B0604030504040204" pitchFamily="34" charset="0"/>
              </a:rPr>
              <a:t> cause the first to happen</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They may be linked by a different thing</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Or it could be random chance!</a:t>
            </a:r>
          </a:p>
          <a:p>
            <a:pPr algn="l"/>
            <a:r>
              <a:rPr lang="en-US" b="0" i="0" dirty="0">
                <a:solidFill>
                  <a:schemeClr val="bg2">
                    <a:lumMod val="50000"/>
                    <a:lumOff val="50000"/>
                  </a:schemeClr>
                </a:solidFill>
                <a:effectLst/>
                <a:latin typeface="Verdana" panose="020B0604030504040204" pitchFamily="34" charset="0"/>
              </a:rPr>
              <a:t>There can be many reasons the data has a good correlation.</a:t>
            </a:r>
          </a:p>
          <a:p>
            <a:endParaRPr lang="en-US" dirty="0"/>
          </a:p>
        </p:txBody>
      </p:sp>
    </p:spTree>
    <p:extLst>
      <p:ext uri="{BB962C8B-B14F-4D97-AF65-F5344CB8AC3E}">
        <p14:creationId xmlns:p14="http://schemas.microsoft.com/office/powerpoint/2010/main" val="2076917634"/>
      </p:ext>
    </p:extLst>
  </p:cSld>
  <p:clrMapOvr>
    <a:masterClrMapping/>
  </p:clrMapOvr>
  <p:transition spd="med">
    <p:wipe dir="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28B9C-5A0D-4151-ADA4-DBBD1CD8C76F}"/>
              </a:ext>
            </a:extLst>
          </p:cNvPr>
          <p:cNvSpPr>
            <a:spLocks noGrp="1"/>
          </p:cNvSpPr>
          <p:nvPr>
            <p:ph type="title"/>
          </p:nvPr>
        </p:nvSpPr>
        <p:spPr>
          <a:xfrm>
            <a:off x="0" y="22860"/>
            <a:ext cx="7063090" cy="640080"/>
          </a:xfrm>
        </p:spPr>
        <p:txBody>
          <a:bodyPr/>
          <a:lstStyle/>
          <a:p>
            <a:r>
              <a:rPr lang="en-US" dirty="0"/>
              <a:t>Correlation is NOT Causation</a:t>
            </a:r>
          </a:p>
        </p:txBody>
      </p:sp>
      <p:sp>
        <p:nvSpPr>
          <p:cNvPr id="3" name="Content Placeholder 2">
            <a:extLst>
              <a:ext uri="{FF2B5EF4-FFF2-40B4-BE49-F238E27FC236}">
                <a16:creationId xmlns:a16="http://schemas.microsoft.com/office/drawing/2014/main" id="{67945CBD-392E-471D-8A2A-A5126063986A}"/>
              </a:ext>
            </a:extLst>
          </p:cNvPr>
          <p:cNvSpPr>
            <a:spLocks noGrp="1"/>
          </p:cNvSpPr>
          <p:nvPr>
            <p:ph sz="half" idx="13"/>
          </p:nvPr>
        </p:nvSpPr>
        <p:spPr>
          <a:xfrm>
            <a:off x="50955" y="662940"/>
            <a:ext cx="8332208" cy="3200400"/>
          </a:xfrm>
        </p:spPr>
        <p:txBody>
          <a:bodyPr/>
          <a:lstStyle/>
          <a:p>
            <a:r>
              <a:rPr lang="en-US" dirty="0"/>
              <a:t>Ex : Sun glass vs Ice cream</a:t>
            </a:r>
          </a:p>
          <a:p>
            <a:endParaRPr lang="en-US" dirty="0"/>
          </a:p>
          <a:p>
            <a:endParaRPr lang="en-US" dirty="0"/>
          </a:p>
          <a:p>
            <a:endParaRPr lang="en-US" dirty="0"/>
          </a:p>
          <a:p>
            <a:endParaRPr lang="en-US" dirty="0"/>
          </a:p>
          <a:p>
            <a:endParaRPr lang="en-US" dirty="0"/>
          </a:p>
          <a:p>
            <a:r>
              <a:rPr lang="en-US" dirty="0"/>
              <a:t>Ex : </a:t>
            </a:r>
            <a:r>
              <a:rPr lang="en-US" b="0" i="0" dirty="0">
                <a:solidFill>
                  <a:srgbClr val="333333"/>
                </a:solidFill>
                <a:effectLst/>
                <a:latin typeface="Verdana" panose="020B0604030504040204" pitchFamily="34" charset="0"/>
              </a:rPr>
              <a:t>Poor suburbs are more likely to have high pollution.</a:t>
            </a:r>
          </a:p>
          <a:p>
            <a:endParaRPr lang="en-US" dirty="0"/>
          </a:p>
        </p:txBody>
      </p:sp>
    </p:spTree>
    <p:extLst>
      <p:ext uri="{BB962C8B-B14F-4D97-AF65-F5344CB8AC3E}">
        <p14:creationId xmlns:p14="http://schemas.microsoft.com/office/powerpoint/2010/main" val="1698398126"/>
      </p:ext>
    </p:extLst>
  </p:cSld>
  <p:clrMapOvr>
    <a:masterClrMapping/>
  </p:clrMapOvr>
  <p:transition spd="med">
    <p:wipe dir="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B2D5-35C4-4911-AD10-0C5D0D1708E4}"/>
              </a:ext>
            </a:extLst>
          </p:cNvPr>
          <p:cNvSpPr>
            <a:spLocks noGrp="1"/>
          </p:cNvSpPr>
          <p:nvPr>
            <p:ph type="title"/>
          </p:nvPr>
        </p:nvSpPr>
        <p:spPr>
          <a:xfrm>
            <a:off x="0" y="0"/>
            <a:ext cx="8068232" cy="640080"/>
          </a:xfrm>
        </p:spPr>
        <p:txBody>
          <a:bodyPr/>
          <a:lstStyle/>
          <a:p>
            <a:r>
              <a:rPr lang="en-US" dirty="0"/>
              <a:t>Correlation is NOT Causation </a:t>
            </a:r>
            <a:r>
              <a:rPr lang="en-US" dirty="0">
                <a:solidFill>
                  <a:schemeClr val="bg2">
                    <a:lumMod val="50000"/>
                    <a:lumOff val="50000"/>
                  </a:schemeClr>
                </a:solidFill>
              </a:rPr>
              <a:t>– </a:t>
            </a:r>
            <a:r>
              <a:rPr lang="en-US" i="1" dirty="0">
                <a:solidFill>
                  <a:schemeClr val="bg2">
                    <a:lumMod val="50000"/>
                    <a:lumOff val="50000"/>
                  </a:schemeClr>
                </a:solidFill>
              </a:rPr>
              <a:t>A real case</a:t>
            </a:r>
          </a:p>
        </p:txBody>
      </p:sp>
      <p:sp>
        <p:nvSpPr>
          <p:cNvPr id="3" name="Content Placeholder 2">
            <a:extLst>
              <a:ext uri="{FF2B5EF4-FFF2-40B4-BE49-F238E27FC236}">
                <a16:creationId xmlns:a16="http://schemas.microsoft.com/office/drawing/2014/main" id="{2E41632A-9F27-4921-A183-99DA3F674E36}"/>
              </a:ext>
            </a:extLst>
          </p:cNvPr>
          <p:cNvSpPr>
            <a:spLocks noGrp="1"/>
          </p:cNvSpPr>
          <p:nvPr>
            <p:ph sz="half" idx="13"/>
          </p:nvPr>
        </p:nvSpPr>
        <p:spPr>
          <a:xfrm>
            <a:off x="134716" y="910212"/>
            <a:ext cx="8004141" cy="3200400"/>
          </a:xfrm>
        </p:spPr>
        <p:txBody>
          <a:bodyPr/>
          <a:lstStyle/>
          <a:p>
            <a:r>
              <a:rPr lang="en-US" b="0" i="0" dirty="0">
                <a:solidFill>
                  <a:schemeClr val="bg2">
                    <a:lumMod val="50000"/>
                    <a:lumOff val="50000"/>
                  </a:schemeClr>
                </a:solidFill>
                <a:effectLst/>
                <a:latin typeface="Verdana" panose="020B0604030504040204" pitchFamily="34" charset="0"/>
              </a:rPr>
              <a:t>A few years ago, a survey of employees found a strong positive correlation between </a:t>
            </a:r>
            <a:r>
              <a:rPr lang="en-US" b="1" i="0" dirty="0">
                <a:solidFill>
                  <a:schemeClr val="bg2">
                    <a:lumMod val="50000"/>
                    <a:lumOff val="50000"/>
                  </a:schemeClr>
                </a:solidFill>
                <a:effectLst/>
                <a:latin typeface="Verdana" panose="020B0604030504040204" pitchFamily="34" charset="0"/>
              </a:rPr>
              <a:t>"Studying an external course"</a:t>
            </a:r>
            <a:r>
              <a:rPr lang="en-US" b="0" i="0" dirty="0">
                <a:solidFill>
                  <a:schemeClr val="bg2">
                    <a:lumMod val="50000"/>
                    <a:lumOff val="50000"/>
                  </a:schemeClr>
                </a:solidFill>
                <a:effectLst/>
                <a:latin typeface="Verdana" panose="020B0604030504040204" pitchFamily="34" charset="0"/>
              </a:rPr>
              <a:t> and </a:t>
            </a:r>
            <a:r>
              <a:rPr lang="en-US" b="1" i="0" dirty="0">
                <a:solidFill>
                  <a:schemeClr val="bg2">
                    <a:lumMod val="50000"/>
                    <a:lumOff val="50000"/>
                  </a:schemeClr>
                </a:solidFill>
                <a:effectLst/>
                <a:latin typeface="Verdana" panose="020B0604030504040204" pitchFamily="34" charset="0"/>
              </a:rPr>
              <a:t>Sick Days</a:t>
            </a:r>
            <a:r>
              <a:rPr lang="en-US" b="0" i="0" dirty="0">
                <a:solidFill>
                  <a:schemeClr val="bg2">
                    <a:lumMod val="50000"/>
                    <a:lumOff val="50000"/>
                  </a:schemeClr>
                </a:solidFill>
                <a:effectLst/>
                <a:latin typeface="Verdana" panose="020B0604030504040204" pitchFamily="34" charset="0"/>
              </a:rPr>
              <a:t>.</a:t>
            </a:r>
            <a:endParaRPr lang="en-US" dirty="0">
              <a:solidFill>
                <a:schemeClr val="bg2">
                  <a:lumMod val="50000"/>
                  <a:lumOff val="50000"/>
                </a:schemeClr>
              </a:solidFill>
            </a:endParaRPr>
          </a:p>
        </p:txBody>
      </p:sp>
    </p:spTree>
    <p:extLst>
      <p:ext uri="{BB962C8B-B14F-4D97-AF65-F5344CB8AC3E}">
        <p14:creationId xmlns:p14="http://schemas.microsoft.com/office/powerpoint/2010/main" val="3487960969"/>
      </p:ext>
    </p:extLst>
  </p:cSld>
  <p:clrMapOvr>
    <a:masterClrMapping/>
  </p:clrMapOvr>
  <p:transition spd="med">
    <p:wipe dir="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BC7D1-6911-4452-AC10-251435381AA2}"/>
              </a:ext>
            </a:extLst>
          </p:cNvPr>
          <p:cNvSpPr>
            <a:spLocks noGrp="1"/>
          </p:cNvSpPr>
          <p:nvPr>
            <p:ph type="title"/>
          </p:nvPr>
        </p:nvSpPr>
        <p:spPr>
          <a:xfrm>
            <a:off x="0" y="0"/>
            <a:ext cx="8235756" cy="640080"/>
          </a:xfrm>
        </p:spPr>
        <p:txBody>
          <a:bodyPr/>
          <a:lstStyle/>
          <a:p>
            <a:r>
              <a:rPr lang="en-US" dirty="0"/>
              <a:t>Skewness</a:t>
            </a:r>
          </a:p>
        </p:txBody>
      </p:sp>
      <p:sp>
        <p:nvSpPr>
          <p:cNvPr id="3" name="Content Placeholder 2">
            <a:extLst>
              <a:ext uri="{FF2B5EF4-FFF2-40B4-BE49-F238E27FC236}">
                <a16:creationId xmlns:a16="http://schemas.microsoft.com/office/drawing/2014/main" id="{EC2A8539-18AA-48D9-93FE-B8AA17B05C34}"/>
              </a:ext>
            </a:extLst>
          </p:cNvPr>
          <p:cNvSpPr>
            <a:spLocks noGrp="1"/>
          </p:cNvSpPr>
          <p:nvPr>
            <p:ph sz="half" idx="13"/>
          </p:nvPr>
        </p:nvSpPr>
        <p:spPr>
          <a:xfrm>
            <a:off x="155658" y="498191"/>
            <a:ext cx="8311268" cy="3200400"/>
          </a:xfrm>
        </p:spPr>
        <p:txBody>
          <a:bodyPr/>
          <a:lstStyle/>
          <a:p>
            <a:r>
              <a:rPr lang="en-US" b="0" i="0" dirty="0">
                <a:solidFill>
                  <a:schemeClr val="bg2">
                    <a:lumMod val="50000"/>
                    <a:lumOff val="50000"/>
                  </a:schemeClr>
                </a:solidFill>
                <a:effectLst/>
                <a:latin typeface="Verdana" panose="020B0604030504040204" pitchFamily="34" charset="0"/>
              </a:rPr>
              <a:t>Data can be "skewed", meaning it tends to have a </a:t>
            </a:r>
            <a:r>
              <a:rPr lang="en-US" b="1" i="0" dirty="0">
                <a:solidFill>
                  <a:schemeClr val="bg2">
                    <a:lumMod val="50000"/>
                    <a:lumOff val="50000"/>
                  </a:schemeClr>
                </a:solidFill>
                <a:effectLst/>
                <a:latin typeface="Verdana" panose="020B0604030504040204" pitchFamily="34" charset="0"/>
              </a:rPr>
              <a:t>long tail</a:t>
            </a:r>
            <a:r>
              <a:rPr lang="en-US" b="0" i="0" dirty="0">
                <a:solidFill>
                  <a:schemeClr val="bg2">
                    <a:lumMod val="50000"/>
                    <a:lumOff val="50000"/>
                  </a:schemeClr>
                </a:solidFill>
                <a:effectLst/>
                <a:latin typeface="Verdana" panose="020B0604030504040204" pitchFamily="34" charset="0"/>
              </a:rPr>
              <a:t> on one side or the other:</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FBBD97A-BB9E-4561-B27E-EC40AECBB44A}"/>
              </a:ext>
            </a:extLst>
          </p:cNvPr>
          <p:cNvPicPr>
            <a:picLocks noChangeAspect="1"/>
          </p:cNvPicPr>
          <p:nvPr/>
        </p:nvPicPr>
        <p:blipFill>
          <a:blip r:embed="rId2"/>
          <a:stretch>
            <a:fillRect/>
          </a:stretch>
        </p:blipFill>
        <p:spPr>
          <a:xfrm>
            <a:off x="1981950" y="1102840"/>
            <a:ext cx="4495218" cy="1468910"/>
          </a:xfrm>
          <a:prstGeom prst="rect">
            <a:avLst/>
          </a:prstGeom>
        </p:spPr>
      </p:pic>
      <p:sp>
        <p:nvSpPr>
          <p:cNvPr id="6" name="TextBox 5">
            <a:extLst>
              <a:ext uri="{FF2B5EF4-FFF2-40B4-BE49-F238E27FC236}">
                <a16:creationId xmlns:a16="http://schemas.microsoft.com/office/drawing/2014/main" id="{4DDD0657-BEB3-45A9-9F5D-D0BE64ED2E00}"/>
              </a:ext>
            </a:extLst>
          </p:cNvPr>
          <p:cNvSpPr txBox="1"/>
          <p:nvPr/>
        </p:nvSpPr>
        <p:spPr>
          <a:xfrm>
            <a:off x="155658" y="3015426"/>
            <a:ext cx="8832684" cy="1446550"/>
          </a:xfrm>
          <a:prstGeom prst="rect">
            <a:avLst/>
          </a:prstGeom>
          <a:noFill/>
        </p:spPr>
        <p:txBody>
          <a:bodyPr wrap="square" rtlCol="0">
            <a:spAutoFit/>
          </a:bodyPr>
          <a:lstStyle/>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Negative Skew : </a:t>
            </a:r>
            <a:r>
              <a:rPr lang="en-US" sz="1100" dirty="0">
                <a:solidFill>
                  <a:schemeClr val="bg2">
                    <a:lumMod val="50000"/>
                    <a:lumOff val="50000"/>
                  </a:schemeClr>
                </a:solidFill>
                <a:latin typeface="Verdana" panose="020B0604030504040204" pitchFamily="34" charset="0"/>
              </a:rPr>
              <a:t>Because the long "tail" is on the negative side of the peak. Some people say it is "skewed to the left" (the long tail is on the left-hand side) </a:t>
            </a:r>
            <a:r>
              <a:rPr lang="en-US" sz="1100" b="1" dirty="0">
                <a:solidFill>
                  <a:schemeClr val="bg2">
                    <a:lumMod val="50000"/>
                    <a:lumOff val="50000"/>
                  </a:schemeClr>
                </a:solidFill>
                <a:highlight>
                  <a:srgbClr val="FFFF00"/>
                </a:highlight>
                <a:latin typeface="Verdana" panose="020B0604030504040204" pitchFamily="34" charset="0"/>
              </a:rPr>
              <a:t>Mode &gt; Median &gt; mean</a:t>
            </a:r>
          </a:p>
          <a:p>
            <a:pPr>
              <a:spcBef>
                <a:spcPts val="0"/>
              </a:spcBef>
              <a:spcAft>
                <a:spcPts val="0"/>
              </a:spcAft>
              <a:buClr>
                <a:schemeClr val="bg1"/>
              </a:buClr>
            </a:pPr>
            <a:endParaRPr lang="en-US" sz="11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Positive Skew : </a:t>
            </a:r>
            <a:r>
              <a:rPr lang="en-US" sz="1100" dirty="0">
                <a:solidFill>
                  <a:schemeClr val="bg2">
                    <a:lumMod val="50000"/>
                    <a:lumOff val="50000"/>
                  </a:schemeClr>
                </a:solidFill>
                <a:latin typeface="Verdana" panose="020B0604030504040204" pitchFamily="34" charset="0"/>
              </a:rPr>
              <a:t>And positive skew is when the long tail is on the positive side of the peak. Some people say it is "skewed to the right". </a:t>
            </a:r>
            <a:r>
              <a:rPr lang="en-US" sz="1100" b="1" dirty="0">
                <a:solidFill>
                  <a:schemeClr val="bg2">
                    <a:lumMod val="50000"/>
                    <a:lumOff val="50000"/>
                  </a:schemeClr>
                </a:solidFill>
                <a:highlight>
                  <a:srgbClr val="FFFF00"/>
                </a:highlight>
                <a:latin typeface="Verdana" panose="020B0604030504040204" pitchFamily="34" charset="0"/>
              </a:rPr>
              <a:t>Mean &gt; Median &gt; Mode</a:t>
            </a:r>
          </a:p>
          <a:p>
            <a:pPr>
              <a:spcBef>
                <a:spcPts val="0"/>
              </a:spcBef>
              <a:spcAft>
                <a:spcPts val="0"/>
              </a:spcAft>
              <a:buClr>
                <a:schemeClr val="bg1"/>
              </a:buClr>
            </a:pPr>
            <a:endParaRPr lang="en-US" sz="11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No Skew/ Normal distribution : </a:t>
            </a:r>
            <a:r>
              <a:rPr lang="en-US" sz="1100" dirty="0">
                <a:solidFill>
                  <a:schemeClr val="bg2">
                    <a:lumMod val="50000"/>
                    <a:lumOff val="50000"/>
                  </a:schemeClr>
                </a:solidFill>
                <a:latin typeface="Verdana" panose="020B0604030504040204" pitchFamily="34" charset="0"/>
              </a:rPr>
              <a:t>A </a:t>
            </a:r>
            <a:r>
              <a:rPr lang="en-US" sz="1100"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Normal Distribution</a:t>
            </a:r>
            <a:r>
              <a:rPr lang="en-US" sz="1100" dirty="0">
                <a:solidFill>
                  <a:schemeClr val="bg2">
                    <a:lumMod val="50000"/>
                    <a:lumOff val="50000"/>
                  </a:schemeClr>
                </a:solidFill>
                <a:latin typeface="Verdana" panose="020B0604030504040204" pitchFamily="34" charset="0"/>
              </a:rPr>
              <a:t> is not skewed. It is perfectly symmetrical. And the Mean is exactly at the peak.  </a:t>
            </a:r>
            <a:r>
              <a:rPr lang="en-US" sz="1100" b="1" dirty="0">
                <a:solidFill>
                  <a:schemeClr val="bg2">
                    <a:lumMod val="50000"/>
                    <a:lumOff val="50000"/>
                  </a:schemeClr>
                </a:solidFill>
                <a:highlight>
                  <a:srgbClr val="FFFF00"/>
                </a:highlight>
                <a:latin typeface="Verdana" panose="020B0604030504040204" pitchFamily="34" charset="0"/>
              </a:rPr>
              <a:t>Mean = Median = Mode</a:t>
            </a:r>
          </a:p>
        </p:txBody>
      </p:sp>
    </p:spTree>
    <p:extLst>
      <p:ext uri="{BB962C8B-B14F-4D97-AF65-F5344CB8AC3E}">
        <p14:creationId xmlns:p14="http://schemas.microsoft.com/office/powerpoint/2010/main" val="633646377"/>
      </p:ext>
    </p:extLst>
  </p:cSld>
  <p:clrMapOvr>
    <a:masterClrMapping/>
  </p:clrMapOvr>
  <p:transition spd="med">
    <p:wipe dir="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E2DA9-FC9E-43CF-BAE3-A7A2B4DFF999}"/>
              </a:ext>
            </a:extLst>
          </p:cNvPr>
          <p:cNvSpPr>
            <a:spLocks noGrp="1"/>
          </p:cNvSpPr>
          <p:nvPr>
            <p:ph type="title"/>
          </p:nvPr>
        </p:nvSpPr>
        <p:spPr>
          <a:xfrm>
            <a:off x="0" y="0"/>
            <a:ext cx="4295219" cy="640080"/>
          </a:xfrm>
        </p:spPr>
        <p:txBody>
          <a:bodyPr/>
          <a:lstStyle/>
          <a:p>
            <a:r>
              <a:rPr lang="en-US" dirty="0"/>
              <a:t>Skewness</a:t>
            </a:r>
          </a:p>
        </p:txBody>
      </p:sp>
      <p:sp>
        <p:nvSpPr>
          <p:cNvPr id="3" name="Content Placeholder 2">
            <a:extLst>
              <a:ext uri="{FF2B5EF4-FFF2-40B4-BE49-F238E27FC236}">
                <a16:creationId xmlns:a16="http://schemas.microsoft.com/office/drawing/2014/main" id="{1A728B14-3F80-43DF-8D1E-D9AD7B3827AB}"/>
              </a:ext>
            </a:extLst>
          </p:cNvPr>
          <p:cNvSpPr>
            <a:spLocks noGrp="1"/>
          </p:cNvSpPr>
          <p:nvPr>
            <p:ph sz="half" idx="13"/>
          </p:nvPr>
        </p:nvSpPr>
        <p:spPr>
          <a:xfrm>
            <a:off x="97704" y="735708"/>
            <a:ext cx="8395030" cy="3200400"/>
          </a:xfrm>
        </p:spPr>
        <p:txBody>
          <a:bodyPr/>
          <a:lstStyle/>
          <a:p>
            <a:pPr marL="0" indent="0" algn="l">
              <a:buNone/>
            </a:pPr>
            <a:r>
              <a:rPr lang="en-US" sz="1800" b="1" i="1" dirty="0">
                <a:solidFill>
                  <a:schemeClr val="bg2">
                    <a:lumMod val="50000"/>
                    <a:lumOff val="50000"/>
                  </a:schemeClr>
                </a:solidFill>
                <a:effectLst/>
                <a:latin typeface="Lato" panose="020F0502020204030203" pitchFamily="34" charset="0"/>
              </a:rPr>
              <a:t>Rule of Thumb</a:t>
            </a:r>
            <a:endParaRPr lang="en-US" b="1" i="1" dirty="0">
              <a:solidFill>
                <a:schemeClr val="bg2">
                  <a:lumMod val="50000"/>
                  <a:lumOff val="50000"/>
                </a:schemeClr>
              </a:solidFill>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between -0.5 &amp; 0.5, the data are nearly symmetrical.</a:t>
            </a:r>
            <a:endParaRPr lang="en-US" b="0" i="0" dirty="0">
              <a:solidFill>
                <a:schemeClr val="bg2">
                  <a:lumMod val="50000"/>
                  <a:lumOff val="50000"/>
                </a:schemeClr>
              </a:solidFill>
              <a:effectLst/>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between -1 &amp; -0.5 (negative skewed) or between 0.5 &amp; 1(positive skewed), the data are slightly skewed.</a:t>
            </a:r>
            <a:endParaRPr lang="en-US" b="0" i="0" dirty="0">
              <a:solidFill>
                <a:schemeClr val="bg2">
                  <a:lumMod val="50000"/>
                  <a:lumOff val="50000"/>
                </a:schemeClr>
              </a:solidFill>
              <a:effectLst/>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lower than -1 (negative skewed) or greater than 1 (positive skewed), the data are extremely skewed.</a:t>
            </a:r>
            <a:endParaRPr lang="en-US" b="0" i="0" dirty="0">
              <a:solidFill>
                <a:schemeClr val="bg2">
                  <a:lumMod val="50000"/>
                  <a:lumOff val="50000"/>
                </a:schemeClr>
              </a:solidFill>
              <a:effectLst/>
              <a:latin typeface="Lato" panose="020F0502020204030203" pitchFamily="34" charset="0"/>
            </a:endParaRPr>
          </a:p>
          <a:p>
            <a:endParaRPr lang="en-US" dirty="0"/>
          </a:p>
        </p:txBody>
      </p:sp>
      <p:pic>
        <p:nvPicPr>
          <p:cNvPr id="5" name="Picture 4">
            <a:extLst>
              <a:ext uri="{FF2B5EF4-FFF2-40B4-BE49-F238E27FC236}">
                <a16:creationId xmlns:a16="http://schemas.microsoft.com/office/drawing/2014/main" id="{C3E07149-6BD1-4596-AA71-BFF198CA823C}"/>
              </a:ext>
            </a:extLst>
          </p:cNvPr>
          <p:cNvPicPr>
            <a:picLocks noChangeAspect="1"/>
          </p:cNvPicPr>
          <p:nvPr/>
        </p:nvPicPr>
        <p:blipFill>
          <a:blip r:embed="rId2"/>
          <a:stretch>
            <a:fillRect/>
          </a:stretch>
        </p:blipFill>
        <p:spPr>
          <a:xfrm>
            <a:off x="2351446" y="2635495"/>
            <a:ext cx="3979552" cy="2472024"/>
          </a:xfrm>
          <a:prstGeom prst="rect">
            <a:avLst/>
          </a:prstGeom>
        </p:spPr>
      </p:pic>
    </p:spTree>
    <p:extLst>
      <p:ext uri="{BB962C8B-B14F-4D97-AF65-F5344CB8AC3E}">
        <p14:creationId xmlns:p14="http://schemas.microsoft.com/office/powerpoint/2010/main" val="2357723908"/>
      </p:ext>
    </p:extLst>
  </p:cSld>
  <p:clrMapOvr>
    <a:masterClrMapping/>
  </p:clrMapOvr>
  <p:transition spd="med">
    <p:wipe dir="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36DAF-09E4-47BA-9652-085B74E6F8F5}"/>
              </a:ext>
            </a:extLst>
          </p:cNvPr>
          <p:cNvSpPr>
            <a:spLocks noGrp="1"/>
          </p:cNvSpPr>
          <p:nvPr>
            <p:ph type="title"/>
          </p:nvPr>
        </p:nvSpPr>
        <p:spPr>
          <a:xfrm>
            <a:off x="0" y="0"/>
            <a:ext cx="7698284" cy="640080"/>
          </a:xfrm>
        </p:spPr>
        <p:txBody>
          <a:bodyPr/>
          <a:lstStyle/>
          <a:p>
            <a:r>
              <a:rPr lang="en-US" dirty="0"/>
              <a:t>Kurtosis</a:t>
            </a:r>
          </a:p>
        </p:txBody>
      </p:sp>
      <p:sp>
        <p:nvSpPr>
          <p:cNvPr id="3" name="Content Placeholder 2">
            <a:extLst>
              <a:ext uri="{FF2B5EF4-FFF2-40B4-BE49-F238E27FC236}">
                <a16:creationId xmlns:a16="http://schemas.microsoft.com/office/drawing/2014/main" id="{DE4415F1-A054-4D2C-B846-68D88051A638}"/>
              </a:ext>
            </a:extLst>
          </p:cNvPr>
          <p:cNvSpPr>
            <a:spLocks noGrp="1"/>
          </p:cNvSpPr>
          <p:nvPr>
            <p:ph sz="half" idx="13"/>
          </p:nvPr>
        </p:nvSpPr>
        <p:spPr>
          <a:xfrm>
            <a:off x="0" y="640080"/>
            <a:ext cx="8806859" cy="3200400"/>
          </a:xfrm>
        </p:spPr>
        <p:txBody>
          <a:bodyPr/>
          <a:lstStyle/>
          <a:p>
            <a:r>
              <a:rPr lang="en-US" dirty="0"/>
              <a:t>Kurtosis is all about the tails of distribution. Kurtosis refers to the degree of presence of outliers in the distribution.</a:t>
            </a:r>
          </a:p>
          <a:p>
            <a:r>
              <a:rPr lang="en-US" dirty="0"/>
              <a:t>Kurtosis is a statistical measure, whether the data is heavy-tailed or light-tailed in a normal distribution</a:t>
            </a:r>
          </a:p>
        </p:txBody>
      </p:sp>
      <p:pic>
        <p:nvPicPr>
          <p:cNvPr id="5" name="Picture 4">
            <a:extLst>
              <a:ext uri="{FF2B5EF4-FFF2-40B4-BE49-F238E27FC236}">
                <a16:creationId xmlns:a16="http://schemas.microsoft.com/office/drawing/2014/main" id="{970CD22C-2AFE-44F1-8CF3-3589424ED694}"/>
              </a:ext>
            </a:extLst>
          </p:cNvPr>
          <p:cNvPicPr>
            <a:picLocks noChangeAspect="1"/>
          </p:cNvPicPr>
          <p:nvPr/>
        </p:nvPicPr>
        <p:blipFill>
          <a:blip r:embed="rId2"/>
          <a:stretch>
            <a:fillRect/>
          </a:stretch>
        </p:blipFill>
        <p:spPr>
          <a:xfrm>
            <a:off x="168664" y="2067179"/>
            <a:ext cx="4234765" cy="2055774"/>
          </a:xfrm>
          <a:prstGeom prst="rect">
            <a:avLst/>
          </a:prstGeom>
        </p:spPr>
      </p:pic>
    </p:spTree>
    <p:extLst>
      <p:ext uri="{BB962C8B-B14F-4D97-AF65-F5344CB8AC3E}">
        <p14:creationId xmlns:p14="http://schemas.microsoft.com/office/powerpoint/2010/main" val="2555396937"/>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922280354"/>
      </p:ext>
    </p:extLst>
  </p:cSld>
  <p:clrMapOvr>
    <a:masterClrMapping/>
  </p:clrMapOvr>
  <p:transition spd="med">
    <p:wipe dir="r"/>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C892D-1961-44E5-A4AD-FA93118FA777}"/>
              </a:ext>
            </a:extLst>
          </p:cNvPr>
          <p:cNvSpPr>
            <a:spLocks noGrp="1"/>
          </p:cNvSpPr>
          <p:nvPr>
            <p:ph type="title"/>
          </p:nvPr>
        </p:nvSpPr>
        <p:spPr>
          <a:xfrm>
            <a:off x="0" y="22860"/>
            <a:ext cx="8431200" cy="640080"/>
          </a:xfrm>
        </p:spPr>
        <p:txBody>
          <a:bodyPr/>
          <a:lstStyle/>
          <a:p>
            <a:r>
              <a:rPr lang="en-US" dirty="0"/>
              <a:t>Kurtosis - </a:t>
            </a:r>
            <a:r>
              <a:rPr lang="en-US" dirty="0">
                <a:solidFill>
                  <a:schemeClr val="bg2">
                    <a:lumMod val="50000"/>
                    <a:lumOff val="50000"/>
                  </a:schemeClr>
                </a:solidFill>
              </a:rPr>
              <a:t>Leptokurtic (kurtosis &gt; 3)</a:t>
            </a:r>
          </a:p>
        </p:txBody>
      </p:sp>
      <p:sp>
        <p:nvSpPr>
          <p:cNvPr id="3" name="Content Placeholder 2">
            <a:extLst>
              <a:ext uri="{FF2B5EF4-FFF2-40B4-BE49-F238E27FC236}">
                <a16:creationId xmlns:a16="http://schemas.microsoft.com/office/drawing/2014/main" id="{CBF641C7-38B0-421A-8550-68564CC3C5F8}"/>
              </a:ext>
            </a:extLst>
          </p:cNvPr>
          <p:cNvSpPr>
            <a:spLocks noGrp="1"/>
          </p:cNvSpPr>
          <p:nvPr>
            <p:ph sz="half" idx="13"/>
          </p:nvPr>
        </p:nvSpPr>
        <p:spPr>
          <a:xfrm>
            <a:off x="0" y="791550"/>
            <a:ext cx="8869680" cy="890667"/>
          </a:xfrm>
        </p:spPr>
        <p:txBody>
          <a:bodyPr/>
          <a:lstStyle/>
          <a:p>
            <a:r>
              <a:rPr lang="en-US" b="0" i="0" dirty="0">
                <a:solidFill>
                  <a:schemeClr val="bg2">
                    <a:lumMod val="50000"/>
                    <a:lumOff val="50000"/>
                  </a:schemeClr>
                </a:solidFill>
                <a:effectLst/>
                <a:latin typeface="Lato" panose="020F0502020204030203" pitchFamily="34" charset="0"/>
              </a:rPr>
              <a:t>Leptokurtic is having very long and skinny tails, which means there are more chances of outliers. Positive values of kurtosis indicate that distribution is peaked and possesses thick tails. An extreme positive kurtosis indicates a distribution where more of the numbers are located in the tails of the distribution instead of around the mea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A34C54AF-5930-4EB6-95C1-86BFA7B9F549}"/>
              </a:ext>
            </a:extLst>
          </p:cNvPr>
          <p:cNvPicPr>
            <a:picLocks noChangeAspect="1"/>
          </p:cNvPicPr>
          <p:nvPr/>
        </p:nvPicPr>
        <p:blipFill>
          <a:blip r:embed="rId2"/>
          <a:stretch>
            <a:fillRect/>
          </a:stretch>
        </p:blipFill>
        <p:spPr>
          <a:xfrm>
            <a:off x="1090902" y="2058516"/>
            <a:ext cx="3534349" cy="2805536"/>
          </a:xfrm>
          <a:prstGeom prst="rect">
            <a:avLst/>
          </a:prstGeom>
        </p:spPr>
      </p:pic>
    </p:spTree>
    <p:extLst>
      <p:ext uri="{BB962C8B-B14F-4D97-AF65-F5344CB8AC3E}">
        <p14:creationId xmlns:p14="http://schemas.microsoft.com/office/powerpoint/2010/main" val="3302442963"/>
      </p:ext>
    </p:extLst>
  </p:cSld>
  <p:clrMapOvr>
    <a:masterClrMapping/>
  </p:clrMapOvr>
  <p:transition spd="med">
    <p:wipe dir="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1DC36-0840-4E35-B30B-224D7E91E11B}"/>
              </a:ext>
            </a:extLst>
          </p:cNvPr>
          <p:cNvSpPr>
            <a:spLocks noGrp="1"/>
          </p:cNvSpPr>
          <p:nvPr>
            <p:ph type="title"/>
          </p:nvPr>
        </p:nvSpPr>
        <p:spPr>
          <a:xfrm>
            <a:off x="0" y="0"/>
            <a:ext cx="8110113" cy="640080"/>
          </a:xfrm>
        </p:spPr>
        <p:txBody>
          <a:bodyPr/>
          <a:lstStyle/>
          <a:p>
            <a:r>
              <a:rPr lang="en-US" dirty="0"/>
              <a:t>Kurtosis - </a:t>
            </a:r>
            <a:r>
              <a:rPr lang="en-US" dirty="0">
                <a:solidFill>
                  <a:schemeClr val="bg2">
                    <a:lumMod val="50000"/>
                    <a:lumOff val="50000"/>
                  </a:schemeClr>
                </a:solidFill>
              </a:rPr>
              <a:t>Platykurtic (kurtosis &lt; 3)</a:t>
            </a:r>
          </a:p>
        </p:txBody>
      </p:sp>
      <p:sp>
        <p:nvSpPr>
          <p:cNvPr id="3" name="Content Placeholder 2">
            <a:extLst>
              <a:ext uri="{FF2B5EF4-FFF2-40B4-BE49-F238E27FC236}">
                <a16:creationId xmlns:a16="http://schemas.microsoft.com/office/drawing/2014/main" id="{C1A348E2-3B83-4682-B9AF-C9B580C0A291}"/>
              </a:ext>
            </a:extLst>
          </p:cNvPr>
          <p:cNvSpPr>
            <a:spLocks noGrp="1"/>
          </p:cNvSpPr>
          <p:nvPr>
            <p:ph sz="half" idx="13"/>
          </p:nvPr>
        </p:nvSpPr>
        <p:spPr>
          <a:xfrm>
            <a:off x="78875" y="640080"/>
            <a:ext cx="8548593" cy="3200400"/>
          </a:xfrm>
        </p:spPr>
        <p:txBody>
          <a:bodyPr/>
          <a:lstStyle/>
          <a:p>
            <a:r>
              <a:rPr lang="en-US" dirty="0">
                <a:solidFill>
                  <a:schemeClr val="bg2">
                    <a:lumMod val="50000"/>
                    <a:lumOff val="50000"/>
                  </a:schemeClr>
                </a:solidFill>
              </a:rPr>
              <a:t>Platykurtic having a lower tail and stretched around center tails means most of the data points are present in high proximity with mean. A platykurtic distribution is flatter (less peaked) when compared with the normal distribution.</a:t>
            </a:r>
          </a:p>
        </p:txBody>
      </p:sp>
      <p:pic>
        <p:nvPicPr>
          <p:cNvPr id="8" name="Picture 7">
            <a:extLst>
              <a:ext uri="{FF2B5EF4-FFF2-40B4-BE49-F238E27FC236}">
                <a16:creationId xmlns:a16="http://schemas.microsoft.com/office/drawing/2014/main" id="{58284D4D-EB37-494A-B483-7B1DFF69FA8B}"/>
              </a:ext>
            </a:extLst>
          </p:cNvPr>
          <p:cNvPicPr>
            <a:picLocks noChangeAspect="1"/>
          </p:cNvPicPr>
          <p:nvPr/>
        </p:nvPicPr>
        <p:blipFill>
          <a:blip r:embed="rId2"/>
          <a:stretch>
            <a:fillRect/>
          </a:stretch>
        </p:blipFill>
        <p:spPr>
          <a:xfrm>
            <a:off x="2094809" y="1640118"/>
            <a:ext cx="2371725" cy="2114550"/>
          </a:xfrm>
          <a:prstGeom prst="rect">
            <a:avLst/>
          </a:prstGeom>
        </p:spPr>
      </p:pic>
    </p:spTree>
    <p:extLst>
      <p:ext uri="{BB962C8B-B14F-4D97-AF65-F5344CB8AC3E}">
        <p14:creationId xmlns:p14="http://schemas.microsoft.com/office/powerpoint/2010/main" val="3664753248"/>
      </p:ext>
    </p:extLst>
  </p:cSld>
  <p:clrMapOvr>
    <a:masterClrMapping/>
  </p:clrMapOvr>
  <p:transition spd="med">
    <p:wipe dir="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D3B66-C560-43BB-929F-0BCAB624A02E}"/>
              </a:ext>
            </a:extLst>
          </p:cNvPr>
          <p:cNvSpPr>
            <a:spLocks noGrp="1"/>
          </p:cNvSpPr>
          <p:nvPr>
            <p:ph type="title"/>
          </p:nvPr>
        </p:nvSpPr>
        <p:spPr>
          <a:xfrm>
            <a:off x="0" y="22860"/>
            <a:ext cx="8507982" cy="640080"/>
          </a:xfrm>
        </p:spPr>
        <p:txBody>
          <a:bodyPr/>
          <a:lstStyle/>
          <a:p>
            <a:r>
              <a:rPr lang="en-US" dirty="0"/>
              <a:t>Kurtosis - </a:t>
            </a:r>
            <a:r>
              <a:rPr lang="en-US" dirty="0">
                <a:solidFill>
                  <a:schemeClr val="bg2">
                    <a:lumMod val="50000"/>
                    <a:lumOff val="50000"/>
                  </a:schemeClr>
                </a:solidFill>
              </a:rPr>
              <a:t>Mesokurtic (kurtosis = 3)</a:t>
            </a:r>
            <a:endParaRPr lang="en-US" dirty="0"/>
          </a:p>
        </p:txBody>
      </p:sp>
      <p:sp>
        <p:nvSpPr>
          <p:cNvPr id="3" name="Content Placeholder 2">
            <a:extLst>
              <a:ext uri="{FF2B5EF4-FFF2-40B4-BE49-F238E27FC236}">
                <a16:creationId xmlns:a16="http://schemas.microsoft.com/office/drawing/2014/main" id="{42AA9797-89B3-4E5D-9561-7929FC4FB959}"/>
              </a:ext>
            </a:extLst>
          </p:cNvPr>
          <p:cNvSpPr>
            <a:spLocks noGrp="1"/>
          </p:cNvSpPr>
          <p:nvPr>
            <p:ph sz="half" idx="13"/>
          </p:nvPr>
        </p:nvSpPr>
        <p:spPr>
          <a:xfrm>
            <a:off x="78875" y="868331"/>
            <a:ext cx="8507981" cy="3200400"/>
          </a:xfrm>
        </p:spPr>
        <p:txBody>
          <a:bodyPr/>
          <a:lstStyle/>
          <a:p>
            <a:r>
              <a:rPr lang="en-US" dirty="0">
                <a:solidFill>
                  <a:schemeClr val="bg2">
                    <a:lumMod val="50000"/>
                    <a:lumOff val="50000"/>
                  </a:schemeClr>
                </a:solidFill>
              </a:rPr>
              <a:t>Mesokurtic is the same as the normal distribution, which means kurtosis is near to 0. In Mesokurtic, distributions are moderate in breadth, and curves are a medium peaked height.</a:t>
            </a:r>
          </a:p>
        </p:txBody>
      </p:sp>
      <p:pic>
        <p:nvPicPr>
          <p:cNvPr id="5" name="Picture 4">
            <a:extLst>
              <a:ext uri="{FF2B5EF4-FFF2-40B4-BE49-F238E27FC236}">
                <a16:creationId xmlns:a16="http://schemas.microsoft.com/office/drawing/2014/main" id="{0246CFAA-AEB4-42F8-9CCF-6276C5303CE0}"/>
              </a:ext>
            </a:extLst>
          </p:cNvPr>
          <p:cNvPicPr>
            <a:picLocks noChangeAspect="1"/>
          </p:cNvPicPr>
          <p:nvPr/>
        </p:nvPicPr>
        <p:blipFill>
          <a:blip r:embed="rId2"/>
          <a:stretch>
            <a:fillRect/>
          </a:stretch>
        </p:blipFill>
        <p:spPr>
          <a:xfrm>
            <a:off x="2197876" y="1662723"/>
            <a:ext cx="3225703" cy="2482942"/>
          </a:xfrm>
          <a:prstGeom prst="rect">
            <a:avLst/>
          </a:prstGeom>
        </p:spPr>
      </p:pic>
    </p:spTree>
    <p:extLst>
      <p:ext uri="{BB962C8B-B14F-4D97-AF65-F5344CB8AC3E}">
        <p14:creationId xmlns:p14="http://schemas.microsoft.com/office/powerpoint/2010/main" val="2343888370"/>
      </p:ext>
    </p:extLst>
  </p:cSld>
  <p:clrMapOvr>
    <a:masterClrMapping/>
  </p:clrMapOvr>
  <p:transition spd="med">
    <p:wipe dir="r"/>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61446-94EF-491C-91FC-F2F21BE21A13}"/>
              </a:ext>
            </a:extLst>
          </p:cNvPr>
          <p:cNvSpPr>
            <a:spLocks noGrp="1"/>
          </p:cNvSpPr>
          <p:nvPr>
            <p:ph type="title"/>
          </p:nvPr>
        </p:nvSpPr>
        <p:spPr>
          <a:xfrm>
            <a:off x="0" y="0"/>
            <a:ext cx="8570803" cy="640080"/>
          </a:xfrm>
        </p:spPr>
        <p:txBody>
          <a:bodyPr/>
          <a:lstStyle/>
          <a:p>
            <a:r>
              <a:rPr lang="en-US" dirty="0"/>
              <a:t>Skewness - Summary</a:t>
            </a:r>
          </a:p>
        </p:txBody>
      </p:sp>
      <p:sp>
        <p:nvSpPr>
          <p:cNvPr id="3" name="Content Placeholder 2">
            <a:extLst>
              <a:ext uri="{FF2B5EF4-FFF2-40B4-BE49-F238E27FC236}">
                <a16:creationId xmlns:a16="http://schemas.microsoft.com/office/drawing/2014/main" id="{949C8C3E-AC10-4C1C-B598-DEB08383D7C4}"/>
              </a:ext>
            </a:extLst>
          </p:cNvPr>
          <p:cNvSpPr>
            <a:spLocks noGrp="1"/>
          </p:cNvSpPr>
          <p:nvPr>
            <p:ph sz="half" idx="13"/>
          </p:nvPr>
        </p:nvSpPr>
        <p:spPr>
          <a:xfrm>
            <a:off x="137160" y="791549"/>
            <a:ext cx="8869680" cy="3200400"/>
          </a:xfrm>
        </p:spPr>
        <p:txBody>
          <a:bodyPr/>
          <a:lstStyle/>
          <a:p>
            <a:r>
              <a:rPr lang="en-US" b="0" i="0" dirty="0">
                <a:solidFill>
                  <a:schemeClr val="bg2">
                    <a:lumMod val="50000"/>
                    <a:lumOff val="50000"/>
                  </a:schemeClr>
                </a:solidFill>
                <a:effectLst/>
                <a:latin typeface="Lato" panose="020F0502020204030203" pitchFamily="34" charset="0"/>
              </a:rPr>
              <a:t>The skewness is a measure of symmetry or asymmetry of data distribution, and kurtosis measures whether data is heavy-tailed or light-tailed in a normal distribution. Data can be positive-skewed (data-pushed towards the right side) or negative-skewed (data-pushed towards the left side).</a:t>
            </a:r>
          </a:p>
          <a:p>
            <a:r>
              <a:rPr lang="en-US" dirty="0">
                <a:solidFill>
                  <a:schemeClr val="bg2">
                    <a:lumMod val="50000"/>
                    <a:lumOff val="50000"/>
                  </a:schemeClr>
                </a:solidFill>
              </a:rPr>
              <a:t>When data skewed, the tail region may behave as an outlier for the statistical model, and outliers unsympathetically affect the model’s performance especially regression-based models. Some statistical models are hardy to outliers like Tree-based models, but it will limit the possibility to try other models. So there is a necessity to transform the skewed data to close enough to a Normal distribution.</a:t>
            </a:r>
          </a:p>
          <a:p>
            <a:r>
              <a:rPr lang="en-US" dirty="0">
                <a:solidFill>
                  <a:schemeClr val="bg2">
                    <a:lumMod val="50000"/>
                    <a:lumOff val="50000"/>
                  </a:schemeClr>
                </a:solidFill>
              </a:rPr>
              <a:t>Excess kurtosis can be positive (Leptokurtic distribution), negative (Platykurtic distribution), or near to zero (Mesokurtic distribution). Leptokurtic distribution (kurtosis more than normal distribution).Mesokurtic distribution (kurtosis same as the normal distribution).Platykurtic distribution (kurtosis less than normal distribution).</a:t>
            </a:r>
          </a:p>
        </p:txBody>
      </p:sp>
    </p:spTree>
    <p:extLst>
      <p:ext uri="{BB962C8B-B14F-4D97-AF65-F5344CB8AC3E}">
        <p14:creationId xmlns:p14="http://schemas.microsoft.com/office/powerpoint/2010/main" val="110353803"/>
      </p:ext>
    </p:extLst>
  </p:cSld>
  <p:clrMapOvr>
    <a:masterClrMapping/>
  </p:clrMapOvr>
  <p:transition spd="med">
    <p:wipe dir="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B5E8E-0FC2-467C-ACC7-31AA2A7D23A1}"/>
              </a:ext>
            </a:extLst>
          </p:cNvPr>
          <p:cNvSpPr>
            <a:spLocks noGrp="1"/>
          </p:cNvSpPr>
          <p:nvPr>
            <p:ph type="title"/>
          </p:nvPr>
        </p:nvSpPr>
        <p:spPr>
          <a:xfrm>
            <a:off x="0" y="22860"/>
            <a:ext cx="4295219" cy="640080"/>
          </a:xfrm>
        </p:spPr>
        <p:txBody>
          <a:bodyPr/>
          <a:lstStyle/>
          <a:p>
            <a:r>
              <a:rPr lang="en-US" dirty="0"/>
              <a:t>Central Limit Theorem</a:t>
            </a:r>
          </a:p>
        </p:txBody>
      </p:sp>
      <p:sp>
        <p:nvSpPr>
          <p:cNvPr id="3" name="Content Placeholder 2">
            <a:extLst>
              <a:ext uri="{FF2B5EF4-FFF2-40B4-BE49-F238E27FC236}">
                <a16:creationId xmlns:a16="http://schemas.microsoft.com/office/drawing/2014/main" id="{1E42B404-3C93-4717-84A2-789D9E19B5A9}"/>
              </a:ext>
            </a:extLst>
          </p:cNvPr>
          <p:cNvSpPr>
            <a:spLocks noGrp="1"/>
          </p:cNvSpPr>
          <p:nvPr>
            <p:ph sz="half" idx="13"/>
          </p:nvPr>
        </p:nvSpPr>
        <p:spPr>
          <a:xfrm>
            <a:off x="148677" y="1116824"/>
            <a:ext cx="5756532" cy="1354150"/>
          </a:xfrm>
        </p:spPr>
        <p:txBody>
          <a:bodyPr/>
          <a:lstStyle/>
          <a:p>
            <a:r>
              <a:rPr lang="en-US" dirty="0"/>
              <a:t>Population of Used cars in a Secondhand Showroom</a:t>
            </a:r>
          </a:p>
        </p:txBody>
      </p:sp>
      <p:pic>
        <p:nvPicPr>
          <p:cNvPr id="5" name="Picture 4" descr="A picture containing text, outdoor, transport, car&#10;&#10;Description automatically generated">
            <a:extLst>
              <a:ext uri="{FF2B5EF4-FFF2-40B4-BE49-F238E27FC236}">
                <a16:creationId xmlns:a16="http://schemas.microsoft.com/office/drawing/2014/main" id="{91959E16-0A26-438F-B3C1-3AD51EC490F3}"/>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5209" y="990310"/>
            <a:ext cx="3039420" cy="3039420"/>
          </a:xfrm>
          <a:prstGeom prst="rect">
            <a:avLst/>
          </a:prstGeom>
        </p:spPr>
      </p:pic>
      <p:sp>
        <p:nvSpPr>
          <p:cNvPr id="6" name="TextBox 5">
            <a:extLst>
              <a:ext uri="{FF2B5EF4-FFF2-40B4-BE49-F238E27FC236}">
                <a16:creationId xmlns:a16="http://schemas.microsoft.com/office/drawing/2014/main" id="{851D58E5-1FCE-41F7-8B41-23CFC995BD7C}"/>
              </a:ext>
            </a:extLst>
          </p:cNvPr>
          <p:cNvSpPr txBox="1"/>
          <p:nvPr/>
        </p:nvSpPr>
        <p:spPr>
          <a:xfrm>
            <a:off x="328066" y="1758127"/>
            <a:ext cx="2959586"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e #1 : $2617.23 </a:t>
            </a:r>
          </a:p>
        </p:txBody>
      </p:sp>
      <p:sp>
        <p:nvSpPr>
          <p:cNvPr id="7" name="TextBox 6">
            <a:extLst>
              <a:ext uri="{FF2B5EF4-FFF2-40B4-BE49-F238E27FC236}">
                <a16:creationId xmlns:a16="http://schemas.microsoft.com/office/drawing/2014/main" id="{85A983D6-527A-429C-B134-A010221CAEE0}"/>
              </a:ext>
            </a:extLst>
          </p:cNvPr>
          <p:cNvSpPr txBox="1"/>
          <p:nvPr/>
        </p:nvSpPr>
        <p:spPr>
          <a:xfrm>
            <a:off x="328066" y="2177983"/>
            <a:ext cx="2959586"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e #2 : $3201.34</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Sample #3 : $2844.33 </a:t>
            </a:r>
          </a:p>
        </p:txBody>
      </p:sp>
      <p:sp>
        <p:nvSpPr>
          <p:cNvPr id="8" name="TextBox 7">
            <a:extLst>
              <a:ext uri="{FF2B5EF4-FFF2-40B4-BE49-F238E27FC236}">
                <a16:creationId xmlns:a16="http://schemas.microsoft.com/office/drawing/2014/main" id="{6517C1CF-0DF0-48F6-961F-48ECB36C5393}"/>
              </a:ext>
            </a:extLst>
          </p:cNvPr>
          <p:cNvSpPr txBox="1"/>
          <p:nvPr/>
        </p:nvSpPr>
        <p:spPr>
          <a:xfrm>
            <a:off x="148677" y="3304800"/>
            <a:ext cx="5236923" cy="646331"/>
          </a:xfrm>
          <a:prstGeom prst="rect">
            <a:avLst/>
          </a:prstGeom>
          <a:noFill/>
        </p:spPr>
        <p:txBody>
          <a:bodyPr wrap="square" rtlCol="0">
            <a:spAutoFit/>
          </a:bodyPr>
          <a:lstStyle/>
          <a:p>
            <a:pPr>
              <a:spcBef>
                <a:spcPts val="0"/>
              </a:spcBef>
              <a:spcAft>
                <a:spcPts val="0"/>
              </a:spcAft>
              <a:buClr>
                <a:schemeClr val="bg1"/>
              </a:buClr>
            </a:pPr>
            <a:r>
              <a:rPr lang="en-US" sz="1800" b="1" i="1" dirty="0">
                <a:solidFill>
                  <a:schemeClr val="bg2"/>
                </a:solidFill>
                <a:latin typeface="+mn-lt"/>
              </a:rPr>
              <a:t>Taking a single value, as we did in descriptive statistics is sub optimal </a:t>
            </a:r>
          </a:p>
        </p:txBody>
      </p:sp>
    </p:spTree>
    <p:extLst>
      <p:ext uri="{BB962C8B-B14F-4D97-AF65-F5344CB8AC3E}">
        <p14:creationId xmlns:p14="http://schemas.microsoft.com/office/powerpoint/2010/main" val="4038918390"/>
      </p:ext>
    </p:extLst>
  </p:cSld>
  <p:clrMapOvr>
    <a:masterClrMapping/>
  </p:clrMapOvr>
  <p:transition spd="med">
    <p:wipe dir="r"/>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B45E7C5-1311-4947-B72A-F232CF1C1D4B}"/>
              </a:ext>
            </a:extLst>
          </p:cNvPr>
          <p:cNvSpPr>
            <a:spLocks noGrp="1"/>
          </p:cNvSpPr>
          <p:nvPr>
            <p:ph sz="half" idx="13"/>
          </p:nvPr>
        </p:nvSpPr>
        <p:spPr>
          <a:xfrm>
            <a:off x="274320" y="662940"/>
            <a:ext cx="2831848" cy="3817620"/>
          </a:xfrm>
        </p:spPr>
        <p:txBody>
          <a:bodyPr>
            <a:normAutofit fontScale="85000" lnSpcReduction="20000"/>
          </a:bodyPr>
          <a:lstStyle/>
          <a:p>
            <a:r>
              <a:rPr lang="en-US" dirty="0"/>
              <a:t>We can draw many, many samples </a:t>
            </a:r>
          </a:p>
          <a:p>
            <a:pPr marL="0" indent="0">
              <a:buNone/>
            </a:pPr>
            <a:r>
              <a:rPr lang="en-US" dirty="0"/>
              <a:t>$2521</a:t>
            </a:r>
          </a:p>
          <a:p>
            <a:pPr marL="0" indent="0">
              <a:buNone/>
            </a:pPr>
            <a:r>
              <a:rPr lang="en-US" dirty="0"/>
              <a:t>$2551</a:t>
            </a:r>
          </a:p>
          <a:p>
            <a:pPr marL="0" indent="0">
              <a:buNone/>
            </a:pPr>
            <a:r>
              <a:rPr lang="en-US" dirty="0"/>
              <a:t>$2568</a:t>
            </a:r>
          </a:p>
          <a:p>
            <a:pPr marL="0" indent="0">
              <a:buNone/>
            </a:pPr>
            <a:r>
              <a:rPr lang="en-US" dirty="0"/>
              <a:t>$2594</a:t>
            </a:r>
          </a:p>
          <a:p>
            <a:pPr marL="0" indent="0">
              <a:buNone/>
            </a:pPr>
            <a:r>
              <a:rPr lang="en-US" dirty="0"/>
              <a:t>$ 2617</a:t>
            </a:r>
          </a:p>
          <a:p>
            <a:pPr marL="0" indent="0">
              <a:buNone/>
            </a:pPr>
            <a:r>
              <a:rPr lang="en-US" dirty="0"/>
              <a:t>$ 2620</a:t>
            </a:r>
          </a:p>
          <a:p>
            <a:pPr marL="0" indent="0">
              <a:buNone/>
            </a:pPr>
            <a:r>
              <a:rPr lang="en-US" dirty="0"/>
              <a:t>$ 2623</a:t>
            </a:r>
          </a:p>
          <a:p>
            <a:pPr marL="0" indent="0">
              <a:buNone/>
            </a:pPr>
            <a:r>
              <a:rPr lang="en-US" dirty="0"/>
              <a:t>$ 2661</a:t>
            </a:r>
          </a:p>
          <a:p>
            <a:pPr marL="0" indent="0">
              <a:buNone/>
            </a:pPr>
            <a:r>
              <a:rPr lang="en-US" dirty="0"/>
              <a:t>$ 2685</a:t>
            </a:r>
          </a:p>
          <a:p>
            <a:pPr marL="0" indent="0">
              <a:buNone/>
            </a:pPr>
            <a:r>
              <a:rPr lang="en-US" dirty="0"/>
              <a:t>$ 2687</a:t>
            </a:r>
          </a:p>
          <a:p>
            <a:pPr marL="0" indent="0">
              <a:buNone/>
            </a:pPr>
            <a:r>
              <a:rPr lang="en-US" dirty="0"/>
              <a:t>$ 2711</a:t>
            </a:r>
          </a:p>
          <a:p>
            <a:pPr marL="0" indent="0">
              <a:buNone/>
            </a:pPr>
            <a:r>
              <a:rPr lang="en-US" dirty="0"/>
              <a:t>$ 2744</a:t>
            </a:r>
          </a:p>
        </p:txBody>
      </p:sp>
      <p:sp>
        <p:nvSpPr>
          <p:cNvPr id="4" name="Title 1">
            <a:extLst>
              <a:ext uri="{FF2B5EF4-FFF2-40B4-BE49-F238E27FC236}">
                <a16:creationId xmlns:a16="http://schemas.microsoft.com/office/drawing/2014/main" id="{489B247C-E2C1-4166-AA50-55CCE0E1B8EA}"/>
              </a:ext>
            </a:extLst>
          </p:cNvPr>
          <p:cNvSpPr>
            <a:spLocks noGrp="1"/>
          </p:cNvSpPr>
          <p:nvPr>
            <p:ph type="title"/>
          </p:nvPr>
        </p:nvSpPr>
        <p:spPr>
          <a:xfrm>
            <a:off x="0" y="22860"/>
            <a:ext cx="4295219" cy="640080"/>
          </a:xfrm>
        </p:spPr>
        <p:txBody>
          <a:bodyPr/>
          <a:lstStyle/>
          <a:p>
            <a:r>
              <a:rPr lang="en-US" dirty="0"/>
              <a:t>Central Limit Theorem</a:t>
            </a:r>
          </a:p>
        </p:txBody>
      </p:sp>
      <p:sp>
        <p:nvSpPr>
          <p:cNvPr id="6" name="TextBox 5">
            <a:extLst>
              <a:ext uri="{FF2B5EF4-FFF2-40B4-BE49-F238E27FC236}">
                <a16:creationId xmlns:a16="http://schemas.microsoft.com/office/drawing/2014/main" id="{936752CE-B540-442A-8A29-57A8B0CDDBCE}"/>
              </a:ext>
            </a:extLst>
          </p:cNvPr>
          <p:cNvSpPr txBox="1"/>
          <p:nvPr/>
        </p:nvSpPr>
        <p:spPr>
          <a:xfrm>
            <a:off x="3280673" y="914400"/>
            <a:ext cx="2757161" cy="3471720"/>
          </a:xfrm>
          <a:prstGeom prst="rect">
            <a:avLst/>
          </a:prstGeom>
          <a:noFill/>
        </p:spPr>
        <p:txBody>
          <a:bodyPr wrap="square" rtlCol="0">
            <a:spAutoFit/>
          </a:bodyPr>
          <a:lstStyle/>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748</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786</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0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0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3</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691</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030</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201</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240</a:t>
            </a:r>
          </a:p>
          <a:p>
            <a:pPr>
              <a:spcBef>
                <a:spcPts val="0"/>
              </a:spcBef>
              <a:spcAft>
                <a:spcPts val="0"/>
              </a:spcAft>
              <a:buClr>
                <a:schemeClr val="bg1"/>
              </a:buClr>
            </a:pPr>
            <a:endParaRPr lang="en-US" sz="1400" dirty="0" err="1">
              <a:solidFill>
                <a:schemeClr val="bg2"/>
              </a:solidFill>
              <a:latin typeface="+mn-lt"/>
            </a:endParaRPr>
          </a:p>
        </p:txBody>
      </p:sp>
      <p:sp>
        <p:nvSpPr>
          <p:cNvPr id="7" name="TextBox 6">
            <a:extLst>
              <a:ext uri="{FF2B5EF4-FFF2-40B4-BE49-F238E27FC236}">
                <a16:creationId xmlns:a16="http://schemas.microsoft.com/office/drawing/2014/main" id="{1286DED4-90BF-4713-B38A-8856560A5254}"/>
              </a:ext>
            </a:extLst>
          </p:cNvPr>
          <p:cNvSpPr txBox="1"/>
          <p:nvPr/>
        </p:nvSpPr>
        <p:spPr>
          <a:xfrm>
            <a:off x="5297936" y="1221527"/>
            <a:ext cx="2708299"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ampling Distribution</a:t>
            </a:r>
          </a:p>
        </p:txBody>
      </p:sp>
      <p:sp>
        <p:nvSpPr>
          <p:cNvPr id="8" name="TextBox 7">
            <a:extLst>
              <a:ext uri="{FF2B5EF4-FFF2-40B4-BE49-F238E27FC236}">
                <a16:creationId xmlns:a16="http://schemas.microsoft.com/office/drawing/2014/main" id="{E42D2C4B-4211-4231-8EC0-380586F19B71}"/>
              </a:ext>
            </a:extLst>
          </p:cNvPr>
          <p:cNvSpPr txBox="1"/>
          <p:nvPr/>
        </p:nvSpPr>
        <p:spPr>
          <a:xfrm>
            <a:off x="5318878" y="2167841"/>
            <a:ext cx="340631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ing Distribution of the MEAN</a:t>
            </a:r>
          </a:p>
        </p:txBody>
      </p:sp>
      <p:sp>
        <p:nvSpPr>
          <p:cNvPr id="9" name="TextBox 8">
            <a:extLst>
              <a:ext uri="{FF2B5EF4-FFF2-40B4-BE49-F238E27FC236}">
                <a16:creationId xmlns:a16="http://schemas.microsoft.com/office/drawing/2014/main" id="{EEA44317-DB50-4076-8EE0-9C5D8519EFBF}"/>
              </a:ext>
            </a:extLst>
          </p:cNvPr>
          <p:cNvSpPr txBox="1"/>
          <p:nvPr/>
        </p:nvSpPr>
        <p:spPr>
          <a:xfrm>
            <a:off x="1537728" y="1598455"/>
            <a:ext cx="1054003" cy="1446550"/>
          </a:xfrm>
          <a:prstGeom prst="rect">
            <a:avLst/>
          </a:prstGeom>
          <a:noFill/>
        </p:spPr>
        <p:txBody>
          <a:bodyPr wrap="square" rtlCol="0">
            <a:spAutoFit/>
          </a:bodyPr>
          <a:lstStyle/>
          <a:p>
            <a:pPr>
              <a:spcBef>
                <a:spcPts val="0"/>
              </a:spcBef>
              <a:spcAft>
                <a:spcPts val="0"/>
              </a:spcAft>
              <a:buClr>
                <a:schemeClr val="bg1"/>
              </a:buClr>
            </a:pPr>
            <a:r>
              <a:rPr lang="en-US" sz="8800" dirty="0">
                <a:solidFill>
                  <a:schemeClr val="accent4"/>
                </a:solidFill>
                <a:latin typeface="+mn-lt"/>
              </a:rPr>
              <a:t>µ</a:t>
            </a:r>
          </a:p>
        </p:txBody>
      </p:sp>
      <p:sp>
        <p:nvSpPr>
          <p:cNvPr id="10" name="TextBox 9">
            <a:extLst>
              <a:ext uri="{FF2B5EF4-FFF2-40B4-BE49-F238E27FC236}">
                <a16:creationId xmlns:a16="http://schemas.microsoft.com/office/drawing/2014/main" id="{B52C6D56-86EB-414B-AB95-0E81E6A00153}"/>
              </a:ext>
            </a:extLst>
          </p:cNvPr>
          <p:cNvSpPr txBox="1"/>
          <p:nvPr/>
        </p:nvSpPr>
        <p:spPr>
          <a:xfrm>
            <a:off x="1280509" y="1598455"/>
            <a:ext cx="1568440"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 2800</a:t>
            </a:r>
            <a:endParaRPr lang="en-US" sz="1400" b="1" dirty="0">
              <a:solidFill>
                <a:schemeClr val="bg2"/>
              </a:solidFill>
              <a:latin typeface="+mn-lt"/>
            </a:endParaRPr>
          </a:p>
        </p:txBody>
      </p:sp>
    </p:spTree>
    <p:extLst>
      <p:ext uri="{BB962C8B-B14F-4D97-AF65-F5344CB8AC3E}">
        <p14:creationId xmlns:p14="http://schemas.microsoft.com/office/powerpoint/2010/main" val="835954562"/>
      </p:ext>
    </p:extLst>
  </p:cSld>
  <p:clrMapOvr>
    <a:masterClrMapping/>
  </p:clrMapOvr>
  <p:transition spd="med">
    <p:wipe dir="r"/>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57D56-95C5-4D0C-A949-1A487B245503}"/>
              </a:ext>
            </a:extLst>
          </p:cNvPr>
          <p:cNvSpPr>
            <a:spLocks noGrp="1"/>
          </p:cNvSpPr>
          <p:nvPr>
            <p:ph type="title"/>
          </p:nvPr>
        </p:nvSpPr>
        <p:spPr>
          <a:xfrm>
            <a:off x="0" y="22860"/>
            <a:ext cx="4295219" cy="640080"/>
          </a:xfrm>
        </p:spPr>
        <p:txBody>
          <a:bodyPr/>
          <a:lstStyle/>
          <a:p>
            <a:r>
              <a:rPr lang="en-US" dirty="0"/>
              <a:t>Central Limit Theorem</a:t>
            </a:r>
          </a:p>
        </p:txBody>
      </p:sp>
      <p:sp>
        <p:nvSpPr>
          <p:cNvPr id="3" name="Content Placeholder 2">
            <a:extLst>
              <a:ext uri="{FF2B5EF4-FFF2-40B4-BE49-F238E27FC236}">
                <a16:creationId xmlns:a16="http://schemas.microsoft.com/office/drawing/2014/main" id="{B39ECE88-325C-4E0B-A7D7-FFA8F4710CDF}"/>
              </a:ext>
            </a:extLst>
          </p:cNvPr>
          <p:cNvSpPr>
            <a:spLocks noGrp="1"/>
          </p:cNvSpPr>
          <p:nvPr>
            <p:ph sz="half" idx="13"/>
          </p:nvPr>
        </p:nvSpPr>
        <p:spPr>
          <a:xfrm>
            <a:off x="332604" y="1415242"/>
            <a:ext cx="8478791" cy="1930711"/>
          </a:xfrm>
        </p:spPr>
        <p:txBody>
          <a:bodyPr>
            <a:normAutofit/>
          </a:bodyPr>
          <a:lstStyle/>
          <a:p>
            <a:pPr marL="0" indent="0">
              <a:buNone/>
            </a:pPr>
            <a:r>
              <a:rPr lang="en-US" sz="1800" b="1" dirty="0"/>
              <a:t>Distribution of Car Prices</a:t>
            </a:r>
          </a:p>
        </p:txBody>
      </p:sp>
      <p:grpSp>
        <p:nvGrpSpPr>
          <p:cNvPr id="12" name="Group 11">
            <a:extLst>
              <a:ext uri="{FF2B5EF4-FFF2-40B4-BE49-F238E27FC236}">
                <a16:creationId xmlns:a16="http://schemas.microsoft.com/office/drawing/2014/main" id="{BCF523DF-06F8-4B59-8DB3-E70C4ADA19D8}"/>
              </a:ext>
            </a:extLst>
          </p:cNvPr>
          <p:cNvGrpSpPr/>
          <p:nvPr/>
        </p:nvGrpSpPr>
        <p:grpSpPr>
          <a:xfrm>
            <a:off x="1004944" y="2178783"/>
            <a:ext cx="2478600" cy="1243080"/>
            <a:chOff x="669897" y="1521278"/>
            <a:chExt cx="2478600" cy="1243080"/>
          </a:xfrm>
        </p:grpSpPr>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D113C73-2B8D-434A-9DC1-B0D7EDEADD9B}"/>
                    </a:ext>
                  </a:extLst>
                </p14:cNvPr>
                <p14:cNvContentPartPr/>
                <p14:nvPr/>
              </p14:nvContentPartPr>
              <p14:xfrm>
                <a:off x="836937" y="1521278"/>
                <a:ext cx="63720" cy="1243080"/>
              </p14:xfrm>
            </p:contentPart>
          </mc:Choice>
          <mc:Fallback xmlns="">
            <p:pic>
              <p:nvPicPr>
                <p:cNvPr id="4" name="Ink 3">
                  <a:extLst>
                    <a:ext uri="{FF2B5EF4-FFF2-40B4-BE49-F238E27FC236}">
                      <a16:creationId xmlns:a16="http://schemas.microsoft.com/office/drawing/2014/main" id="{6D113C73-2B8D-434A-9DC1-B0D7EDEADD9B}"/>
                    </a:ext>
                  </a:extLst>
                </p:cNvPr>
                <p:cNvPicPr/>
                <p:nvPr/>
              </p:nvPicPr>
              <p:blipFill>
                <a:blip r:embed="rId3"/>
                <a:stretch>
                  <a:fillRect/>
                </a:stretch>
              </p:blipFill>
              <p:spPr>
                <a:xfrm>
                  <a:off x="827937" y="1512638"/>
                  <a:ext cx="81360" cy="12607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0AE3159E-170F-4FE1-94E0-C7264AABDE24}"/>
                    </a:ext>
                  </a:extLst>
                </p14:cNvPr>
                <p14:cNvContentPartPr/>
                <p14:nvPr/>
              </p14:nvContentPartPr>
              <p14:xfrm>
                <a:off x="669897" y="2587598"/>
                <a:ext cx="1758600" cy="36720"/>
              </p14:xfrm>
            </p:contentPart>
          </mc:Choice>
          <mc:Fallback xmlns="">
            <p:pic>
              <p:nvPicPr>
                <p:cNvPr id="5" name="Ink 4">
                  <a:extLst>
                    <a:ext uri="{FF2B5EF4-FFF2-40B4-BE49-F238E27FC236}">
                      <a16:creationId xmlns:a16="http://schemas.microsoft.com/office/drawing/2014/main" id="{0AE3159E-170F-4FE1-94E0-C7264AABDE24}"/>
                    </a:ext>
                  </a:extLst>
                </p:cNvPr>
                <p:cNvPicPr/>
                <p:nvPr/>
              </p:nvPicPr>
              <p:blipFill>
                <a:blip r:embed="rId5"/>
                <a:stretch>
                  <a:fillRect/>
                </a:stretch>
              </p:blipFill>
              <p:spPr>
                <a:xfrm>
                  <a:off x="660897" y="2578598"/>
                  <a:ext cx="1776240" cy="543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1" name="Ink 10">
                  <a:extLst>
                    <a:ext uri="{FF2B5EF4-FFF2-40B4-BE49-F238E27FC236}">
                      <a16:creationId xmlns:a16="http://schemas.microsoft.com/office/drawing/2014/main" id="{3EFB8835-00BE-4C34-83CE-6457FE475CBA}"/>
                    </a:ext>
                  </a:extLst>
                </p14:cNvPr>
                <p14:cNvContentPartPr/>
                <p14:nvPr/>
              </p14:nvContentPartPr>
              <p14:xfrm>
                <a:off x="921177" y="1540718"/>
                <a:ext cx="2227320" cy="839880"/>
              </p14:xfrm>
            </p:contentPart>
          </mc:Choice>
          <mc:Fallback xmlns="">
            <p:pic>
              <p:nvPicPr>
                <p:cNvPr id="11" name="Ink 10">
                  <a:extLst>
                    <a:ext uri="{FF2B5EF4-FFF2-40B4-BE49-F238E27FC236}">
                      <a16:creationId xmlns:a16="http://schemas.microsoft.com/office/drawing/2014/main" id="{3EFB8835-00BE-4C34-83CE-6457FE475CBA}"/>
                    </a:ext>
                  </a:extLst>
                </p:cNvPr>
                <p:cNvPicPr/>
                <p:nvPr/>
              </p:nvPicPr>
              <p:blipFill>
                <a:blip r:embed="rId7"/>
                <a:stretch>
                  <a:fillRect/>
                </a:stretch>
              </p:blipFill>
              <p:spPr>
                <a:xfrm>
                  <a:off x="912177" y="1531718"/>
                  <a:ext cx="2244960" cy="857520"/>
                </a:xfrm>
                <a:prstGeom prst="rect">
                  <a:avLst/>
                </a:prstGeom>
              </p:spPr>
            </p:pic>
          </mc:Fallback>
        </mc:AlternateContent>
      </p:grpSp>
      <p:sp>
        <p:nvSpPr>
          <p:cNvPr id="13" name="TextBox 12">
            <a:extLst>
              <a:ext uri="{FF2B5EF4-FFF2-40B4-BE49-F238E27FC236}">
                <a16:creationId xmlns:a16="http://schemas.microsoft.com/office/drawing/2014/main" id="{0D28BA63-1A90-4469-A39F-F78CD717646F}"/>
              </a:ext>
            </a:extLst>
          </p:cNvPr>
          <p:cNvSpPr txBox="1"/>
          <p:nvPr/>
        </p:nvSpPr>
        <p:spPr>
          <a:xfrm>
            <a:off x="4571999" y="2484935"/>
            <a:ext cx="2757160"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Right Skewed</a:t>
            </a:r>
          </a:p>
        </p:txBody>
      </p:sp>
    </p:spTree>
    <p:extLst>
      <p:ext uri="{BB962C8B-B14F-4D97-AF65-F5344CB8AC3E}">
        <p14:creationId xmlns:p14="http://schemas.microsoft.com/office/powerpoint/2010/main" val="3240609061"/>
      </p:ext>
    </p:extLst>
  </p:cSld>
  <p:clrMapOvr>
    <a:masterClrMapping/>
  </p:clrMapOvr>
  <p:transition spd="med">
    <p:wipe dir="r"/>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6BCF2-946B-4D76-B942-09464C8F5A28}"/>
              </a:ext>
            </a:extLst>
          </p:cNvPr>
          <p:cNvSpPr>
            <a:spLocks noGrp="1"/>
          </p:cNvSpPr>
          <p:nvPr>
            <p:ph type="title"/>
          </p:nvPr>
        </p:nvSpPr>
        <p:spPr>
          <a:xfrm>
            <a:off x="0" y="0"/>
            <a:ext cx="6183591" cy="640080"/>
          </a:xfrm>
        </p:spPr>
        <p:txBody>
          <a:bodyPr/>
          <a:lstStyle/>
          <a:p>
            <a:r>
              <a:rPr lang="en-US" dirty="0"/>
              <a:t>Central Limit Theorem</a:t>
            </a:r>
          </a:p>
        </p:txBody>
      </p:sp>
      <p:pic>
        <p:nvPicPr>
          <p:cNvPr id="5" name="Picture 4">
            <a:extLst>
              <a:ext uri="{FF2B5EF4-FFF2-40B4-BE49-F238E27FC236}">
                <a16:creationId xmlns:a16="http://schemas.microsoft.com/office/drawing/2014/main" id="{38C663EE-8F58-49A3-868B-07019BA122D8}"/>
              </a:ext>
            </a:extLst>
          </p:cNvPr>
          <p:cNvPicPr>
            <a:picLocks noChangeAspect="1"/>
          </p:cNvPicPr>
          <p:nvPr/>
        </p:nvPicPr>
        <p:blipFill>
          <a:blip r:embed="rId2"/>
          <a:stretch>
            <a:fillRect/>
          </a:stretch>
        </p:blipFill>
        <p:spPr>
          <a:xfrm>
            <a:off x="931924" y="888548"/>
            <a:ext cx="7362825" cy="2838450"/>
          </a:xfrm>
          <a:prstGeom prst="rect">
            <a:avLst/>
          </a:prstGeom>
        </p:spPr>
      </p:pic>
      <p:grpSp>
        <p:nvGrpSpPr>
          <p:cNvPr id="9" name="Group 8">
            <a:extLst>
              <a:ext uri="{FF2B5EF4-FFF2-40B4-BE49-F238E27FC236}">
                <a16:creationId xmlns:a16="http://schemas.microsoft.com/office/drawing/2014/main" id="{88629BA1-AC80-43C2-B2AD-52ECC66571A9}"/>
              </a:ext>
            </a:extLst>
          </p:cNvPr>
          <p:cNvGrpSpPr/>
          <p:nvPr/>
        </p:nvGrpSpPr>
        <p:grpSpPr>
          <a:xfrm>
            <a:off x="4494897" y="1002518"/>
            <a:ext cx="446400" cy="225720"/>
            <a:chOff x="4494897" y="1002518"/>
            <a:chExt cx="446400" cy="225720"/>
          </a:xfrm>
        </p:grpSpPr>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0C6F922E-A081-4A53-BFA0-BCE0D3D61496}"/>
                    </a:ext>
                  </a:extLst>
                </p14:cNvPr>
                <p14:cNvContentPartPr/>
                <p14:nvPr/>
              </p14:nvContentPartPr>
              <p14:xfrm>
                <a:off x="4494897" y="1002518"/>
                <a:ext cx="236880" cy="225720"/>
              </p14:xfrm>
            </p:contentPart>
          </mc:Choice>
          <mc:Fallback xmlns="">
            <p:pic>
              <p:nvPicPr>
                <p:cNvPr id="6" name="Ink 5">
                  <a:extLst>
                    <a:ext uri="{FF2B5EF4-FFF2-40B4-BE49-F238E27FC236}">
                      <a16:creationId xmlns:a16="http://schemas.microsoft.com/office/drawing/2014/main" id="{0C6F922E-A081-4A53-BFA0-BCE0D3D61496}"/>
                    </a:ext>
                  </a:extLst>
                </p:cNvPr>
                <p:cNvPicPr/>
                <p:nvPr/>
              </p:nvPicPr>
              <p:blipFill>
                <a:blip r:embed="rId4"/>
                <a:stretch>
                  <a:fillRect/>
                </a:stretch>
              </p:blipFill>
              <p:spPr>
                <a:xfrm>
                  <a:off x="4486257" y="993878"/>
                  <a:ext cx="254520" cy="24336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7" name="Ink 6">
                  <a:extLst>
                    <a:ext uri="{FF2B5EF4-FFF2-40B4-BE49-F238E27FC236}">
                      <a16:creationId xmlns:a16="http://schemas.microsoft.com/office/drawing/2014/main" id="{266B8148-6813-48A6-94F1-2AC9A3A53823}"/>
                    </a:ext>
                  </a:extLst>
                </p14:cNvPr>
                <p14:cNvContentPartPr/>
                <p14:nvPr/>
              </p14:nvContentPartPr>
              <p14:xfrm>
                <a:off x="4836897" y="1011158"/>
                <a:ext cx="90720" cy="21960"/>
              </p14:xfrm>
            </p:contentPart>
          </mc:Choice>
          <mc:Fallback xmlns="">
            <p:pic>
              <p:nvPicPr>
                <p:cNvPr id="7" name="Ink 6">
                  <a:extLst>
                    <a:ext uri="{FF2B5EF4-FFF2-40B4-BE49-F238E27FC236}">
                      <a16:creationId xmlns:a16="http://schemas.microsoft.com/office/drawing/2014/main" id="{266B8148-6813-48A6-94F1-2AC9A3A53823}"/>
                    </a:ext>
                  </a:extLst>
                </p:cNvPr>
                <p:cNvPicPr/>
                <p:nvPr/>
              </p:nvPicPr>
              <p:blipFill>
                <a:blip r:embed="rId6"/>
                <a:stretch>
                  <a:fillRect/>
                </a:stretch>
              </p:blipFill>
              <p:spPr>
                <a:xfrm>
                  <a:off x="4827897" y="1002158"/>
                  <a:ext cx="108360" cy="396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8" name="Ink 7">
                  <a:extLst>
                    <a:ext uri="{FF2B5EF4-FFF2-40B4-BE49-F238E27FC236}">
                      <a16:creationId xmlns:a16="http://schemas.microsoft.com/office/drawing/2014/main" id="{B709F09D-A4B7-4EF5-A186-22BA8E308DAA}"/>
                    </a:ext>
                  </a:extLst>
                </p14:cNvPr>
                <p14:cNvContentPartPr/>
                <p14:nvPr/>
              </p14:nvContentPartPr>
              <p14:xfrm>
                <a:off x="4857777" y="1074878"/>
                <a:ext cx="83520" cy="20880"/>
              </p14:xfrm>
            </p:contentPart>
          </mc:Choice>
          <mc:Fallback xmlns="">
            <p:pic>
              <p:nvPicPr>
                <p:cNvPr id="8" name="Ink 7">
                  <a:extLst>
                    <a:ext uri="{FF2B5EF4-FFF2-40B4-BE49-F238E27FC236}">
                      <a16:creationId xmlns:a16="http://schemas.microsoft.com/office/drawing/2014/main" id="{B709F09D-A4B7-4EF5-A186-22BA8E308DAA}"/>
                    </a:ext>
                  </a:extLst>
                </p:cNvPr>
                <p:cNvPicPr/>
                <p:nvPr/>
              </p:nvPicPr>
              <p:blipFill>
                <a:blip r:embed="rId8"/>
                <a:stretch>
                  <a:fillRect/>
                </a:stretch>
              </p:blipFill>
              <p:spPr>
                <a:xfrm>
                  <a:off x="4849137" y="1065878"/>
                  <a:ext cx="101160" cy="38520"/>
                </a:xfrm>
                <a:prstGeom prst="rect">
                  <a:avLst/>
                </a:prstGeom>
              </p:spPr>
            </p:pic>
          </mc:Fallback>
        </mc:AlternateContent>
      </p:grpSp>
      <p:grpSp>
        <p:nvGrpSpPr>
          <p:cNvPr id="15" name="Group 14">
            <a:extLst>
              <a:ext uri="{FF2B5EF4-FFF2-40B4-BE49-F238E27FC236}">
                <a16:creationId xmlns:a16="http://schemas.microsoft.com/office/drawing/2014/main" id="{45DE6F01-9B6D-430D-942D-4D94F44CAAB1}"/>
              </a:ext>
            </a:extLst>
          </p:cNvPr>
          <p:cNvGrpSpPr/>
          <p:nvPr/>
        </p:nvGrpSpPr>
        <p:grpSpPr>
          <a:xfrm>
            <a:off x="5220657" y="782558"/>
            <a:ext cx="782640" cy="229320"/>
            <a:chOff x="5220657" y="782558"/>
            <a:chExt cx="782640" cy="2293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80F7496D-D19C-49CB-8BDB-209256FF51DE}"/>
                    </a:ext>
                  </a:extLst>
                </p14:cNvPr>
                <p14:cNvContentPartPr/>
                <p14:nvPr/>
              </p14:nvContentPartPr>
              <p14:xfrm>
                <a:off x="5220657" y="933038"/>
                <a:ext cx="154440" cy="78840"/>
              </p14:xfrm>
            </p:contentPart>
          </mc:Choice>
          <mc:Fallback xmlns="">
            <p:pic>
              <p:nvPicPr>
                <p:cNvPr id="10" name="Ink 9">
                  <a:extLst>
                    <a:ext uri="{FF2B5EF4-FFF2-40B4-BE49-F238E27FC236}">
                      <a16:creationId xmlns:a16="http://schemas.microsoft.com/office/drawing/2014/main" id="{80F7496D-D19C-49CB-8BDB-209256FF51DE}"/>
                    </a:ext>
                  </a:extLst>
                </p:cNvPr>
                <p:cNvPicPr/>
                <p:nvPr/>
              </p:nvPicPr>
              <p:blipFill>
                <a:blip r:embed="rId10"/>
                <a:stretch>
                  <a:fillRect/>
                </a:stretch>
              </p:blipFill>
              <p:spPr>
                <a:xfrm>
                  <a:off x="5212017" y="924398"/>
                  <a:ext cx="172080" cy="9648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2BF2182C-1498-4331-AE41-8404108C73A7}"/>
                    </a:ext>
                  </a:extLst>
                </p14:cNvPr>
                <p14:cNvContentPartPr/>
                <p14:nvPr/>
              </p14:nvContentPartPr>
              <p14:xfrm>
                <a:off x="5458257" y="864638"/>
                <a:ext cx="114120" cy="104760"/>
              </p14:xfrm>
            </p:contentPart>
          </mc:Choice>
          <mc:Fallback xmlns="">
            <p:pic>
              <p:nvPicPr>
                <p:cNvPr id="11" name="Ink 10">
                  <a:extLst>
                    <a:ext uri="{FF2B5EF4-FFF2-40B4-BE49-F238E27FC236}">
                      <a16:creationId xmlns:a16="http://schemas.microsoft.com/office/drawing/2014/main" id="{2BF2182C-1498-4331-AE41-8404108C73A7}"/>
                    </a:ext>
                  </a:extLst>
                </p:cNvPr>
                <p:cNvPicPr/>
                <p:nvPr/>
              </p:nvPicPr>
              <p:blipFill>
                <a:blip r:embed="rId12"/>
                <a:stretch>
                  <a:fillRect/>
                </a:stretch>
              </p:blipFill>
              <p:spPr>
                <a:xfrm>
                  <a:off x="5449257" y="855638"/>
                  <a:ext cx="131760" cy="1224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2" name="Ink 11">
                  <a:extLst>
                    <a:ext uri="{FF2B5EF4-FFF2-40B4-BE49-F238E27FC236}">
                      <a16:creationId xmlns:a16="http://schemas.microsoft.com/office/drawing/2014/main" id="{B6B183EF-78D5-4AC5-A4F9-29040B28AC31}"/>
                    </a:ext>
                  </a:extLst>
                </p14:cNvPr>
                <p14:cNvContentPartPr/>
                <p14:nvPr/>
              </p14:nvContentPartPr>
              <p14:xfrm>
                <a:off x="5607297" y="814238"/>
                <a:ext cx="90000" cy="121320"/>
              </p14:xfrm>
            </p:contentPart>
          </mc:Choice>
          <mc:Fallback xmlns="">
            <p:pic>
              <p:nvPicPr>
                <p:cNvPr id="12" name="Ink 11">
                  <a:extLst>
                    <a:ext uri="{FF2B5EF4-FFF2-40B4-BE49-F238E27FC236}">
                      <a16:creationId xmlns:a16="http://schemas.microsoft.com/office/drawing/2014/main" id="{B6B183EF-78D5-4AC5-A4F9-29040B28AC31}"/>
                    </a:ext>
                  </a:extLst>
                </p:cNvPr>
                <p:cNvPicPr/>
                <p:nvPr/>
              </p:nvPicPr>
              <p:blipFill>
                <a:blip r:embed="rId14"/>
                <a:stretch>
                  <a:fillRect/>
                </a:stretch>
              </p:blipFill>
              <p:spPr>
                <a:xfrm>
                  <a:off x="5598297" y="805238"/>
                  <a:ext cx="107640" cy="13896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3" name="Ink 12">
                  <a:extLst>
                    <a:ext uri="{FF2B5EF4-FFF2-40B4-BE49-F238E27FC236}">
                      <a16:creationId xmlns:a16="http://schemas.microsoft.com/office/drawing/2014/main" id="{A95CEDD0-517E-468A-B2D6-D3124148AA6A}"/>
                    </a:ext>
                  </a:extLst>
                </p14:cNvPr>
                <p14:cNvContentPartPr/>
                <p14:nvPr/>
              </p14:nvContentPartPr>
              <p14:xfrm>
                <a:off x="5730777" y="816398"/>
                <a:ext cx="84600" cy="93240"/>
              </p14:xfrm>
            </p:contentPart>
          </mc:Choice>
          <mc:Fallback xmlns="">
            <p:pic>
              <p:nvPicPr>
                <p:cNvPr id="13" name="Ink 12">
                  <a:extLst>
                    <a:ext uri="{FF2B5EF4-FFF2-40B4-BE49-F238E27FC236}">
                      <a16:creationId xmlns:a16="http://schemas.microsoft.com/office/drawing/2014/main" id="{A95CEDD0-517E-468A-B2D6-D3124148AA6A}"/>
                    </a:ext>
                  </a:extLst>
                </p:cNvPr>
                <p:cNvPicPr/>
                <p:nvPr/>
              </p:nvPicPr>
              <p:blipFill>
                <a:blip r:embed="rId16"/>
                <a:stretch>
                  <a:fillRect/>
                </a:stretch>
              </p:blipFill>
              <p:spPr>
                <a:xfrm>
                  <a:off x="5722137" y="807758"/>
                  <a:ext cx="102240" cy="11088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4" name="Ink 13">
                  <a:extLst>
                    <a:ext uri="{FF2B5EF4-FFF2-40B4-BE49-F238E27FC236}">
                      <a16:creationId xmlns:a16="http://schemas.microsoft.com/office/drawing/2014/main" id="{0CB74518-5A5C-465B-8267-97BFA5A162A2}"/>
                    </a:ext>
                  </a:extLst>
                </p14:cNvPr>
                <p14:cNvContentPartPr/>
                <p14:nvPr/>
              </p14:nvContentPartPr>
              <p14:xfrm>
                <a:off x="5876937" y="782558"/>
                <a:ext cx="126360" cy="77400"/>
              </p14:xfrm>
            </p:contentPart>
          </mc:Choice>
          <mc:Fallback xmlns="">
            <p:pic>
              <p:nvPicPr>
                <p:cNvPr id="14" name="Ink 13">
                  <a:extLst>
                    <a:ext uri="{FF2B5EF4-FFF2-40B4-BE49-F238E27FC236}">
                      <a16:creationId xmlns:a16="http://schemas.microsoft.com/office/drawing/2014/main" id="{0CB74518-5A5C-465B-8267-97BFA5A162A2}"/>
                    </a:ext>
                  </a:extLst>
                </p:cNvPr>
                <p:cNvPicPr/>
                <p:nvPr/>
              </p:nvPicPr>
              <p:blipFill>
                <a:blip r:embed="rId18"/>
                <a:stretch>
                  <a:fillRect/>
                </a:stretch>
              </p:blipFill>
              <p:spPr>
                <a:xfrm>
                  <a:off x="5868297" y="773558"/>
                  <a:ext cx="144000" cy="95040"/>
                </a:xfrm>
                <a:prstGeom prst="rect">
                  <a:avLst/>
                </a:prstGeom>
              </p:spPr>
            </p:pic>
          </mc:Fallback>
        </mc:AlternateContent>
      </p:grpSp>
      <p:grpSp>
        <p:nvGrpSpPr>
          <p:cNvPr id="25" name="Group 24">
            <a:extLst>
              <a:ext uri="{FF2B5EF4-FFF2-40B4-BE49-F238E27FC236}">
                <a16:creationId xmlns:a16="http://schemas.microsoft.com/office/drawing/2014/main" id="{EB167237-1F68-427C-98FD-BD56EBDB8BAE}"/>
              </a:ext>
            </a:extLst>
          </p:cNvPr>
          <p:cNvGrpSpPr/>
          <p:nvPr/>
        </p:nvGrpSpPr>
        <p:grpSpPr>
          <a:xfrm>
            <a:off x="871497" y="3739958"/>
            <a:ext cx="657360" cy="147240"/>
            <a:chOff x="871497" y="3739958"/>
            <a:chExt cx="657360" cy="147240"/>
          </a:xfrm>
        </p:grpSpPr>
        <mc:AlternateContent xmlns:mc="http://schemas.openxmlformats.org/markup-compatibility/2006" xmlns:p14="http://schemas.microsoft.com/office/powerpoint/2010/main">
          <mc:Choice Requires="p14">
            <p:contentPart p14:bwMode="auto" r:id="rId19">
              <p14:nvContentPartPr>
                <p14:cNvPr id="16" name="Ink 15">
                  <a:extLst>
                    <a:ext uri="{FF2B5EF4-FFF2-40B4-BE49-F238E27FC236}">
                      <a16:creationId xmlns:a16="http://schemas.microsoft.com/office/drawing/2014/main" id="{2854C8C6-64F8-428F-B2A7-895C8DA8688F}"/>
                    </a:ext>
                  </a:extLst>
                </p14:cNvPr>
                <p14:cNvContentPartPr/>
                <p14:nvPr/>
              </p14:nvContentPartPr>
              <p14:xfrm>
                <a:off x="871497" y="3739958"/>
                <a:ext cx="87840" cy="113400"/>
              </p14:xfrm>
            </p:contentPart>
          </mc:Choice>
          <mc:Fallback xmlns="">
            <p:pic>
              <p:nvPicPr>
                <p:cNvPr id="16" name="Ink 15">
                  <a:extLst>
                    <a:ext uri="{FF2B5EF4-FFF2-40B4-BE49-F238E27FC236}">
                      <a16:creationId xmlns:a16="http://schemas.microsoft.com/office/drawing/2014/main" id="{2854C8C6-64F8-428F-B2A7-895C8DA8688F}"/>
                    </a:ext>
                  </a:extLst>
                </p:cNvPr>
                <p:cNvPicPr/>
                <p:nvPr/>
              </p:nvPicPr>
              <p:blipFill>
                <a:blip r:embed="rId20"/>
                <a:stretch>
                  <a:fillRect/>
                </a:stretch>
              </p:blipFill>
              <p:spPr>
                <a:xfrm>
                  <a:off x="862857" y="3730958"/>
                  <a:ext cx="105480" cy="13104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7" name="Ink 16">
                  <a:extLst>
                    <a:ext uri="{FF2B5EF4-FFF2-40B4-BE49-F238E27FC236}">
                      <a16:creationId xmlns:a16="http://schemas.microsoft.com/office/drawing/2014/main" id="{F0A01810-D8AC-441E-ABD1-7E837EF8EAC1}"/>
                    </a:ext>
                  </a:extLst>
                </p14:cNvPr>
                <p14:cNvContentPartPr/>
                <p14:nvPr/>
              </p14:nvContentPartPr>
              <p14:xfrm>
                <a:off x="998937" y="3754358"/>
                <a:ext cx="65160" cy="99360"/>
              </p14:xfrm>
            </p:contentPart>
          </mc:Choice>
          <mc:Fallback xmlns="">
            <p:pic>
              <p:nvPicPr>
                <p:cNvPr id="17" name="Ink 16">
                  <a:extLst>
                    <a:ext uri="{FF2B5EF4-FFF2-40B4-BE49-F238E27FC236}">
                      <a16:creationId xmlns:a16="http://schemas.microsoft.com/office/drawing/2014/main" id="{F0A01810-D8AC-441E-ABD1-7E837EF8EAC1}"/>
                    </a:ext>
                  </a:extLst>
                </p:cNvPr>
                <p:cNvPicPr/>
                <p:nvPr/>
              </p:nvPicPr>
              <p:blipFill>
                <a:blip r:embed="rId22"/>
                <a:stretch>
                  <a:fillRect/>
                </a:stretch>
              </p:blipFill>
              <p:spPr>
                <a:xfrm>
                  <a:off x="989937" y="3745718"/>
                  <a:ext cx="82800" cy="11700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8" name="Ink 17">
                  <a:extLst>
                    <a:ext uri="{FF2B5EF4-FFF2-40B4-BE49-F238E27FC236}">
                      <a16:creationId xmlns:a16="http://schemas.microsoft.com/office/drawing/2014/main" id="{15CB8345-16CA-4F97-AFF3-65866029A4C5}"/>
                    </a:ext>
                  </a:extLst>
                </p14:cNvPr>
                <p14:cNvContentPartPr/>
                <p14:nvPr/>
              </p14:nvContentPartPr>
              <p14:xfrm>
                <a:off x="1082097" y="3761918"/>
                <a:ext cx="70200" cy="91440"/>
              </p14:xfrm>
            </p:contentPart>
          </mc:Choice>
          <mc:Fallback xmlns="">
            <p:pic>
              <p:nvPicPr>
                <p:cNvPr id="18" name="Ink 17">
                  <a:extLst>
                    <a:ext uri="{FF2B5EF4-FFF2-40B4-BE49-F238E27FC236}">
                      <a16:creationId xmlns:a16="http://schemas.microsoft.com/office/drawing/2014/main" id="{15CB8345-16CA-4F97-AFF3-65866029A4C5}"/>
                    </a:ext>
                  </a:extLst>
                </p:cNvPr>
                <p:cNvPicPr/>
                <p:nvPr/>
              </p:nvPicPr>
              <p:blipFill>
                <a:blip r:embed="rId24"/>
                <a:stretch>
                  <a:fillRect/>
                </a:stretch>
              </p:blipFill>
              <p:spPr>
                <a:xfrm>
                  <a:off x="1073457" y="3752918"/>
                  <a:ext cx="87840" cy="10908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19" name="Ink 18">
                  <a:extLst>
                    <a:ext uri="{FF2B5EF4-FFF2-40B4-BE49-F238E27FC236}">
                      <a16:creationId xmlns:a16="http://schemas.microsoft.com/office/drawing/2014/main" id="{F74A6F8D-2725-47CD-80FD-304BA15A52D1}"/>
                    </a:ext>
                  </a:extLst>
                </p14:cNvPr>
                <p14:cNvContentPartPr/>
                <p14:nvPr/>
              </p14:nvContentPartPr>
              <p14:xfrm>
                <a:off x="1221417" y="3775598"/>
                <a:ext cx="20880" cy="76320"/>
              </p14:xfrm>
            </p:contentPart>
          </mc:Choice>
          <mc:Fallback xmlns="">
            <p:pic>
              <p:nvPicPr>
                <p:cNvPr id="19" name="Ink 18">
                  <a:extLst>
                    <a:ext uri="{FF2B5EF4-FFF2-40B4-BE49-F238E27FC236}">
                      <a16:creationId xmlns:a16="http://schemas.microsoft.com/office/drawing/2014/main" id="{F74A6F8D-2725-47CD-80FD-304BA15A52D1}"/>
                    </a:ext>
                  </a:extLst>
                </p:cNvPr>
                <p:cNvPicPr/>
                <p:nvPr/>
              </p:nvPicPr>
              <p:blipFill>
                <a:blip r:embed="rId26"/>
                <a:stretch>
                  <a:fillRect/>
                </a:stretch>
              </p:blipFill>
              <p:spPr>
                <a:xfrm>
                  <a:off x="1212417" y="3766958"/>
                  <a:ext cx="3852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20" name="Ink 19">
                  <a:extLst>
                    <a:ext uri="{FF2B5EF4-FFF2-40B4-BE49-F238E27FC236}">
                      <a16:creationId xmlns:a16="http://schemas.microsoft.com/office/drawing/2014/main" id="{CAABF79A-38F4-48BD-A99B-CD74A0BB9685}"/>
                    </a:ext>
                  </a:extLst>
                </p14:cNvPr>
                <p14:cNvContentPartPr/>
                <p14:nvPr/>
              </p14:nvContentPartPr>
              <p14:xfrm>
                <a:off x="1309257" y="3820598"/>
                <a:ext cx="3240" cy="4680"/>
              </p14:xfrm>
            </p:contentPart>
          </mc:Choice>
          <mc:Fallback xmlns="">
            <p:pic>
              <p:nvPicPr>
                <p:cNvPr id="20" name="Ink 19">
                  <a:extLst>
                    <a:ext uri="{FF2B5EF4-FFF2-40B4-BE49-F238E27FC236}">
                      <a16:creationId xmlns:a16="http://schemas.microsoft.com/office/drawing/2014/main" id="{CAABF79A-38F4-48BD-A99B-CD74A0BB9685}"/>
                    </a:ext>
                  </a:extLst>
                </p:cNvPr>
                <p:cNvPicPr/>
                <p:nvPr/>
              </p:nvPicPr>
              <p:blipFill>
                <a:blip r:embed="rId28"/>
                <a:stretch>
                  <a:fillRect/>
                </a:stretch>
              </p:blipFill>
              <p:spPr>
                <a:xfrm>
                  <a:off x="1300617" y="3811598"/>
                  <a:ext cx="20880" cy="2232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1" name="Ink 20">
                  <a:extLst>
                    <a:ext uri="{FF2B5EF4-FFF2-40B4-BE49-F238E27FC236}">
                      <a16:creationId xmlns:a16="http://schemas.microsoft.com/office/drawing/2014/main" id="{2F808A1C-2C90-4214-A8C3-B7A338B68AEB}"/>
                    </a:ext>
                  </a:extLst>
                </p14:cNvPr>
                <p14:cNvContentPartPr/>
                <p14:nvPr/>
              </p14:nvContentPartPr>
              <p14:xfrm>
                <a:off x="1379817" y="3769118"/>
                <a:ext cx="57960" cy="78120"/>
              </p14:xfrm>
            </p:contentPart>
          </mc:Choice>
          <mc:Fallback xmlns="">
            <p:pic>
              <p:nvPicPr>
                <p:cNvPr id="21" name="Ink 20">
                  <a:extLst>
                    <a:ext uri="{FF2B5EF4-FFF2-40B4-BE49-F238E27FC236}">
                      <a16:creationId xmlns:a16="http://schemas.microsoft.com/office/drawing/2014/main" id="{2F808A1C-2C90-4214-A8C3-B7A338B68AEB}"/>
                    </a:ext>
                  </a:extLst>
                </p:cNvPr>
                <p:cNvPicPr/>
                <p:nvPr/>
              </p:nvPicPr>
              <p:blipFill>
                <a:blip r:embed="rId30"/>
                <a:stretch>
                  <a:fillRect/>
                </a:stretch>
              </p:blipFill>
              <p:spPr>
                <a:xfrm>
                  <a:off x="1371177" y="3760118"/>
                  <a:ext cx="75600" cy="957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22" name="Ink 21">
                  <a:extLst>
                    <a:ext uri="{FF2B5EF4-FFF2-40B4-BE49-F238E27FC236}">
                      <a16:creationId xmlns:a16="http://schemas.microsoft.com/office/drawing/2014/main" id="{EB3689F8-04CE-4502-924D-126F3F825817}"/>
                    </a:ext>
                  </a:extLst>
                </p14:cNvPr>
                <p14:cNvContentPartPr/>
                <p14:nvPr/>
              </p14:nvContentPartPr>
              <p14:xfrm>
                <a:off x="1396737" y="3789998"/>
                <a:ext cx="34560" cy="77400"/>
              </p14:xfrm>
            </p:contentPart>
          </mc:Choice>
          <mc:Fallback xmlns="">
            <p:pic>
              <p:nvPicPr>
                <p:cNvPr id="22" name="Ink 21">
                  <a:extLst>
                    <a:ext uri="{FF2B5EF4-FFF2-40B4-BE49-F238E27FC236}">
                      <a16:creationId xmlns:a16="http://schemas.microsoft.com/office/drawing/2014/main" id="{EB3689F8-04CE-4502-924D-126F3F825817}"/>
                    </a:ext>
                  </a:extLst>
                </p:cNvPr>
                <p:cNvPicPr/>
                <p:nvPr/>
              </p:nvPicPr>
              <p:blipFill>
                <a:blip r:embed="rId32"/>
                <a:stretch>
                  <a:fillRect/>
                </a:stretch>
              </p:blipFill>
              <p:spPr>
                <a:xfrm>
                  <a:off x="1387737" y="3780998"/>
                  <a:ext cx="52200" cy="9504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23" name="Ink 22">
                  <a:extLst>
                    <a:ext uri="{FF2B5EF4-FFF2-40B4-BE49-F238E27FC236}">
                      <a16:creationId xmlns:a16="http://schemas.microsoft.com/office/drawing/2014/main" id="{CA3527CE-2D01-4684-AB65-845A36C6E455}"/>
                    </a:ext>
                  </a:extLst>
                </p14:cNvPr>
                <p14:cNvContentPartPr/>
                <p14:nvPr/>
              </p14:nvContentPartPr>
              <p14:xfrm>
                <a:off x="1487817" y="3775598"/>
                <a:ext cx="41040" cy="47880"/>
              </p14:xfrm>
            </p:contentPart>
          </mc:Choice>
          <mc:Fallback xmlns="">
            <p:pic>
              <p:nvPicPr>
                <p:cNvPr id="23" name="Ink 22">
                  <a:extLst>
                    <a:ext uri="{FF2B5EF4-FFF2-40B4-BE49-F238E27FC236}">
                      <a16:creationId xmlns:a16="http://schemas.microsoft.com/office/drawing/2014/main" id="{CA3527CE-2D01-4684-AB65-845A36C6E455}"/>
                    </a:ext>
                  </a:extLst>
                </p:cNvPr>
                <p:cNvPicPr/>
                <p:nvPr/>
              </p:nvPicPr>
              <p:blipFill>
                <a:blip r:embed="rId34"/>
                <a:stretch>
                  <a:fillRect/>
                </a:stretch>
              </p:blipFill>
              <p:spPr>
                <a:xfrm>
                  <a:off x="1478817" y="3766958"/>
                  <a:ext cx="5868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24" name="Ink 23">
                  <a:extLst>
                    <a:ext uri="{FF2B5EF4-FFF2-40B4-BE49-F238E27FC236}">
                      <a16:creationId xmlns:a16="http://schemas.microsoft.com/office/drawing/2014/main" id="{32CD4FBE-2033-4D9B-BBCF-4B9267D82887}"/>
                    </a:ext>
                  </a:extLst>
                </p14:cNvPr>
                <p14:cNvContentPartPr/>
                <p14:nvPr/>
              </p14:nvContentPartPr>
              <p14:xfrm>
                <a:off x="1486737" y="3777398"/>
                <a:ext cx="27720" cy="109800"/>
              </p14:xfrm>
            </p:contentPart>
          </mc:Choice>
          <mc:Fallback xmlns="">
            <p:pic>
              <p:nvPicPr>
                <p:cNvPr id="24" name="Ink 23">
                  <a:extLst>
                    <a:ext uri="{FF2B5EF4-FFF2-40B4-BE49-F238E27FC236}">
                      <a16:creationId xmlns:a16="http://schemas.microsoft.com/office/drawing/2014/main" id="{32CD4FBE-2033-4D9B-BBCF-4B9267D82887}"/>
                    </a:ext>
                  </a:extLst>
                </p:cNvPr>
                <p:cNvPicPr/>
                <p:nvPr/>
              </p:nvPicPr>
              <p:blipFill>
                <a:blip r:embed="rId36"/>
                <a:stretch>
                  <a:fillRect/>
                </a:stretch>
              </p:blipFill>
              <p:spPr>
                <a:xfrm>
                  <a:off x="1478097" y="3768758"/>
                  <a:ext cx="45360" cy="127440"/>
                </a:xfrm>
                <a:prstGeom prst="rect">
                  <a:avLst/>
                </a:prstGeom>
              </p:spPr>
            </p:pic>
          </mc:Fallback>
        </mc:AlternateContent>
      </p:grpSp>
      <p:grpSp>
        <p:nvGrpSpPr>
          <p:cNvPr id="28" name="Group 27">
            <a:extLst>
              <a:ext uri="{FF2B5EF4-FFF2-40B4-BE49-F238E27FC236}">
                <a16:creationId xmlns:a16="http://schemas.microsoft.com/office/drawing/2014/main" id="{DE01CD0B-A892-4F17-86F8-47CCB68DF535}"/>
              </a:ext>
            </a:extLst>
          </p:cNvPr>
          <p:cNvGrpSpPr/>
          <p:nvPr/>
        </p:nvGrpSpPr>
        <p:grpSpPr>
          <a:xfrm>
            <a:off x="738297" y="3713318"/>
            <a:ext cx="78120" cy="204120"/>
            <a:chOff x="738297" y="3713318"/>
            <a:chExt cx="78120" cy="204120"/>
          </a:xfrm>
        </p:grpSpPr>
        <mc:AlternateContent xmlns:mc="http://schemas.openxmlformats.org/markup-compatibility/2006" xmlns:p14="http://schemas.microsoft.com/office/powerpoint/2010/main">
          <mc:Choice Requires="p14">
            <p:contentPart p14:bwMode="auto" r:id="rId37">
              <p14:nvContentPartPr>
                <p14:cNvPr id="26" name="Ink 25">
                  <a:extLst>
                    <a:ext uri="{FF2B5EF4-FFF2-40B4-BE49-F238E27FC236}">
                      <a16:creationId xmlns:a16="http://schemas.microsoft.com/office/drawing/2014/main" id="{CF1AAA03-0D2F-446A-971A-61796BC43002}"/>
                    </a:ext>
                  </a:extLst>
                </p14:cNvPr>
                <p14:cNvContentPartPr/>
                <p14:nvPr/>
              </p14:nvContentPartPr>
              <p14:xfrm>
                <a:off x="747657" y="3761918"/>
                <a:ext cx="68760" cy="89280"/>
              </p14:xfrm>
            </p:contentPart>
          </mc:Choice>
          <mc:Fallback xmlns="">
            <p:pic>
              <p:nvPicPr>
                <p:cNvPr id="26" name="Ink 25">
                  <a:extLst>
                    <a:ext uri="{FF2B5EF4-FFF2-40B4-BE49-F238E27FC236}">
                      <a16:creationId xmlns:a16="http://schemas.microsoft.com/office/drawing/2014/main" id="{CF1AAA03-0D2F-446A-971A-61796BC43002}"/>
                    </a:ext>
                  </a:extLst>
                </p:cNvPr>
                <p:cNvPicPr/>
                <p:nvPr/>
              </p:nvPicPr>
              <p:blipFill>
                <a:blip r:embed="rId38"/>
                <a:stretch>
                  <a:fillRect/>
                </a:stretch>
              </p:blipFill>
              <p:spPr>
                <a:xfrm>
                  <a:off x="739017" y="3752918"/>
                  <a:ext cx="8640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27" name="Ink 26">
                  <a:extLst>
                    <a:ext uri="{FF2B5EF4-FFF2-40B4-BE49-F238E27FC236}">
                      <a16:creationId xmlns:a16="http://schemas.microsoft.com/office/drawing/2014/main" id="{4F8E0924-A70A-40AE-9FC2-06196E73BC19}"/>
                    </a:ext>
                  </a:extLst>
                </p14:cNvPr>
                <p14:cNvContentPartPr/>
                <p14:nvPr/>
              </p14:nvContentPartPr>
              <p14:xfrm>
                <a:off x="738297" y="3713318"/>
                <a:ext cx="43560" cy="204120"/>
              </p14:xfrm>
            </p:contentPart>
          </mc:Choice>
          <mc:Fallback xmlns="">
            <p:pic>
              <p:nvPicPr>
                <p:cNvPr id="27" name="Ink 26">
                  <a:extLst>
                    <a:ext uri="{FF2B5EF4-FFF2-40B4-BE49-F238E27FC236}">
                      <a16:creationId xmlns:a16="http://schemas.microsoft.com/office/drawing/2014/main" id="{4F8E0924-A70A-40AE-9FC2-06196E73BC19}"/>
                    </a:ext>
                  </a:extLst>
                </p:cNvPr>
                <p:cNvPicPr/>
                <p:nvPr/>
              </p:nvPicPr>
              <p:blipFill>
                <a:blip r:embed="rId40"/>
                <a:stretch>
                  <a:fillRect/>
                </a:stretch>
              </p:blipFill>
              <p:spPr>
                <a:xfrm>
                  <a:off x="729297" y="3704318"/>
                  <a:ext cx="61200" cy="221760"/>
                </a:xfrm>
                <a:prstGeom prst="rect">
                  <a:avLst/>
                </a:prstGeom>
              </p:spPr>
            </p:pic>
          </mc:Fallback>
        </mc:AlternateContent>
      </p:grpSp>
      <p:grpSp>
        <p:nvGrpSpPr>
          <p:cNvPr id="38" name="Group 37">
            <a:extLst>
              <a:ext uri="{FF2B5EF4-FFF2-40B4-BE49-F238E27FC236}">
                <a16:creationId xmlns:a16="http://schemas.microsoft.com/office/drawing/2014/main" id="{08DAA599-E224-45C6-940E-430E70231EA8}"/>
              </a:ext>
            </a:extLst>
          </p:cNvPr>
          <p:cNvGrpSpPr/>
          <p:nvPr/>
        </p:nvGrpSpPr>
        <p:grpSpPr>
          <a:xfrm>
            <a:off x="2302137" y="3719798"/>
            <a:ext cx="706320" cy="224280"/>
            <a:chOff x="2302137" y="3719798"/>
            <a:chExt cx="706320" cy="224280"/>
          </a:xfrm>
        </p:grpSpPr>
        <mc:AlternateContent xmlns:mc="http://schemas.openxmlformats.org/markup-compatibility/2006" xmlns:p14="http://schemas.microsoft.com/office/powerpoint/2010/main">
          <mc:Choice Requires="p14">
            <p:contentPart p14:bwMode="auto" r:id="rId41">
              <p14:nvContentPartPr>
                <p14:cNvPr id="29" name="Ink 28">
                  <a:extLst>
                    <a:ext uri="{FF2B5EF4-FFF2-40B4-BE49-F238E27FC236}">
                      <a16:creationId xmlns:a16="http://schemas.microsoft.com/office/drawing/2014/main" id="{4E010658-DF2F-47A4-9132-8BEE1C4CDC94}"/>
                    </a:ext>
                  </a:extLst>
                </p14:cNvPr>
                <p14:cNvContentPartPr/>
                <p14:nvPr/>
              </p14:nvContentPartPr>
              <p14:xfrm>
                <a:off x="2318337" y="3754358"/>
                <a:ext cx="104040" cy="84600"/>
              </p14:xfrm>
            </p:contentPart>
          </mc:Choice>
          <mc:Fallback xmlns="">
            <p:pic>
              <p:nvPicPr>
                <p:cNvPr id="29" name="Ink 28">
                  <a:extLst>
                    <a:ext uri="{FF2B5EF4-FFF2-40B4-BE49-F238E27FC236}">
                      <a16:creationId xmlns:a16="http://schemas.microsoft.com/office/drawing/2014/main" id="{4E010658-DF2F-47A4-9132-8BEE1C4CDC94}"/>
                    </a:ext>
                  </a:extLst>
                </p:cNvPr>
                <p:cNvPicPr/>
                <p:nvPr/>
              </p:nvPicPr>
              <p:blipFill>
                <a:blip r:embed="rId42"/>
                <a:stretch>
                  <a:fillRect/>
                </a:stretch>
              </p:blipFill>
              <p:spPr>
                <a:xfrm>
                  <a:off x="2309337" y="3745718"/>
                  <a:ext cx="121680" cy="102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30" name="Ink 29">
                  <a:extLst>
                    <a:ext uri="{FF2B5EF4-FFF2-40B4-BE49-F238E27FC236}">
                      <a16:creationId xmlns:a16="http://schemas.microsoft.com/office/drawing/2014/main" id="{8188ABE6-B443-4E69-8BB5-FD5F977B3EEF}"/>
                    </a:ext>
                  </a:extLst>
                </p14:cNvPr>
                <p14:cNvContentPartPr/>
                <p14:nvPr/>
              </p14:nvContentPartPr>
              <p14:xfrm>
                <a:off x="2302137" y="3719798"/>
                <a:ext cx="71280" cy="224280"/>
              </p14:xfrm>
            </p:contentPart>
          </mc:Choice>
          <mc:Fallback xmlns="">
            <p:pic>
              <p:nvPicPr>
                <p:cNvPr id="30" name="Ink 29">
                  <a:extLst>
                    <a:ext uri="{FF2B5EF4-FFF2-40B4-BE49-F238E27FC236}">
                      <a16:creationId xmlns:a16="http://schemas.microsoft.com/office/drawing/2014/main" id="{8188ABE6-B443-4E69-8BB5-FD5F977B3EEF}"/>
                    </a:ext>
                  </a:extLst>
                </p:cNvPr>
                <p:cNvPicPr/>
                <p:nvPr/>
              </p:nvPicPr>
              <p:blipFill>
                <a:blip r:embed="rId44"/>
                <a:stretch>
                  <a:fillRect/>
                </a:stretch>
              </p:blipFill>
              <p:spPr>
                <a:xfrm>
                  <a:off x="2293137" y="3711158"/>
                  <a:ext cx="88920" cy="2419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31" name="Ink 30">
                  <a:extLst>
                    <a:ext uri="{FF2B5EF4-FFF2-40B4-BE49-F238E27FC236}">
                      <a16:creationId xmlns:a16="http://schemas.microsoft.com/office/drawing/2014/main" id="{47A1E986-8DA7-4066-A15D-B7CE2A61E4D8}"/>
                    </a:ext>
                  </a:extLst>
                </p14:cNvPr>
                <p14:cNvContentPartPr/>
                <p14:nvPr/>
              </p14:nvContentPartPr>
              <p14:xfrm>
                <a:off x="2459457" y="3754358"/>
                <a:ext cx="63720" cy="81720"/>
              </p14:xfrm>
            </p:contentPart>
          </mc:Choice>
          <mc:Fallback xmlns="">
            <p:pic>
              <p:nvPicPr>
                <p:cNvPr id="31" name="Ink 30">
                  <a:extLst>
                    <a:ext uri="{FF2B5EF4-FFF2-40B4-BE49-F238E27FC236}">
                      <a16:creationId xmlns:a16="http://schemas.microsoft.com/office/drawing/2014/main" id="{47A1E986-8DA7-4066-A15D-B7CE2A61E4D8}"/>
                    </a:ext>
                  </a:extLst>
                </p:cNvPr>
                <p:cNvPicPr/>
                <p:nvPr/>
              </p:nvPicPr>
              <p:blipFill>
                <a:blip r:embed="rId46"/>
                <a:stretch>
                  <a:fillRect/>
                </a:stretch>
              </p:blipFill>
              <p:spPr>
                <a:xfrm>
                  <a:off x="2450817" y="3745718"/>
                  <a:ext cx="81360" cy="993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32" name="Ink 31">
                  <a:extLst>
                    <a:ext uri="{FF2B5EF4-FFF2-40B4-BE49-F238E27FC236}">
                      <a16:creationId xmlns:a16="http://schemas.microsoft.com/office/drawing/2014/main" id="{21DD7CA3-940F-4C3C-AD44-AC59C377C5CF}"/>
                    </a:ext>
                  </a:extLst>
                </p14:cNvPr>
                <p14:cNvContentPartPr/>
                <p14:nvPr/>
              </p14:nvContentPartPr>
              <p14:xfrm>
                <a:off x="2589417" y="3740678"/>
                <a:ext cx="70560" cy="104400"/>
              </p14:xfrm>
            </p:contentPart>
          </mc:Choice>
          <mc:Fallback xmlns="">
            <p:pic>
              <p:nvPicPr>
                <p:cNvPr id="32" name="Ink 31">
                  <a:extLst>
                    <a:ext uri="{FF2B5EF4-FFF2-40B4-BE49-F238E27FC236}">
                      <a16:creationId xmlns:a16="http://schemas.microsoft.com/office/drawing/2014/main" id="{21DD7CA3-940F-4C3C-AD44-AC59C377C5CF}"/>
                    </a:ext>
                  </a:extLst>
                </p:cNvPr>
                <p:cNvPicPr/>
                <p:nvPr/>
              </p:nvPicPr>
              <p:blipFill>
                <a:blip r:embed="rId48"/>
                <a:stretch>
                  <a:fillRect/>
                </a:stretch>
              </p:blipFill>
              <p:spPr>
                <a:xfrm>
                  <a:off x="2580777" y="3731678"/>
                  <a:ext cx="88200" cy="12204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33" name="Ink 32">
                  <a:extLst>
                    <a:ext uri="{FF2B5EF4-FFF2-40B4-BE49-F238E27FC236}">
                      <a16:creationId xmlns:a16="http://schemas.microsoft.com/office/drawing/2014/main" id="{269A00FB-4399-4704-ABB8-D77C5D28A32C}"/>
                    </a:ext>
                  </a:extLst>
                </p14:cNvPr>
                <p14:cNvContentPartPr/>
                <p14:nvPr/>
              </p14:nvContentPartPr>
              <p14:xfrm>
                <a:off x="2617137" y="3803678"/>
                <a:ext cx="55080" cy="360"/>
              </p14:xfrm>
            </p:contentPart>
          </mc:Choice>
          <mc:Fallback xmlns="">
            <p:pic>
              <p:nvPicPr>
                <p:cNvPr id="33" name="Ink 32">
                  <a:extLst>
                    <a:ext uri="{FF2B5EF4-FFF2-40B4-BE49-F238E27FC236}">
                      <a16:creationId xmlns:a16="http://schemas.microsoft.com/office/drawing/2014/main" id="{269A00FB-4399-4704-ABB8-D77C5D28A32C}"/>
                    </a:ext>
                  </a:extLst>
                </p:cNvPr>
                <p:cNvPicPr/>
                <p:nvPr/>
              </p:nvPicPr>
              <p:blipFill>
                <a:blip r:embed="rId50"/>
                <a:stretch>
                  <a:fillRect/>
                </a:stretch>
              </p:blipFill>
              <p:spPr>
                <a:xfrm>
                  <a:off x="2608497" y="3795038"/>
                  <a:ext cx="727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34" name="Ink 33">
                  <a:extLst>
                    <a:ext uri="{FF2B5EF4-FFF2-40B4-BE49-F238E27FC236}">
                      <a16:creationId xmlns:a16="http://schemas.microsoft.com/office/drawing/2014/main" id="{36087166-214C-4B32-9BF2-0D9A53DC6D3A}"/>
                    </a:ext>
                  </a:extLst>
                </p14:cNvPr>
                <p14:cNvContentPartPr/>
                <p14:nvPr/>
              </p14:nvContentPartPr>
              <p14:xfrm>
                <a:off x="2751057" y="3754718"/>
                <a:ext cx="61920" cy="83880"/>
              </p14:xfrm>
            </p:contentPart>
          </mc:Choice>
          <mc:Fallback xmlns="">
            <p:pic>
              <p:nvPicPr>
                <p:cNvPr id="34" name="Ink 33">
                  <a:extLst>
                    <a:ext uri="{FF2B5EF4-FFF2-40B4-BE49-F238E27FC236}">
                      <a16:creationId xmlns:a16="http://schemas.microsoft.com/office/drawing/2014/main" id="{36087166-214C-4B32-9BF2-0D9A53DC6D3A}"/>
                    </a:ext>
                  </a:extLst>
                </p:cNvPr>
                <p:cNvPicPr/>
                <p:nvPr/>
              </p:nvPicPr>
              <p:blipFill>
                <a:blip r:embed="rId52"/>
                <a:stretch>
                  <a:fillRect/>
                </a:stretch>
              </p:blipFill>
              <p:spPr>
                <a:xfrm>
                  <a:off x="2742057" y="3746078"/>
                  <a:ext cx="79560" cy="10152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35" name="Ink 34">
                  <a:extLst>
                    <a:ext uri="{FF2B5EF4-FFF2-40B4-BE49-F238E27FC236}">
                      <a16:creationId xmlns:a16="http://schemas.microsoft.com/office/drawing/2014/main" id="{1B0C57C6-2901-4384-9326-DC7C10841057}"/>
                    </a:ext>
                  </a:extLst>
                </p14:cNvPr>
                <p14:cNvContentPartPr/>
                <p14:nvPr/>
              </p14:nvContentPartPr>
              <p14:xfrm>
                <a:off x="2847537" y="3831758"/>
                <a:ext cx="360" cy="360"/>
              </p14:xfrm>
            </p:contentPart>
          </mc:Choice>
          <mc:Fallback xmlns="">
            <p:pic>
              <p:nvPicPr>
                <p:cNvPr id="35" name="Ink 34">
                  <a:extLst>
                    <a:ext uri="{FF2B5EF4-FFF2-40B4-BE49-F238E27FC236}">
                      <a16:creationId xmlns:a16="http://schemas.microsoft.com/office/drawing/2014/main" id="{1B0C57C6-2901-4384-9326-DC7C10841057}"/>
                    </a:ext>
                  </a:extLst>
                </p:cNvPr>
                <p:cNvPicPr/>
                <p:nvPr/>
              </p:nvPicPr>
              <p:blipFill>
                <a:blip r:embed="rId28"/>
                <a:stretch>
                  <a:fillRect/>
                </a:stretch>
              </p:blipFill>
              <p:spPr>
                <a:xfrm>
                  <a:off x="2838537" y="3823118"/>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36" name="Ink 35">
                  <a:extLst>
                    <a:ext uri="{FF2B5EF4-FFF2-40B4-BE49-F238E27FC236}">
                      <a16:creationId xmlns:a16="http://schemas.microsoft.com/office/drawing/2014/main" id="{E276AE82-905C-4DA3-B62D-8150BEACA652}"/>
                    </a:ext>
                  </a:extLst>
                </p14:cNvPr>
                <p14:cNvContentPartPr/>
                <p14:nvPr/>
              </p14:nvContentPartPr>
              <p14:xfrm>
                <a:off x="2884257" y="3768758"/>
                <a:ext cx="34920" cy="78480"/>
              </p14:xfrm>
            </p:contentPart>
          </mc:Choice>
          <mc:Fallback xmlns="">
            <p:pic>
              <p:nvPicPr>
                <p:cNvPr id="36" name="Ink 35">
                  <a:extLst>
                    <a:ext uri="{FF2B5EF4-FFF2-40B4-BE49-F238E27FC236}">
                      <a16:creationId xmlns:a16="http://schemas.microsoft.com/office/drawing/2014/main" id="{E276AE82-905C-4DA3-B62D-8150BEACA652}"/>
                    </a:ext>
                  </a:extLst>
                </p:cNvPr>
                <p:cNvPicPr/>
                <p:nvPr/>
              </p:nvPicPr>
              <p:blipFill>
                <a:blip r:embed="rId55"/>
                <a:stretch>
                  <a:fillRect/>
                </a:stretch>
              </p:blipFill>
              <p:spPr>
                <a:xfrm>
                  <a:off x="2875257" y="3760118"/>
                  <a:ext cx="52560" cy="9612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37" name="Ink 36">
                  <a:extLst>
                    <a:ext uri="{FF2B5EF4-FFF2-40B4-BE49-F238E27FC236}">
                      <a16:creationId xmlns:a16="http://schemas.microsoft.com/office/drawing/2014/main" id="{6BF56829-DA29-4335-8AF0-BFD357231CEA}"/>
                    </a:ext>
                  </a:extLst>
                </p14:cNvPr>
                <p14:cNvContentPartPr/>
                <p14:nvPr/>
              </p14:nvContentPartPr>
              <p14:xfrm>
                <a:off x="2954817" y="3769118"/>
                <a:ext cx="53640" cy="63720"/>
              </p14:xfrm>
            </p:contentPart>
          </mc:Choice>
          <mc:Fallback xmlns="">
            <p:pic>
              <p:nvPicPr>
                <p:cNvPr id="37" name="Ink 36">
                  <a:extLst>
                    <a:ext uri="{FF2B5EF4-FFF2-40B4-BE49-F238E27FC236}">
                      <a16:creationId xmlns:a16="http://schemas.microsoft.com/office/drawing/2014/main" id="{6BF56829-DA29-4335-8AF0-BFD357231CEA}"/>
                    </a:ext>
                  </a:extLst>
                </p:cNvPr>
                <p:cNvPicPr/>
                <p:nvPr/>
              </p:nvPicPr>
              <p:blipFill>
                <a:blip r:embed="rId57"/>
                <a:stretch>
                  <a:fillRect/>
                </a:stretch>
              </p:blipFill>
              <p:spPr>
                <a:xfrm>
                  <a:off x="2946177" y="3760118"/>
                  <a:ext cx="71280" cy="81360"/>
                </a:xfrm>
                <a:prstGeom prst="rect">
                  <a:avLst/>
                </a:prstGeom>
              </p:spPr>
            </p:pic>
          </mc:Fallback>
        </mc:AlternateContent>
      </p:grpSp>
      <p:grpSp>
        <p:nvGrpSpPr>
          <p:cNvPr id="47" name="Group 46">
            <a:extLst>
              <a:ext uri="{FF2B5EF4-FFF2-40B4-BE49-F238E27FC236}">
                <a16:creationId xmlns:a16="http://schemas.microsoft.com/office/drawing/2014/main" id="{6600F404-00A8-43E3-838A-01D1B3291E3B}"/>
              </a:ext>
            </a:extLst>
          </p:cNvPr>
          <p:cNvGrpSpPr/>
          <p:nvPr/>
        </p:nvGrpSpPr>
        <p:grpSpPr>
          <a:xfrm>
            <a:off x="5005377" y="3723398"/>
            <a:ext cx="578880" cy="206640"/>
            <a:chOff x="5005377" y="3723398"/>
            <a:chExt cx="578880" cy="206640"/>
          </a:xfrm>
        </p:grpSpPr>
        <mc:AlternateContent xmlns:mc="http://schemas.openxmlformats.org/markup-compatibility/2006" xmlns:p14="http://schemas.microsoft.com/office/powerpoint/2010/main">
          <mc:Choice Requires="p14">
            <p:contentPart p14:bwMode="auto" r:id="rId58">
              <p14:nvContentPartPr>
                <p14:cNvPr id="39" name="Ink 38">
                  <a:extLst>
                    <a:ext uri="{FF2B5EF4-FFF2-40B4-BE49-F238E27FC236}">
                      <a16:creationId xmlns:a16="http://schemas.microsoft.com/office/drawing/2014/main" id="{3A41C3FA-BB5F-4B63-9BA4-52DFB19243B6}"/>
                    </a:ext>
                  </a:extLst>
                </p14:cNvPr>
                <p14:cNvContentPartPr/>
                <p14:nvPr/>
              </p14:nvContentPartPr>
              <p14:xfrm>
                <a:off x="5081337" y="3742118"/>
                <a:ext cx="132120" cy="75240"/>
              </p14:xfrm>
            </p:contentPart>
          </mc:Choice>
          <mc:Fallback xmlns="">
            <p:pic>
              <p:nvPicPr>
                <p:cNvPr id="39" name="Ink 38">
                  <a:extLst>
                    <a:ext uri="{FF2B5EF4-FFF2-40B4-BE49-F238E27FC236}">
                      <a16:creationId xmlns:a16="http://schemas.microsoft.com/office/drawing/2014/main" id="{3A41C3FA-BB5F-4B63-9BA4-52DFB19243B6}"/>
                    </a:ext>
                  </a:extLst>
                </p:cNvPr>
                <p:cNvPicPr/>
                <p:nvPr/>
              </p:nvPicPr>
              <p:blipFill>
                <a:blip r:embed="rId59"/>
                <a:stretch>
                  <a:fillRect/>
                </a:stretch>
              </p:blipFill>
              <p:spPr>
                <a:xfrm>
                  <a:off x="5072697" y="3733118"/>
                  <a:ext cx="149760" cy="9288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40" name="Ink 39">
                  <a:extLst>
                    <a:ext uri="{FF2B5EF4-FFF2-40B4-BE49-F238E27FC236}">
                      <a16:creationId xmlns:a16="http://schemas.microsoft.com/office/drawing/2014/main" id="{C0F22371-391C-4262-918C-DF42F3C332DF}"/>
                    </a:ext>
                  </a:extLst>
                </p14:cNvPr>
                <p14:cNvContentPartPr/>
                <p14:nvPr/>
              </p14:nvContentPartPr>
              <p14:xfrm>
                <a:off x="5284377" y="3723398"/>
                <a:ext cx="65880" cy="70200"/>
              </p14:xfrm>
            </p:contentPart>
          </mc:Choice>
          <mc:Fallback xmlns="">
            <p:pic>
              <p:nvPicPr>
                <p:cNvPr id="40" name="Ink 39">
                  <a:extLst>
                    <a:ext uri="{FF2B5EF4-FFF2-40B4-BE49-F238E27FC236}">
                      <a16:creationId xmlns:a16="http://schemas.microsoft.com/office/drawing/2014/main" id="{C0F22371-391C-4262-918C-DF42F3C332DF}"/>
                    </a:ext>
                  </a:extLst>
                </p:cNvPr>
                <p:cNvPicPr/>
                <p:nvPr/>
              </p:nvPicPr>
              <p:blipFill>
                <a:blip r:embed="rId61"/>
                <a:stretch>
                  <a:fillRect/>
                </a:stretch>
              </p:blipFill>
              <p:spPr>
                <a:xfrm>
                  <a:off x="5275737" y="3714398"/>
                  <a:ext cx="83520" cy="8784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41" name="Ink 40">
                  <a:extLst>
                    <a:ext uri="{FF2B5EF4-FFF2-40B4-BE49-F238E27FC236}">
                      <a16:creationId xmlns:a16="http://schemas.microsoft.com/office/drawing/2014/main" id="{94190B63-4B54-4147-86A0-65257F79D3E3}"/>
                    </a:ext>
                  </a:extLst>
                </p14:cNvPr>
                <p14:cNvContentPartPr/>
                <p14:nvPr/>
              </p14:nvContentPartPr>
              <p14:xfrm>
                <a:off x="5381937" y="3747878"/>
                <a:ext cx="103680" cy="64440"/>
              </p14:xfrm>
            </p:contentPart>
          </mc:Choice>
          <mc:Fallback xmlns="">
            <p:pic>
              <p:nvPicPr>
                <p:cNvPr id="41" name="Ink 40">
                  <a:extLst>
                    <a:ext uri="{FF2B5EF4-FFF2-40B4-BE49-F238E27FC236}">
                      <a16:creationId xmlns:a16="http://schemas.microsoft.com/office/drawing/2014/main" id="{94190B63-4B54-4147-86A0-65257F79D3E3}"/>
                    </a:ext>
                  </a:extLst>
                </p:cNvPr>
                <p:cNvPicPr/>
                <p:nvPr/>
              </p:nvPicPr>
              <p:blipFill>
                <a:blip r:embed="rId63"/>
                <a:stretch>
                  <a:fillRect/>
                </a:stretch>
              </p:blipFill>
              <p:spPr>
                <a:xfrm>
                  <a:off x="5373297" y="3739238"/>
                  <a:ext cx="121320" cy="8208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42" name="Ink 41">
                  <a:extLst>
                    <a:ext uri="{FF2B5EF4-FFF2-40B4-BE49-F238E27FC236}">
                      <a16:creationId xmlns:a16="http://schemas.microsoft.com/office/drawing/2014/main" id="{BE73B064-3CDF-4E8C-83B8-4175A14353D5}"/>
                    </a:ext>
                  </a:extLst>
                </p14:cNvPr>
                <p14:cNvContentPartPr/>
                <p14:nvPr/>
              </p14:nvContentPartPr>
              <p14:xfrm>
                <a:off x="5413257" y="3747878"/>
                <a:ext cx="38520" cy="76320"/>
              </p14:xfrm>
            </p:contentPart>
          </mc:Choice>
          <mc:Fallback xmlns="">
            <p:pic>
              <p:nvPicPr>
                <p:cNvPr id="42" name="Ink 41">
                  <a:extLst>
                    <a:ext uri="{FF2B5EF4-FFF2-40B4-BE49-F238E27FC236}">
                      <a16:creationId xmlns:a16="http://schemas.microsoft.com/office/drawing/2014/main" id="{BE73B064-3CDF-4E8C-83B8-4175A14353D5}"/>
                    </a:ext>
                  </a:extLst>
                </p:cNvPr>
                <p:cNvPicPr/>
                <p:nvPr/>
              </p:nvPicPr>
              <p:blipFill>
                <a:blip r:embed="rId65"/>
                <a:stretch>
                  <a:fillRect/>
                </a:stretch>
              </p:blipFill>
              <p:spPr>
                <a:xfrm>
                  <a:off x="5404257" y="3739238"/>
                  <a:ext cx="5616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43" name="Ink 42">
                  <a:extLst>
                    <a:ext uri="{FF2B5EF4-FFF2-40B4-BE49-F238E27FC236}">
                      <a16:creationId xmlns:a16="http://schemas.microsoft.com/office/drawing/2014/main" id="{BBE1ED31-2BC8-4433-A402-C46FAC25EDA7}"/>
                    </a:ext>
                  </a:extLst>
                </p14:cNvPr>
                <p14:cNvContentPartPr/>
                <p14:nvPr/>
              </p14:nvContentPartPr>
              <p14:xfrm>
                <a:off x="5514417" y="3789998"/>
                <a:ext cx="63000" cy="50400"/>
              </p14:xfrm>
            </p:contentPart>
          </mc:Choice>
          <mc:Fallback xmlns="">
            <p:pic>
              <p:nvPicPr>
                <p:cNvPr id="43" name="Ink 42">
                  <a:extLst>
                    <a:ext uri="{FF2B5EF4-FFF2-40B4-BE49-F238E27FC236}">
                      <a16:creationId xmlns:a16="http://schemas.microsoft.com/office/drawing/2014/main" id="{BBE1ED31-2BC8-4433-A402-C46FAC25EDA7}"/>
                    </a:ext>
                  </a:extLst>
                </p:cNvPr>
                <p:cNvPicPr/>
                <p:nvPr/>
              </p:nvPicPr>
              <p:blipFill>
                <a:blip r:embed="rId67"/>
                <a:stretch>
                  <a:fillRect/>
                </a:stretch>
              </p:blipFill>
              <p:spPr>
                <a:xfrm>
                  <a:off x="5505417" y="3780998"/>
                  <a:ext cx="80640" cy="6804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44" name="Ink 43">
                  <a:extLst>
                    <a:ext uri="{FF2B5EF4-FFF2-40B4-BE49-F238E27FC236}">
                      <a16:creationId xmlns:a16="http://schemas.microsoft.com/office/drawing/2014/main" id="{5B703E1B-19B1-4888-ABE8-637D91767CDB}"/>
                    </a:ext>
                  </a:extLst>
                </p14:cNvPr>
                <p14:cNvContentPartPr/>
                <p14:nvPr/>
              </p14:nvContentPartPr>
              <p14:xfrm>
                <a:off x="5548617" y="3782798"/>
                <a:ext cx="35640" cy="97560"/>
              </p14:xfrm>
            </p:contentPart>
          </mc:Choice>
          <mc:Fallback xmlns="">
            <p:pic>
              <p:nvPicPr>
                <p:cNvPr id="44" name="Ink 43">
                  <a:extLst>
                    <a:ext uri="{FF2B5EF4-FFF2-40B4-BE49-F238E27FC236}">
                      <a16:creationId xmlns:a16="http://schemas.microsoft.com/office/drawing/2014/main" id="{5B703E1B-19B1-4888-ABE8-637D91767CDB}"/>
                    </a:ext>
                  </a:extLst>
                </p:cNvPr>
                <p:cNvPicPr/>
                <p:nvPr/>
              </p:nvPicPr>
              <p:blipFill>
                <a:blip r:embed="rId69"/>
                <a:stretch>
                  <a:fillRect/>
                </a:stretch>
              </p:blipFill>
              <p:spPr>
                <a:xfrm>
                  <a:off x="5539617" y="3774158"/>
                  <a:ext cx="53280" cy="11520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45" name="Ink 44">
                  <a:extLst>
                    <a:ext uri="{FF2B5EF4-FFF2-40B4-BE49-F238E27FC236}">
                      <a16:creationId xmlns:a16="http://schemas.microsoft.com/office/drawing/2014/main" id="{EEC625EA-A709-4029-97BA-433033071599}"/>
                    </a:ext>
                  </a:extLst>
                </p14:cNvPr>
                <p14:cNvContentPartPr/>
                <p14:nvPr/>
              </p14:nvContentPartPr>
              <p14:xfrm>
                <a:off x="5027337" y="3754718"/>
                <a:ext cx="47520" cy="91800"/>
              </p14:xfrm>
            </p:contentPart>
          </mc:Choice>
          <mc:Fallback xmlns="">
            <p:pic>
              <p:nvPicPr>
                <p:cNvPr id="45" name="Ink 44">
                  <a:extLst>
                    <a:ext uri="{FF2B5EF4-FFF2-40B4-BE49-F238E27FC236}">
                      <a16:creationId xmlns:a16="http://schemas.microsoft.com/office/drawing/2014/main" id="{EEC625EA-A709-4029-97BA-433033071599}"/>
                    </a:ext>
                  </a:extLst>
                </p:cNvPr>
                <p:cNvPicPr/>
                <p:nvPr/>
              </p:nvPicPr>
              <p:blipFill>
                <a:blip r:embed="rId71"/>
                <a:stretch>
                  <a:fillRect/>
                </a:stretch>
              </p:blipFill>
              <p:spPr>
                <a:xfrm>
                  <a:off x="5018337" y="3746078"/>
                  <a:ext cx="65160" cy="10944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46" name="Ink 45">
                  <a:extLst>
                    <a:ext uri="{FF2B5EF4-FFF2-40B4-BE49-F238E27FC236}">
                      <a16:creationId xmlns:a16="http://schemas.microsoft.com/office/drawing/2014/main" id="{6CE2A0C2-A56C-4337-A6CD-5D2BC8A65F24}"/>
                    </a:ext>
                  </a:extLst>
                </p14:cNvPr>
                <p14:cNvContentPartPr/>
                <p14:nvPr/>
              </p14:nvContentPartPr>
              <p14:xfrm>
                <a:off x="5005377" y="3761918"/>
                <a:ext cx="34560" cy="168120"/>
              </p14:xfrm>
            </p:contentPart>
          </mc:Choice>
          <mc:Fallback xmlns="">
            <p:pic>
              <p:nvPicPr>
                <p:cNvPr id="46" name="Ink 45">
                  <a:extLst>
                    <a:ext uri="{FF2B5EF4-FFF2-40B4-BE49-F238E27FC236}">
                      <a16:creationId xmlns:a16="http://schemas.microsoft.com/office/drawing/2014/main" id="{6CE2A0C2-A56C-4337-A6CD-5D2BC8A65F24}"/>
                    </a:ext>
                  </a:extLst>
                </p:cNvPr>
                <p:cNvPicPr/>
                <p:nvPr/>
              </p:nvPicPr>
              <p:blipFill>
                <a:blip r:embed="rId73"/>
                <a:stretch>
                  <a:fillRect/>
                </a:stretch>
              </p:blipFill>
              <p:spPr>
                <a:xfrm>
                  <a:off x="4996737" y="3752918"/>
                  <a:ext cx="52200" cy="185760"/>
                </a:xfrm>
                <a:prstGeom prst="rect">
                  <a:avLst/>
                </a:prstGeom>
              </p:spPr>
            </p:pic>
          </mc:Fallback>
        </mc:AlternateContent>
      </p:grpSp>
      <p:grpSp>
        <p:nvGrpSpPr>
          <p:cNvPr id="57" name="Group 56">
            <a:extLst>
              <a:ext uri="{FF2B5EF4-FFF2-40B4-BE49-F238E27FC236}">
                <a16:creationId xmlns:a16="http://schemas.microsoft.com/office/drawing/2014/main" id="{5470643E-A305-443E-AC9C-EA74C5487491}"/>
              </a:ext>
            </a:extLst>
          </p:cNvPr>
          <p:cNvGrpSpPr/>
          <p:nvPr/>
        </p:nvGrpSpPr>
        <p:grpSpPr>
          <a:xfrm>
            <a:off x="3654657" y="3713318"/>
            <a:ext cx="507600" cy="235080"/>
            <a:chOff x="3654657" y="3713318"/>
            <a:chExt cx="507600" cy="235080"/>
          </a:xfrm>
        </p:grpSpPr>
        <mc:AlternateContent xmlns:mc="http://schemas.openxmlformats.org/markup-compatibility/2006" xmlns:p14="http://schemas.microsoft.com/office/powerpoint/2010/main">
          <mc:Choice Requires="p14">
            <p:contentPart p14:bwMode="auto" r:id="rId74">
              <p14:nvContentPartPr>
                <p14:cNvPr id="48" name="Ink 47">
                  <a:extLst>
                    <a:ext uri="{FF2B5EF4-FFF2-40B4-BE49-F238E27FC236}">
                      <a16:creationId xmlns:a16="http://schemas.microsoft.com/office/drawing/2014/main" id="{FADE710D-6762-4660-ADA5-90C692B3F5AE}"/>
                    </a:ext>
                  </a:extLst>
                </p14:cNvPr>
                <p14:cNvContentPartPr/>
                <p14:nvPr/>
              </p14:nvContentPartPr>
              <p14:xfrm>
                <a:off x="3749697" y="3740678"/>
                <a:ext cx="67680" cy="74160"/>
              </p14:xfrm>
            </p:contentPart>
          </mc:Choice>
          <mc:Fallback xmlns="">
            <p:pic>
              <p:nvPicPr>
                <p:cNvPr id="48" name="Ink 47">
                  <a:extLst>
                    <a:ext uri="{FF2B5EF4-FFF2-40B4-BE49-F238E27FC236}">
                      <a16:creationId xmlns:a16="http://schemas.microsoft.com/office/drawing/2014/main" id="{FADE710D-6762-4660-ADA5-90C692B3F5AE}"/>
                    </a:ext>
                  </a:extLst>
                </p:cNvPr>
                <p:cNvPicPr/>
                <p:nvPr/>
              </p:nvPicPr>
              <p:blipFill>
                <a:blip r:embed="rId75"/>
                <a:stretch>
                  <a:fillRect/>
                </a:stretch>
              </p:blipFill>
              <p:spPr>
                <a:xfrm>
                  <a:off x="3741057" y="3732038"/>
                  <a:ext cx="8532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49" name="Ink 48">
                  <a:extLst>
                    <a:ext uri="{FF2B5EF4-FFF2-40B4-BE49-F238E27FC236}">
                      <a16:creationId xmlns:a16="http://schemas.microsoft.com/office/drawing/2014/main" id="{6C6FDDF3-30D3-418F-8E75-A282463851F6}"/>
                    </a:ext>
                  </a:extLst>
                </p14:cNvPr>
                <p14:cNvContentPartPr/>
                <p14:nvPr/>
              </p14:nvContentPartPr>
              <p14:xfrm>
                <a:off x="3915657" y="3719798"/>
                <a:ext cx="29880" cy="89280"/>
              </p14:xfrm>
            </p:contentPart>
          </mc:Choice>
          <mc:Fallback xmlns="">
            <p:pic>
              <p:nvPicPr>
                <p:cNvPr id="49" name="Ink 48">
                  <a:extLst>
                    <a:ext uri="{FF2B5EF4-FFF2-40B4-BE49-F238E27FC236}">
                      <a16:creationId xmlns:a16="http://schemas.microsoft.com/office/drawing/2014/main" id="{6C6FDDF3-30D3-418F-8E75-A282463851F6}"/>
                    </a:ext>
                  </a:extLst>
                </p:cNvPr>
                <p:cNvPicPr/>
                <p:nvPr/>
              </p:nvPicPr>
              <p:blipFill>
                <a:blip r:embed="rId77"/>
                <a:stretch>
                  <a:fillRect/>
                </a:stretch>
              </p:blipFill>
              <p:spPr>
                <a:xfrm>
                  <a:off x="3906657" y="3710798"/>
                  <a:ext cx="4752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50" name="Ink 49">
                  <a:extLst>
                    <a:ext uri="{FF2B5EF4-FFF2-40B4-BE49-F238E27FC236}">
                      <a16:creationId xmlns:a16="http://schemas.microsoft.com/office/drawing/2014/main" id="{F9780CE2-368E-4B55-9115-420D64EFAE8C}"/>
                    </a:ext>
                  </a:extLst>
                </p14:cNvPr>
                <p14:cNvContentPartPr/>
                <p14:nvPr/>
              </p14:nvContentPartPr>
              <p14:xfrm>
                <a:off x="3880737" y="3754358"/>
                <a:ext cx="118080" cy="21600"/>
              </p14:xfrm>
            </p:contentPart>
          </mc:Choice>
          <mc:Fallback xmlns="">
            <p:pic>
              <p:nvPicPr>
                <p:cNvPr id="50" name="Ink 49">
                  <a:extLst>
                    <a:ext uri="{FF2B5EF4-FFF2-40B4-BE49-F238E27FC236}">
                      <a16:creationId xmlns:a16="http://schemas.microsoft.com/office/drawing/2014/main" id="{F9780CE2-368E-4B55-9115-420D64EFAE8C}"/>
                    </a:ext>
                  </a:extLst>
                </p:cNvPr>
                <p:cNvPicPr/>
                <p:nvPr/>
              </p:nvPicPr>
              <p:blipFill>
                <a:blip r:embed="rId79"/>
                <a:stretch>
                  <a:fillRect/>
                </a:stretch>
              </p:blipFill>
              <p:spPr>
                <a:xfrm>
                  <a:off x="3872097" y="3745718"/>
                  <a:ext cx="135720" cy="3924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51" name="Ink 50">
                  <a:extLst>
                    <a:ext uri="{FF2B5EF4-FFF2-40B4-BE49-F238E27FC236}">
                      <a16:creationId xmlns:a16="http://schemas.microsoft.com/office/drawing/2014/main" id="{04470E61-C6E3-4626-A297-7A83AC147616}"/>
                    </a:ext>
                  </a:extLst>
                </p14:cNvPr>
                <p14:cNvContentPartPr/>
                <p14:nvPr/>
              </p14:nvContentPartPr>
              <p14:xfrm>
                <a:off x="3993417" y="3734198"/>
                <a:ext cx="95400" cy="68400"/>
              </p14:xfrm>
            </p:contentPart>
          </mc:Choice>
          <mc:Fallback xmlns="">
            <p:pic>
              <p:nvPicPr>
                <p:cNvPr id="51" name="Ink 50">
                  <a:extLst>
                    <a:ext uri="{FF2B5EF4-FFF2-40B4-BE49-F238E27FC236}">
                      <a16:creationId xmlns:a16="http://schemas.microsoft.com/office/drawing/2014/main" id="{04470E61-C6E3-4626-A297-7A83AC147616}"/>
                    </a:ext>
                  </a:extLst>
                </p:cNvPr>
                <p:cNvPicPr/>
                <p:nvPr/>
              </p:nvPicPr>
              <p:blipFill>
                <a:blip r:embed="rId81"/>
                <a:stretch>
                  <a:fillRect/>
                </a:stretch>
              </p:blipFill>
              <p:spPr>
                <a:xfrm>
                  <a:off x="3984417" y="3725198"/>
                  <a:ext cx="113040" cy="8604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53" name="Ink 52">
                  <a:extLst>
                    <a:ext uri="{FF2B5EF4-FFF2-40B4-BE49-F238E27FC236}">
                      <a16:creationId xmlns:a16="http://schemas.microsoft.com/office/drawing/2014/main" id="{351CEF47-160B-40DE-931B-857B772F755F}"/>
                    </a:ext>
                  </a:extLst>
                </p14:cNvPr>
                <p14:cNvContentPartPr/>
                <p14:nvPr/>
              </p14:nvContentPartPr>
              <p14:xfrm>
                <a:off x="4134537" y="3726998"/>
                <a:ext cx="27720" cy="51120"/>
              </p14:xfrm>
            </p:contentPart>
          </mc:Choice>
          <mc:Fallback xmlns="">
            <p:pic>
              <p:nvPicPr>
                <p:cNvPr id="53" name="Ink 52">
                  <a:extLst>
                    <a:ext uri="{FF2B5EF4-FFF2-40B4-BE49-F238E27FC236}">
                      <a16:creationId xmlns:a16="http://schemas.microsoft.com/office/drawing/2014/main" id="{351CEF47-160B-40DE-931B-857B772F755F}"/>
                    </a:ext>
                  </a:extLst>
                </p:cNvPr>
                <p:cNvPicPr/>
                <p:nvPr/>
              </p:nvPicPr>
              <p:blipFill>
                <a:blip r:embed="rId83"/>
                <a:stretch>
                  <a:fillRect/>
                </a:stretch>
              </p:blipFill>
              <p:spPr>
                <a:xfrm>
                  <a:off x="4125537" y="3718358"/>
                  <a:ext cx="4536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54" name="Ink 53">
                  <a:extLst>
                    <a:ext uri="{FF2B5EF4-FFF2-40B4-BE49-F238E27FC236}">
                      <a16:creationId xmlns:a16="http://schemas.microsoft.com/office/drawing/2014/main" id="{C60DC7E9-2E8C-4DF3-B887-E875364519BE}"/>
                    </a:ext>
                  </a:extLst>
                </p14:cNvPr>
                <p14:cNvContentPartPr/>
                <p14:nvPr/>
              </p14:nvContentPartPr>
              <p14:xfrm>
                <a:off x="3658617" y="3719798"/>
                <a:ext cx="68760" cy="118440"/>
              </p14:xfrm>
            </p:contentPart>
          </mc:Choice>
          <mc:Fallback xmlns="">
            <p:pic>
              <p:nvPicPr>
                <p:cNvPr id="54" name="Ink 53">
                  <a:extLst>
                    <a:ext uri="{FF2B5EF4-FFF2-40B4-BE49-F238E27FC236}">
                      <a16:creationId xmlns:a16="http://schemas.microsoft.com/office/drawing/2014/main" id="{C60DC7E9-2E8C-4DF3-B887-E875364519BE}"/>
                    </a:ext>
                  </a:extLst>
                </p:cNvPr>
                <p:cNvPicPr/>
                <p:nvPr/>
              </p:nvPicPr>
              <p:blipFill>
                <a:blip r:embed="rId85"/>
                <a:stretch>
                  <a:fillRect/>
                </a:stretch>
              </p:blipFill>
              <p:spPr>
                <a:xfrm>
                  <a:off x="3649977" y="3711158"/>
                  <a:ext cx="86400" cy="13608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55" name="Ink 54">
                  <a:extLst>
                    <a:ext uri="{FF2B5EF4-FFF2-40B4-BE49-F238E27FC236}">
                      <a16:creationId xmlns:a16="http://schemas.microsoft.com/office/drawing/2014/main" id="{0D2B3839-C4B6-42D7-9B9D-804C0EC70539}"/>
                    </a:ext>
                  </a:extLst>
                </p14:cNvPr>
                <p14:cNvContentPartPr/>
                <p14:nvPr/>
              </p14:nvContentPartPr>
              <p14:xfrm>
                <a:off x="3654657" y="3713318"/>
                <a:ext cx="30960" cy="235080"/>
              </p14:xfrm>
            </p:contentPart>
          </mc:Choice>
          <mc:Fallback xmlns="">
            <p:pic>
              <p:nvPicPr>
                <p:cNvPr id="55" name="Ink 54">
                  <a:extLst>
                    <a:ext uri="{FF2B5EF4-FFF2-40B4-BE49-F238E27FC236}">
                      <a16:creationId xmlns:a16="http://schemas.microsoft.com/office/drawing/2014/main" id="{0D2B3839-C4B6-42D7-9B9D-804C0EC70539}"/>
                    </a:ext>
                  </a:extLst>
                </p:cNvPr>
                <p:cNvPicPr/>
                <p:nvPr/>
              </p:nvPicPr>
              <p:blipFill>
                <a:blip r:embed="rId87"/>
                <a:stretch>
                  <a:fillRect/>
                </a:stretch>
              </p:blipFill>
              <p:spPr>
                <a:xfrm>
                  <a:off x="3645657" y="3704318"/>
                  <a:ext cx="48600" cy="252720"/>
                </a:xfrm>
                <a:prstGeom prst="rect">
                  <a:avLst/>
                </a:prstGeom>
              </p:spPr>
            </p:pic>
          </mc:Fallback>
        </mc:AlternateContent>
      </p:grpSp>
      <p:grpSp>
        <p:nvGrpSpPr>
          <p:cNvPr id="64" name="Group 63">
            <a:extLst>
              <a:ext uri="{FF2B5EF4-FFF2-40B4-BE49-F238E27FC236}">
                <a16:creationId xmlns:a16="http://schemas.microsoft.com/office/drawing/2014/main" id="{606CEB9E-1C28-407A-9EF0-200905BF4043}"/>
              </a:ext>
            </a:extLst>
          </p:cNvPr>
          <p:cNvGrpSpPr/>
          <p:nvPr/>
        </p:nvGrpSpPr>
        <p:grpSpPr>
          <a:xfrm>
            <a:off x="6550497" y="3698918"/>
            <a:ext cx="410040" cy="153720"/>
            <a:chOff x="6550497" y="3698918"/>
            <a:chExt cx="410040" cy="153720"/>
          </a:xfrm>
        </p:grpSpPr>
        <mc:AlternateContent xmlns:mc="http://schemas.openxmlformats.org/markup-compatibility/2006" xmlns:p14="http://schemas.microsoft.com/office/powerpoint/2010/main">
          <mc:Choice Requires="p14">
            <p:contentPart p14:bwMode="auto" r:id="rId88">
              <p14:nvContentPartPr>
                <p14:cNvPr id="58" name="Ink 57">
                  <a:extLst>
                    <a:ext uri="{FF2B5EF4-FFF2-40B4-BE49-F238E27FC236}">
                      <a16:creationId xmlns:a16="http://schemas.microsoft.com/office/drawing/2014/main" id="{208F2072-63A7-4F5D-82A0-645E80307FE9}"/>
                    </a:ext>
                  </a:extLst>
                </p14:cNvPr>
                <p14:cNvContentPartPr/>
                <p14:nvPr/>
              </p14:nvContentPartPr>
              <p14:xfrm>
                <a:off x="6550497" y="3734198"/>
                <a:ext cx="94680" cy="91080"/>
              </p14:xfrm>
            </p:contentPart>
          </mc:Choice>
          <mc:Fallback xmlns="">
            <p:pic>
              <p:nvPicPr>
                <p:cNvPr id="58" name="Ink 57">
                  <a:extLst>
                    <a:ext uri="{FF2B5EF4-FFF2-40B4-BE49-F238E27FC236}">
                      <a16:creationId xmlns:a16="http://schemas.microsoft.com/office/drawing/2014/main" id="{208F2072-63A7-4F5D-82A0-645E80307FE9}"/>
                    </a:ext>
                  </a:extLst>
                </p:cNvPr>
                <p:cNvPicPr/>
                <p:nvPr/>
              </p:nvPicPr>
              <p:blipFill>
                <a:blip r:embed="rId89"/>
                <a:stretch>
                  <a:fillRect/>
                </a:stretch>
              </p:blipFill>
              <p:spPr>
                <a:xfrm>
                  <a:off x="6541497" y="3725198"/>
                  <a:ext cx="11232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59" name="Ink 58">
                  <a:extLst>
                    <a:ext uri="{FF2B5EF4-FFF2-40B4-BE49-F238E27FC236}">
                      <a16:creationId xmlns:a16="http://schemas.microsoft.com/office/drawing/2014/main" id="{5B4BE1F3-A29F-4C7C-BE8D-F3038390FFFC}"/>
                    </a:ext>
                  </a:extLst>
                </p14:cNvPr>
                <p14:cNvContentPartPr/>
                <p14:nvPr/>
              </p14:nvContentPartPr>
              <p14:xfrm>
                <a:off x="6565977" y="3698918"/>
                <a:ext cx="37440" cy="153720"/>
              </p14:xfrm>
            </p:contentPart>
          </mc:Choice>
          <mc:Fallback xmlns="">
            <p:pic>
              <p:nvPicPr>
                <p:cNvPr id="59" name="Ink 58">
                  <a:extLst>
                    <a:ext uri="{FF2B5EF4-FFF2-40B4-BE49-F238E27FC236}">
                      <a16:creationId xmlns:a16="http://schemas.microsoft.com/office/drawing/2014/main" id="{5B4BE1F3-A29F-4C7C-BE8D-F3038390FFFC}"/>
                    </a:ext>
                  </a:extLst>
                </p:cNvPr>
                <p:cNvPicPr/>
                <p:nvPr/>
              </p:nvPicPr>
              <p:blipFill>
                <a:blip r:embed="rId91"/>
                <a:stretch>
                  <a:fillRect/>
                </a:stretch>
              </p:blipFill>
              <p:spPr>
                <a:xfrm>
                  <a:off x="6557337" y="3690278"/>
                  <a:ext cx="55080" cy="17136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60" name="Ink 59">
                  <a:extLst>
                    <a:ext uri="{FF2B5EF4-FFF2-40B4-BE49-F238E27FC236}">
                      <a16:creationId xmlns:a16="http://schemas.microsoft.com/office/drawing/2014/main" id="{5DB084F7-BBE7-4419-8FBD-86788921F420}"/>
                    </a:ext>
                  </a:extLst>
                </p14:cNvPr>
                <p14:cNvContentPartPr/>
                <p14:nvPr/>
              </p14:nvContentPartPr>
              <p14:xfrm>
                <a:off x="6695937" y="3754718"/>
                <a:ext cx="37440" cy="89640"/>
              </p14:xfrm>
            </p:contentPart>
          </mc:Choice>
          <mc:Fallback xmlns="">
            <p:pic>
              <p:nvPicPr>
                <p:cNvPr id="60" name="Ink 59">
                  <a:extLst>
                    <a:ext uri="{FF2B5EF4-FFF2-40B4-BE49-F238E27FC236}">
                      <a16:creationId xmlns:a16="http://schemas.microsoft.com/office/drawing/2014/main" id="{5DB084F7-BBE7-4419-8FBD-86788921F420}"/>
                    </a:ext>
                  </a:extLst>
                </p:cNvPr>
                <p:cNvPicPr/>
                <p:nvPr/>
              </p:nvPicPr>
              <p:blipFill>
                <a:blip r:embed="rId93"/>
                <a:stretch>
                  <a:fillRect/>
                </a:stretch>
              </p:blipFill>
              <p:spPr>
                <a:xfrm>
                  <a:off x="6686937" y="3745718"/>
                  <a:ext cx="55080" cy="10728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61" name="Ink 60">
                  <a:extLst>
                    <a:ext uri="{FF2B5EF4-FFF2-40B4-BE49-F238E27FC236}">
                      <a16:creationId xmlns:a16="http://schemas.microsoft.com/office/drawing/2014/main" id="{CCE56DF8-3F9D-43DD-999D-8F887883D809}"/>
                    </a:ext>
                  </a:extLst>
                </p14:cNvPr>
                <p14:cNvContentPartPr/>
                <p14:nvPr/>
              </p14:nvContentPartPr>
              <p14:xfrm>
                <a:off x="6756417" y="3781718"/>
                <a:ext cx="47880" cy="29880"/>
              </p14:xfrm>
            </p:contentPart>
          </mc:Choice>
          <mc:Fallback xmlns="">
            <p:pic>
              <p:nvPicPr>
                <p:cNvPr id="61" name="Ink 60">
                  <a:extLst>
                    <a:ext uri="{FF2B5EF4-FFF2-40B4-BE49-F238E27FC236}">
                      <a16:creationId xmlns:a16="http://schemas.microsoft.com/office/drawing/2014/main" id="{CCE56DF8-3F9D-43DD-999D-8F887883D809}"/>
                    </a:ext>
                  </a:extLst>
                </p:cNvPr>
                <p:cNvPicPr/>
                <p:nvPr/>
              </p:nvPicPr>
              <p:blipFill>
                <a:blip r:embed="rId95"/>
                <a:stretch>
                  <a:fillRect/>
                </a:stretch>
              </p:blipFill>
              <p:spPr>
                <a:xfrm>
                  <a:off x="6747777" y="3773078"/>
                  <a:ext cx="65520" cy="4752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62" name="Ink 61">
                  <a:extLst>
                    <a:ext uri="{FF2B5EF4-FFF2-40B4-BE49-F238E27FC236}">
                      <a16:creationId xmlns:a16="http://schemas.microsoft.com/office/drawing/2014/main" id="{18AB754C-5BCC-448D-89FE-C3CC9BF398C2}"/>
                    </a:ext>
                  </a:extLst>
                </p14:cNvPr>
                <p14:cNvContentPartPr/>
                <p14:nvPr/>
              </p14:nvContentPartPr>
              <p14:xfrm>
                <a:off x="6819417" y="3769118"/>
                <a:ext cx="46440" cy="28440"/>
              </p14:xfrm>
            </p:contentPart>
          </mc:Choice>
          <mc:Fallback xmlns="">
            <p:pic>
              <p:nvPicPr>
                <p:cNvPr id="62" name="Ink 61">
                  <a:extLst>
                    <a:ext uri="{FF2B5EF4-FFF2-40B4-BE49-F238E27FC236}">
                      <a16:creationId xmlns:a16="http://schemas.microsoft.com/office/drawing/2014/main" id="{18AB754C-5BCC-448D-89FE-C3CC9BF398C2}"/>
                    </a:ext>
                  </a:extLst>
                </p:cNvPr>
                <p:cNvPicPr/>
                <p:nvPr/>
              </p:nvPicPr>
              <p:blipFill>
                <a:blip r:embed="rId97"/>
                <a:stretch>
                  <a:fillRect/>
                </a:stretch>
              </p:blipFill>
              <p:spPr>
                <a:xfrm>
                  <a:off x="6810777" y="3760118"/>
                  <a:ext cx="64080" cy="4608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63" name="Ink 62">
                  <a:extLst>
                    <a:ext uri="{FF2B5EF4-FFF2-40B4-BE49-F238E27FC236}">
                      <a16:creationId xmlns:a16="http://schemas.microsoft.com/office/drawing/2014/main" id="{F07B8CBA-2616-42C9-B8F2-769C93B7F732}"/>
                    </a:ext>
                  </a:extLst>
                </p14:cNvPr>
                <p14:cNvContentPartPr/>
                <p14:nvPr/>
              </p14:nvContentPartPr>
              <p14:xfrm>
                <a:off x="6896097" y="3763718"/>
                <a:ext cx="64440" cy="48240"/>
              </p14:xfrm>
            </p:contentPart>
          </mc:Choice>
          <mc:Fallback xmlns="">
            <p:pic>
              <p:nvPicPr>
                <p:cNvPr id="63" name="Ink 62">
                  <a:extLst>
                    <a:ext uri="{FF2B5EF4-FFF2-40B4-BE49-F238E27FC236}">
                      <a16:creationId xmlns:a16="http://schemas.microsoft.com/office/drawing/2014/main" id="{F07B8CBA-2616-42C9-B8F2-769C93B7F732}"/>
                    </a:ext>
                  </a:extLst>
                </p:cNvPr>
                <p:cNvPicPr/>
                <p:nvPr/>
              </p:nvPicPr>
              <p:blipFill>
                <a:blip r:embed="rId99"/>
                <a:stretch>
                  <a:fillRect/>
                </a:stretch>
              </p:blipFill>
              <p:spPr>
                <a:xfrm>
                  <a:off x="6887457" y="3754718"/>
                  <a:ext cx="82080" cy="65880"/>
                </a:xfrm>
                <a:prstGeom prst="rect">
                  <a:avLst/>
                </a:prstGeom>
              </p:spPr>
            </p:pic>
          </mc:Fallback>
        </mc:AlternateContent>
      </p:grpSp>
      <p:grpSp>
        <p:nvGrpSpPr>
          <p:cNvPr id="73" name="Group 72">
            <a:extLst>
              <a:ext uri="{FF2B5EF4-FFF2-40B4-BE49-F238E27FC236}">
                <a16:creationId xmlns:a16="http://schemas.microsoft.com/office/drawing/2014/main" id="{79AAFFCA-5BC6-43BD-970D-733DBFA3EB87}"/>
              </a:ext>
            </a:extLst>
          </p:cNvPr>
          <p:cNvGrpSpPr/>
          <p:nvPr/>
        </p:nvGrpSpPr>
        <p:grpSpPr>
          <a:xfrm>
            <a:off x="7769457" y="3754718"/>
            <a:ext cx="690840" cy="174960"/>
            <a:chOff x="7769457" y="3754718"/>
            <a:chExt cx="690840" cy="174960"/>
          </a:xfrm>
        </p:grpSpPr>
        <mc:AlternateContent xmlns:mc="http://schemas.openxmlformats.org/markup-compatibility/2006" xmlns:p14="http://schemas.microsoft.com/office/powerpoint/2010/main">
          <mc:Choice Requires="p14">
            <p:contentPart p14:bwMode="auto" r:id="rId100">
              <p14:nvContentPartPr>
                <p14:cNvPr id="65" name="Ink 64">
                  <a:extLst>
                    <a:ext uri="{FF2B5EF4-FFF2-40B4-BE49-F238E27FC236}">
                      <a16:creationId xmlns:a16="http://schemas.microsoft.com/office/drawing/2014/main" id="{FD7CB692-01BA-4F77-B23F-AF988BA308CD}"/>
                    </a:ext>
                  </a:extLst>
                </p14:cNvPr>
                <p14:cNvContentPartPr/>
                <p14:nvPr/>
              </p14:nvContentPartPr>
              <p14:xfrm>
                <a:off x="7769457" y="3779558"/>
                <a:ext cx="90360" cy="78480"/>
              </p14:xfrm>
            </p:contentPart>
          </mc:Choice>
          <mc:Fallback xmlns="">
            <p:pic>
              <p:nvPicPr>
                <p:cNvPr id="65" name="Ink 64">
                  <a:extLst>
                    <a:ext uri="{FF2B5EF4-FFF2-40B4-BE49-F238E27FC236}">
                      <a16:creationId xmlns:a16="http://schemas.microsoft.com/office/drawing/2014/main" id="{FD7CB692-01BA-4F77-B23F-AF988BA308CD}"/>
                    </a:ext>
                  </a:extLst>
                </p:cNvPr>
                <p:cNvPicPr/>
                <p:nvPr/>
              </p:nvPicPr>
              <p:blipFill>
                <a:blip r:embed="rId101"/>
                <a:stretch>
                  <a:fillRect/>
                </a:stretch>
              </p:blipFill>
              <p:spPr>
                <a:xfrm>
                  <a:off x="7760817" y="3770918"/>
                  <a:ext cx="108000" cy="9612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66" name="Ink 65">
                  <a:extLst>
                    <a:ext uri="{FF2B5EF4-FFF2-40B4-BE49-F238E27FC236}">
                      <a16:creationId xmlns:a16="http://schemas.microsoft.com/office/drawing/2014/main" id="{AB56431A-043E-4F93-8F8A-081D0EA0FB39}"/>
                    </a:ext>
                  </a:extLst>
                </p14:cNvPr>
                <p14:cNvContentPartPr/>
                <p14:nvPr/>
              </p14:nvContentPartPr>
              <p14:xfrm>
                <a:off x="7776297" y="3754718"/>
                <a:ext cx="52560" cy="174960"/>
              </p14:xfrm>
            </p:contentPart>
          </mc:Choice>
          <mc:Fallback xmlns="">
            <p:pic>
              <p:nvPicPr>
                <p:cNvPr id="66" name="Ink 65">
                  <a:extLst>
                    <a:ext uri="{FF2B5EF4-FFF2-40B4-BE49-F238E27FC236}">
                      <a16:creationId xmlns:a16="http://schemas.microsoft.com/office/drawing/2014/main" id="{AB56431A-043E-4F93-8F8A-081D0EA0FB39}"/>
                    </a:ext>
                  </a:extLst>
                </p:cNvPr>
                <p:cNvPicPr/>
                <p:nvPr/>
              </p:nvPicPr>
              <p:blipFill>
                <a:blip r:embed="rId103"/>
                <a:stretch>
                  <a:fillRect/>
                </a:stretch>
              </p:blipFill>
              <p:spPr>
                <a:xfrm>
                  <a:off x="7767297" y="3746078"/>
                  <a:ext cx="70200" cy="19260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67" name="Ink 66">
                  <a:extLst>
                    <a:ext uri="{FF2B5EF4-FFF2-40B4-BE49-F238E27FC236}">
                      <a16:creationId xmlns:a16="http://schemas.microsoft.com/office/drawing/2014/main" id="{195A4FC3-8675-498D-AC9A-E23D89EEDFDB}"/>
                    </a:ext>
                  </a:extLst>
                </p14:cNvPr>
                <p14:cNvContentPartPr/>
                <p14:nvPr/>
              </p14:nvContentPartPr>
              <p14:xfrm>
                <a:off x="7895097" y="3796478"/>
                <a:ext cx="79560" cy="101520"/>
              </p14:xfrm>
            </p:contentPart>
          </mc:Choice>
          <mc:Fallback xmlns="">
            <p:pic>
              <p:nvPicPr>
                <p:cNvPr id="67" name="Ink 66">
                  <a:extLst>
                    <a:ext uri="{FF2B5EF4-FFF2-40B4-BE49-F238E27FC236}">
                      <a16:creationId xmlns:a16="http://schemas.microsoft.com/office/drawing/2014/main" id="{195A4FC3-8675-498D-AC9A-E23D89EEDFDB}"/>
                    </a:ext>
                  </a:extLst>
                </p:cNvPr>
                <p:cNvPicPr/>
                <p:nvPr/>
              </p:nvPicPr>
              <p:blipFill>
                <a:blip r:embed="rId105"/>
                <a:stretch>
                  <a:fillRect/>
                </a:stretch>
              </p:blipFill>
              <p:spPr>
                <a:xfrm>
                  <a:off x="7886097" y="3787838"/>
                  <a:ext cx="97200" cy="11916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68" name="Ink 67">
                  <a:extLst>
                    <a:ext uri="{FF2B5EF4-FFF2-40B4-BE49-F238E27FC236}">
                      <a16:creationId xmlns:a16="http://schemas.microsoft.com/office/drawing/2014/main" id="{3585F691-F964-4A47-BFC0-63E05A9593A6}"/>
                    </a:ext>
                  </a:extLst>
                </p14:cNvPr>
                <p14:cNvContentPartPr/>
                <p14:nvPr/>
              </p14:nvContentPartPr>
              <p14:xfrm>
                <a:off x="8007777" y="3775598"/>
                <a:ext cx="74520" cy="89640"/>
              </p14:xfrm>
            </p:contentPart>
          </mc:Choice>
          <mc:Fallback xmlns="">
            <p:pic>
              <p:nvPicPr>
                <p:cNvPr id="68" name="Ink 67">
                  <a:extLst>
                    <a:ext uri="{FF2B5EF4-FFF2-40B4-BE49-F238E27FC236}">
                      <a16:creationId xmlns:a16="http://schemas.microsoft.com/office/drawing/2014/main" id="{3585F691-F964-4A47-BFC0-63E05A9593A6}"/>
                    </a:ext>
                  </a:extLst>
                </p:cNvPr>
                <p:cNvPicPr/>
                <p:nvPr/>
              </p:nvPicPr>
              <p:blipFill>
                <a:blip r:embed="rId107"/>
                <a:stretch>
                  <a:fillRect/>
                </a:stretch>
              </p:blipFill>
              <p:spPr>
                <a:xfrm>
                  <a:off x="7998777" y="3766958"/>
                  <a:ext cx="92160" cy="107280"/>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69" name="Ink 68">
                  <a:extLst>
                    <a:ext uri="{FF2B5EF4-FFF2-40B4-BE49-F238E27FC236}">
                      <a16:creationId xmlns:a16="http://schemas.microsoft.com/office/drawing/2014/main" id="{4F05D166-A8A9-4399-9FC7-0DFA49A1667E}"/>
                    </a:ext>
                  </a:extLst>
                </p14:cNvPr>
                <p14:cNvContentPartPr/>
                <p14:nvPr/>
              </p14:nvContentPartPr>
              <p14:xfrm>
                <a:off x="8112537" y="3783518"/>
                <a:ext cx="47160" cy="52560"/>
              </p14:xfrm>
            </p:contentPart>
          </mc:Choice>
          <mc:Fallback xmlns="">
            <p:pic>
              <p:nvPicPr>
                <p:cNvPr id="69" name="Ink 68">
                  <a:extLst>
                    <a:ext uri="{FF2B5EF4-FFF2-40B4-BE49-F238E27FC236}">
                      <a16:creationId xmlns:a16="http://schemas.microsoft.com/office/drawing/2014/main" id="{4F05D166-A8A9-4399-9FC7-0DFA49A1667E}"/>
                    </a:ext>
                  </a:extLst>
                </p:cNvPr>
                <p:cNvPicPr/>
                <p:nvPr/>
              </p:nvPicPr>
              <p:blipFill>
                <a:blip r:embed="rId109"/>
                <a:stretch>
                  <a:fillRect/>
                </a:stretch>
              </p:blipFill>
              <p:spPr>
                <a:xfrm>
                  <a:off x="8103897" y="3774878"/>
                  <a:ext cx="64800" cy="7020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70" name="Ink 69">
                  <a:extLst>
                    <a:ext uri="{FF2B5EF4-FFF2-40B4-BE49-F238E27FC236}">
                      <a16:creationId xmlns:a16="http://schemas.microsoft.com/office/drawing/2014/main" id="{FA3FD7A8-1B2F-49CF-BCAB-1C54C11825B5}"/>
                    </a:ext>
                  </a:extLst>
                </p14:cNvPr>
                <p14:cNvContentPartPr/>
                <p14:nvPr/>
              </p14:nvContentPartPr>
              <p14:xfrm>
                <a:off x="8201457" y="3782798"/>
                <a:ext cx="7920" cy="47880"/>
              </p14:xfrm>
            </p:contentPart>
          </mc:Choice>
          <mc:Fallback xmlns="">
            <p:pic>
              <p:nvPicPr>
                <p:cNvPr id="70" name="Ink 69">
                  <a:extLst>
                    <a:ext uri="{FF2B5EF4-FFF2-40B4-BE49-F238E27FC236}">
                      <a16:creationId xmlns:a16="http://schemas.microsoft.com/office/drawing/2014/main" id="{FA3FD7A8-1B2F-49CF-BCAB-1C54C11825B5}"/>
                    </a:ext>
                  </a:extLst>
                </p:cNvPr>
                <p:cNvPicPr/>
                <p:nvPr/>
              </p:nvPicPr>
              <p:blipFill>
                <a:blip r:embed="rId111"/>
                <a:stretch>
                  <a:fillRect/>
                </a:stretch>
              </p:blipFill>
              <p:spPr>
                <a:xfrm>
                  <a:off x="8192457" y="3774158"/>
                  <a:ext cx="2556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71" name="Ink 70">
                  <a:extLst>
                    <a:ext uri="{FF2B5EF4-FFF2-40B4-BE49-F238E27FC236}">
                      <a16:creationId xmlns:a16="http://schemas.microsoft.com/office/drawing/2014/main" id="{234F326F-23BD-44B9-A92E-454DBF66E1B9}"/>
                    </a:ext>
                  </a:extLst>
                </p14:cNvPr>
                <p14:cNvContentPartPr/>
                <p14:nvPr/>
              </p14:nvContentPartPr>
              <p14:xfrm>
                <a:off x="8292177" y="3817718"/>
                <a:ext cx="51840" cy="7560"/>
              </p14:xfrm>
            </p:contentPart>
          </mc:Choice>
          <mc:Fallback xmlns="">
            <p:pic>
              <p:nvPicPr>
                <p:cNvPr id="71" name="Ink 70">
                  <a:extLst>
                    <a:ext uri="{FF2B5EF4-FFF2-40B4-BE49-F238E27FC236}">
                      <a16:creationId xmlns:a16="http://schemas.microsoft.com/office/drawing/2014/main" id="{234F326F-23BD-44B9-A92E-454DBF66E1B9}"/>
                    </a:ext>
                  </a:extLst>
                </p:cNvPr>
                <p:cNvPicPr/>
                <p:nvPr/>
              </p:nvPicPr>
              <p:blipFill>
                <a:blip r:embed="rId113"/>
                <a:stretch>
                  <a:fillRect/>
                </a:stretch>
              </p:blipFill>
              <p:spPr>
                <a:xfrm>
                  <a:off x="8283537" y="3808718"/>
                  <a:ext cx="69480"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72" name="Ink 71">
                  <a:extLst>
                    <a:ext uri="{FF2B5EF4-FFF2-40B4-BE49-F238E27FC236}">
                      <a16:creationId xmlns:a16="http://schemas.microsoft.com/office/drawing/2014/main" id="{A877D2CC-4F1F-41E6-A976-29A79B3958EE}"/>
                    </a:ext>
                  </a:extLst>
                </p14:cNvPr>
                <p14:cNvContentPartPr/>
                <p14:nvPr/>
              </p14:nvContentPartPr>
              <p14:xfrm>
                <a:off x="8452737" y="3817718"/>
                <a:ext cx="7560" cy="360"/>
              </p14:xfrm>
            </p:contentPart>
          </mc:Choice>
          <mc:Fallback xmlns="">
            <p:pic>
              <p:nvPicPr>
                <p:cNvPr id="72" name="Ink 71">
                  <a:extLst>
                    <a:ext uri="{FF2B5EF4-FFF2-40B4-BE49-F238E27FC236}">
                      <a16:creationId xmlns:a16="http://schemas.microsoft.com/office/drawing/2014/main" id="{A877D2CC-4F1F-41E6-A976-29A79B3958EE}"/>
                    </a:ext>
                  </a:extLst>
                </p:cNvPr>
                <p:cNvPicPr/>
                <p:nvPr/>
              </p:nvPicPr>
              <p:blipFill>
                <a:blip r:embed="rId115"/>
                <a:stretch>
                  <a:fillRect/>
                </a:stretch>
              </p:blipFill>
              <p:spPr>
                <a:xfrm>
                  <a:off x="8443737" y="3808718"/>
                  <a:ext cx="25200" cy="18000"/>
                </a:xfrm>
                <a:prstGeom prst="rect">
                  <a:avLst/>
                </a:prstGeom>
              </p:spPr>
            </p:pic>
          </mc:Fallback>
        </mc:AlternateContent>
      </p:grpSp>
      <p:sp>
        <p:nvSpPr>
          <p:cNvPr id="74" name="TextBox 73">
            <a:extLst>
              <a:ext uri="{FF2B5EF4-FFF2-40B4-BE49-F238E27FC236}">
                <a16:creationId xmlns:a16="http://schemas.microsoft.com/office/drawing/2014/main" id="{EABD5123-7F3E-4FD8-BE01-4D02616F6FBE}"/>
              </a:ext>
            </a:extLst>
          </p:cNvPr>
          <p:cNvSpPr txBox="1"/>
          <p:nvPr/>
        </p:nvSpPr>
        <p:spPr>
          <a:xfrm>
            <a:off x="161129" y="1195102"/>
            <a:ext cx="3588568" cy="646331"/>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solidFill>
                <a:latin typeface="+mn-lt"/>
              </a:rPr>
              <a:t>Sampling Distribution of the MEAN</a:t>
            </a:r>
          </a:p>
        </p:txBody>
      </p:sp>
      <p:sp>
        <p:nvSpPr>
          <p:cNvPr id="75" name="TextBox 74">
            <a:extLst>
              <a:ext uri="{FF2B5EF4-FFF2-40B4-BE49-F238E27FC236}">
                <a16:creationId xmlns:a16="http://schemas.microsoft.com/office/drawing/2014/main" id="{981143FD-A90E-495D-BFC0-DC7E14C8A702}"/>
              </a:ext>
            </a:extLst>
          </p:cNvPr>
          <p:cNvSpPr txBox="1"/>
          <p:nvPr/>
        </p:nvSpPr>
        <p:spPr>
          <a:xfrm>
            <a:off x="6003297" y="1730768"/>
            <a:ext cx="3200807"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Normal Distribution</a:t>
            </a:r>
          </a:p>
        </p:txBody>
      </p:sp>
    </p:spTree>
    <p:extLst>
      <p:ext uri="{BB962C8B-B14F-4D97-AF65-F5344CB8AC3E}">
        <p14:creationId xmlns:p14="http://schemas.microsoft.com/office/powerpoint/2010/main" val="30657556"/>
      </p:ext>
    </p:extLst>
  </p:cSld>
  <p:clrMapOvr>
    <a:masterClrMapping/>
  </p:clrMapOvr>
  <p:transition spd="med">
    <p:wipe dir="r"/>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5F4E2-C99F-4C9A-9438-DEDE4EC9CA88}"/>
              </a:ext>
            </a:extLst>
          </p:cNvPr>
          <p:cNvSpPr>
            <a:spLocks noGrp="1"/>
          </p:cNvSpPr>
          <p:nvPr>
            <p:ph type="title"/>
          </p:nvPr>
        </p:nvSpPr>
        <p:spPr>
          <a:xfrm>
            <a:off x="0" y="22860"/>
            <a:ext cx="4295219" cy="640080"/>
          </a:xfrm>
        </p:spPr>
        <p:txBody>
          <a:bodyPr/>
          <a:lstStyle/>
          <a:p>
            <a:r>
              <a:rPr lang="en-US" dirty="0"/>
              <a:t>Central Limit Theorem</a:t>
            </a:r>
          </a:p>
        </p:txBody>
      </p:sp>
      <p:grpSp>
        <p:nvGrpSpPr>
          <p:cNvPr id="4" name="Group 3">
            <a:extLst>
              <a:ext uri="{FF2B5EF4-FFF2-40B4-BE49-F238E27FC236}">
                <a16:creationId xmlns:a16="http://schemas.microsoft.com/office/drawing/2014/main" id="{69C0FA5D-35E2-4719-8F2D-F62EF0D5CB1E}"/>
              </a:ext>
            </a:extLst>
          </p:cNvPr>
          <p:cNvGrpSpPr/>
          <p:nvPr/>
        </p:nvGrpSpPr>
        <p:grpSpPr>
          <a:xfrm>
            <a:off x="711778" y="1655272"/>
            <a:ext cx="2478600" cy="1243080"/>
            <a:chOff x="669897" y="1521278"/>
            <a:chExt cx="2478600" cy="1243080"/>
          </a:xfrm>
        </p:grpSpPr>
        <mc:AlternateContent xmlns:mc="http://schemas.openxmlformats.org/markup-compatibility/2006" xmlns:p14="http://schemas.microsoft.com/office/powerpoint/2010/main">
          <mc:Choice Requires="p14">
            <p:contentPart p14:bwMode="auto" r:id="rId2">
              <p14:nvContentPartPr>
                <p14:cNvPr id="5" name="Ink 4">
                  <a:extLst>
                    <a:ext uri="{FF2B5EF4-FFF2-40B4-BE49-F238E27FC236}">
                      <a16:creationId xmlns:a16="http://schemas.microsoft.com/office/drawing/2014/main" id="{67DF212E-5039-4547-8E4D-9D6A04B647E4}"/>
                    </a:ext>
                  </a:extLst>
                </p14:cNvPr>
                <p14:cNvContentPartPr/>
                <p14:nvPr/>
              </p14:nvContentPartPr>
              <p14:xfrm>
                <a:off x="836937" y="1521278"/>
                <a:ext cx="63720" cy="1243080"/>
              </p14:xfrm>
            </p:contentPart>
          </mc:Choice>
          <mc:Fallback xmlns="">
            <p:pic>
              <p:nvPicPr>
                <p:cNvPr id="5" name="Ink 4">
                  <a:extLst>
                    <a:ext uri="{FF2B5EF4-FFF2-40B4-BE49-F238E27FC236}">
                      <a16:creationId xmlns:a16="http://schemas.microsoft.com/office/drawing/2014/main" id="{67DF212E-5039-4547-8E4D-9D6A04B647E4}"/>
                    </a:ext>
                  </a:extLst>
                </p:cNvPr>
                <p:cNvPicPr/>
                <p:nvPr/>
              </p:nvPicPr>
              <p:blipFill>
                <a:blip r:embed="rId3"/>
                <a:stretch>
                  <a:fillRect/>
                </a:stretch>
              </p:blipFill>
              <p:spPr>
                <a:xfrm>
                  <a:off x="827937" y="1512638"/>
                  <a:ext cx="81360" cy="12607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6" name="Ink 5">
                  <a:extLst>
                    <a:ext uri="{FF2B5EF4-FFF2-40B4-BE49-F238E27FC236}">
                      <a16:creationId xmlns:a16="http://schemas.microsoft.com/office/drawing/2014/main" id="{2806D210-4605-4E8C-B08C-617A3A419530}"/>
                    </a:ext>
                  </a:extLst>
                </p14:cNvPr>
                <p14:cNvContentPartPr/>
                <p14:nvPr/>
              </p14:nvContentPartPr>
              <p14:xfrm>
                <a:off x="669897" y="2587598"/>
                <a:ext cx="1758600" cy="36720"/>
              </p14:xfrm>
            </p:contentPart>
          </mc:Choice>
          <mc:Fallback xmlns="">
            <p:pic>
              <p:nvPicPr>
                <p:cNvPr id="6" name="Ink 5">
                  <a:extLst>
                    <a:ext uri="{FF2B5EF4-FFF2-40B4-BE49-F238E27FC236}">
                      <a16:creationId xmlns:a16="http://schemas.microsoft.com/office/drawing/2014/main" id="{2806D210-4605-4E8C-B08C-617A3A419530}"/>
                    </a:ext>
                  </a:extLst>
                </p:cNvPr>
                <p:cNvPicPr/>
                <p:nvPr/>
              </p:nvPicPr>
              <p:blipFill>
                <a:blip r:embed="rId5"/>
                <a:stretch>
                  <a:fillRect/>
                </a:stretch>
              </p:blipFill>
              <p:spPr>
                <a:xfrm>
                  <a:off x="660897" y="2578598"/>
                  <a:ext cx="1776240" cy="543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7" name="Ink 6">
                  <a:extLst>
                    <a:ext uri="{FF2B5EF4-FFF2-40B4-BE49-F238E27FC236}">
                      <a16:creationId xmlns:a16="http://schemas.microsoft.com/office/drawing/2014/main" id="{8161947D-9A09-4FB8-804C-D15EDB8E0502}"/>
                    </a:ext>
                  </a:extLst>
                </p14:cNvPr>
                <p14:cNvContentPartPr/>
                <p14:nvPr/>
              </p14:nvContentPartPr>
              <p14:xfrm>
                <a:off x="921177" y="1540718"/>
                <a:ext cx="2227320" cy="839880"/>
              </p14:xfrm>
            </p:contentPart>
          </mc:Choice>
          <mc:Fallback xmlns="">
            <p:pic>
              <p:nvPicPr>
                <p:cNvPr id="7" name="Ink 6">
                  <a:extLst>
                    <a:ext uri="{FF2B5EF4-FFF2-40B4-BE49-F238E27FC236}">
                      <a16:creationId xmlns:a16="http://schemas.microsoft.com/office/drawing/2014/main" id="{8161947D-9A09-4FB8-804C-D15EDB8E0502}"/>
                    </a:ext>
                  </a:extLst>
                </p:cNvPr>
                <p:cNvPicPr/>
                <p:nvPr/>
              </p:nvPicPr>
              <p:blipFill>
                <a:blip r:embed="rId7"/>
                <a:stretch>
                  <a:fillRect/>
                </a:stretch>
              </p:blipFill>
              <p:spPr>
                <a:xfrm>
                  <a:off x="912177" y="1531718"/>
                  <a:ext cx="2244960" cy="857520"/>
                </a:xfrm>
                <a:prstGeom prst="rect">
                  <a:avLst/>
                </a:prstGeom>
              </p:spPr>
            </p:pic>
          </mc:Fallback>
        </mc:AlternateContent>
      </p:grpSp>
      <p:pic>
        <p:nvPicPr>
          <p:cNvPr id="8" name="Picture 7">
            <a:extLst>
              <a:ext uri="{FF2B5EF4-FFF2-40B4-BE49-F238E27FC236}">
                <a16:creationId xmlns:a16="http://schemas.microsoft.com/office/drawing/2014/main" id="{F8779B53-938C-4D0B-9920-8BDECC4AF6C2}"/>
              </a:ext>
            </a:extLst>
          </p:cNvPr>
          <p:cNvPicPr>
            <a:picLocks noChangeAspect="1"/>
          </p:cNvPicPr>
          <p:nvPr/>
        </p:nvPicPr>
        <p:blipFill>
          <a:blip r:embed="rId8"/>
          <a:stretch>
            <a:fillRect/>
          </a:stretch>
        </p:blipFill>
        <p:spPr>
          <a:xfrm>
            <a:off x="4418496" y="1320984"/>
            <a:ext cx="4013726" cy="1547336"/>
          </a:xfrm>
          <a:prstGeom prst="rect">
            <a:avLst/>
          </a:prstGeom>
        </p:spPr>
      </p:pic>
      <p:sp>
        <p:nvSpPr>
          <p:cNvPr id="9" name="TextBox 8">
            <a:extLst>
              <a:ext uri="{FF2B5EF4-FFF2-40B4-BE49-F238E27FC236}">
                <a16:creationId xmlns:a16="http://schemas.microsoft.com/office/drawing/2014/main" id="{CC24C145-5C49-4D83-81D7-EF607B9E9219}"/>
              </a:ext>
            </a:extLst>
          </p:cNvPr>
          <p:cNvSpPr txBox="1"/>
          <p:nvPr/>
        </p:nvSpPr>
        <p:spPr>
          <a:xfrm>
            <a:off x="279206" y="928273"/>
            <a:ext cx="3441215"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Original distribution </a:t>
            </a:r>
            <a:endParaRPr lang="en-US" sz="1400" b="1" dirty="0">
              <a:solidFill>
                <a:schemeClr val="bg2"/>
              </a:solidFill>
              <a:latin typeface="+mn-lt"/>
            </a:endParaRPr>
          </a:p>
        </p:txBody>
      </p:sp>
      <p:sp>
        <p:nvSpPr>
          <p:cNvPr id="10" name="TextBox 9">
            <a:extLst>
              <a:ext uri="{FF2B5EF4-FFF2-40B4-BE49-F238E27FC236}">
                <a16:creationId xmlns:a16="http://schemas.microsoft.com/office/drawing/2014/main" id="{8F5ED67B-8421-410F-935C-BE90D5E52911}"/>
              </a:ext>
            </a:extLst>
          </p:cNvPr>
          <p:cNvSpPr txBox="1"/>
          <p:nvPr/>
        </p:nvSpPr>
        <p:spPr>
          <a:xfrm>
            <a:off x="4948539" y="913351"/>
            <a:ext cx="3441215"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Sampling distribution </a:t>
            </a:r>
            <a:endParaRPr lang="en-US" sz="1400" b="1" dirty="0">
              <a:solidFill>
                <a:schemeClr val="bg2"/>
              </a:solidFill>
              <a:latin typeface="+mn-lt"/>
            </a:endParaRPr>
          </a:p>
        </p:txBody>
      </p:sp>
      <p:sp>
        <p:nvSpPr>
          <p:cNvPr id="11" name="TextBox 10">
            <a:extLst>
              <a:ext uri="{FF2B5EF4-FFF2-40B4-BE49-F238E27FC236}">
                <a16:creationId xmlns:a16="http://schemas.microsoft.com/office/drawing/2014/main" id="{6C91ED42-F6E8-4528-8E84-668D4C8B4008}"/>
              </a:ext>
            </a:extLst>
          </p:cNvPr>
          <p:cNvSpPr txBox="1"/>
          <p:nvPr/>
        </p:nvSpPr>
        <p:spPr>
          <a:xfrm>
            <a:off x="373438" y="3163686"/>
            <a:ext cx="6205356" cy="738664"/>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No matter the underlying distribution, the sampling distribution approximates a normal distribution, and the mean of the sampling distribution will be same as the population mean</a:t>
            </a:r>
          </a:p>
        </p:txBody>
      </p:sp>
      <p:sp>
        <p:nvSpPr>
          <p:cNvPr id="12" name="Rectangle 11">
            <a:extLst>
              <a:ext uri="{FF2B5EF4-FFF2-40B4-BE49-F238E27FC236}">
                <a16:creationId xmlns:a16="http://schemas.microsoft.com/office/drawing/2014/main" id="{6725BC00-9303-484B-ABAB-A7945E85F11B}"/>
              </a:ext>
            </a:extLst>
          </p:cNvPr>
          <p:cNvSpPr/>
          <p:nvPr/>
        </p:nvSpPr>
        <p:spPr>
          <a:xfrm>
            <a:off x="184974" y="3218510"/>
            <a:ext cx="188464" cy="599508"/>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3" name="Rectangle 12">
            <a:extLst>
              <a:ext uri="{FF2B5EF4-FFF2-40B4-BE49-F238E27FC236}">
                <a16:creationId xmlns:a16="http://schemas.microsoft.com/office/drawing/2014/main" id="{E7772B37-3DD2-48A0-8E29-14FE716C0269}"/>
              </a:ext>
            </a:extLst>
          </p:cNvPr>
          <p:cNvSpPr/>
          <p:nvPr/>
        </p:nvSpPr>
        <p:spPr>
          <a:xfrm>
            <a:off x="6756788" y="3218510"/>
            <a:ext cx="1807859" cy="154733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1600" dirty="0">
                <a:solidFill>
                  <a:schemeClr val="tx2"/>
                </a:solidFill>
                <a:latin typeface="+mn-lt"/>
              </a:rPr>
              <a:t>Usually for CLT to be applied with need sample size of at least </a:t>
            </a:r>
            <a:r>
              <a:rPr lang="en-US" sz="1600" b="1" dirty="0">
                <a:solidFill>
                  <a:schemeClr val="tx2"/>
                </a:solidFill>
                <a:latin typeface="+mn-lt"/>
              </a:rPr>
              <a:t>30</a:t>
            </a:r>
            <a:r>
              <a:rPr lang="en-US" sz="1600" dirty="0">
                <a:solidFill>
                  <a:schemeClr val="tx2"/>
                </a:solidFill>
                <a:latin typeface="+mn-lt"/>
              </a:rPr>
              <a:t> observations</a:t>
            </a:r>
          </a:p>
        </p:txBody>
      </p:sp>
      <p:grpSp>
        <p:nvGrpSpPr>
          <p:cNvPr id="29" name="Group 28">
            <a:extLst>
              <a:ext uri="{FF2B5EF4-FFF2-40B4-BE49-F238E27FC236}">
                <a16:creationId xmlns:a16="http://schemas.microsoft.com/office/drawing/2014/main" id="{514CDB31-EDC9-4278-A60D-6B7938E9EDE0}"/>
              </a:ext>
            </a:extLst>
          </p:cNvPr>
          <p:cNvGrpSpPr/>
          <p:nvPr/>
        </p:nvGrpSpPr>
        <p:grpSpPr>
          <a:xfrm>
            <a:off x="7706097" y="1514275"/>
            <a:ext cx="1128600" cy="679320"/>
            <a:chOff x="7706097" y="1514275"/>
            <a:chExt cx="1128600" cy="679320"/>
          </a:xfrm>
        </p:grpSpPr>
        <mc:AlternateContent xmlns:mc="http://schemas.openxmlformats.org/markup-compatibility/2006" xmlns:p14="http://schemas.microsoft.com/office/powerpoint/2010/main">
          <mc:Choice Requires="p14">
            <p:contentPart p14:bwMode="auto" r:id="rId9">
              <p14:nvContentPartPr>
                <p14:cNvPr id="14" name="Ink 13">
                  <a:extLst>
                    <a:ext uri="{FF2B5EF4-FFF2-40B4-BE49-F238E27FC236}">
                      <a16:creationId xmlns:a16="http://schemas.microsoft.com/office/drawing/2014/main" id="{67B1361C-8F18-405F-B256-EE432185C2E4}"/>
                    </a:ext>
                  </a:extLst>
                </p14:cNvPr>
                <p14:cNvContentPartPr/>
                <p14:nvPr/>
              </p14:nvContentPartPr>
              <p14:xfrm>
                <a:off x="7706097" y="1710475"/>
                <a:ext cx="111960" cy="203400"/>
              </p14:xfrm>
            </p:contentPart>
          </mc:Choice>
          <mc:Fallback xmlns="">
            <p:pic>
              <p:nvPicPr>
                <p:cNvPr id="14" name="Ink 13">
                  <a:extLst>
                    <a:ext uri="{FF2B5EF4-FFF2-40B4-BE49-F238E27FC236}">
                      <a16:creationId xmlns:a16="http://schemas.microsoft.com/office/drawing/2014/main" id="{67B1361C-8F18-405F-B256-EE432185C2E4}"/>
                    </a:ext>
                  </a:extLst>
                </p:cNvPr>
                <p:cNvPicPr/>
                <p:nvPr/>
              </p:nvPicPr>
              <p:blipFill>
                <a:blip r:embed="rId10"/>
                <a:stretch>
                  <a:fillRect/>
                </a:stretch>
              </p:blipFill>
              <p:spPr>
                <a:xfrm>
                  <a:off x="7697097" y="1701835"/>
                  <a:ext cx="129600" cy="22104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5" name="Ink 14">
                  <a:extLst>
                    <a:ext uri="{FF2B5EF4-FFF2-40B4-BE49-F238E27FC236}">
                      <a16:creationId xmlns:a16="http://schemas.microsoft.com/office/drawing/2014/main" id="{F08825A2-E2F9-490A-B262-08CE2F5CAD07}"/>
                    </a:ext>
                  </a:extLst>
                </p14:cNvPr>
                <p14:cNvContentPartPr/>
                <p14:nvPr/>
              </p14:nvContentPartPr>
              <p14:xfrm>
                <a:off x="7859097" y="1576195"/>
                <a:ext cx="119520" cy="490680"/>
              </p14:xfrm>
            </p:contentPart>
          </mc:Choice>
          <mc:Fallback xmlns="">
            <p:pic>
              <p:nvPicPr>
                <p:cNvPr id="15" name="Ink 14">
                  <a:extLst>
                    <a:ext uri="{FF2B5EF4-FFF2-40B4-BE49-F238E27FC236}">
                      <a16:creationId xmlns:a16="http://schemas.microsoft.com/office/drawing/2014/main" id="{F08825A2-E2F9-490A-B262-08CE2F5CAD07}"/>
                    </a:ext>
                  </a:extLst>
                </p:cNvPr>
                <p:cNvPicPr/>
                <p:nvPr/>
              </p:nvPicPr>
              <p:blipFill>
                <a:blip r:embed="rId12"/>
                <a:stretch>
                  <a:fillRect/>
                </a:stretch>
              </p:blipFill>
              <p:spPr>
                <a:xfrm>
                  <a:off x="7850457" y="1567555"/>
                  <a:ext cx="137160" cy="50832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6" name="Ink 15">
                  <a:extLst>
                    <a:ext uri="{FF2B5EF4-FFF2-40B4-BE49-F238E27FC236}">
                      <a16:creationId xmlns:a16="http://schemas.microsoft.com/office/drawing/2014/main" id="{A751389F-F962-4641-86A5-48F83C3EFDCA}"/>
                    </a:ext>
                  </a:extLst>
                </p14:cNvPr>
                <p14:cNvContentPartPr/>
                <p14:nvPr/>
              </p14:nvContentPartPr>
              <p14:xfrm>
                <a:off x="7991937" y="1756915"/>
                <a:ext cx="147960" cy="148680"/>
              </p14:xfrm>
            </p:contentPart>
          </mc:Choice>
          <mc:Fallback xmlns="">
            <p:pic>
              <p:nvPicPr>
                <p:cNvPr id="16" name="Ink 15">
                  <a:extLst>
                    <a:ext uri="{FF2B5EF4-FFF2-40B4-BE49-F238E27FC236}">
                      <a16:creationId xmlns:a16="http://schemas.microsoft.com/office/drawing/2014/main" id="{A751389F-F962-4641-86A5-48F83C3EFDCA}"/>
                    </a:ext>
                  </a:extLst>
                </p:cNvPr>
                <p:cNvPicPr/>
                <p:nvPr/>
              </p:nvPicPr>
              <p:blipFill>
                <a:blip r:embed="rId14"/>
                <a:stretch>
                  <a:fillRect/>
                </a:stretch>
              </p:blipFill>
              <p:spPr>
                <a:xfrm>
                  <a:off x="7983297" y="1747915"/>
                  <a:ext cx="165600" cy="16632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8" name="Ink 17">
                  <a:extLst>
                    <a:ext uri="{FF2B5EF4-FFF2-40B4-BE49-F238E27FC236}">
                      <a16:creationId xmlns:a16="http://schemas.microsoft.com/office/drawing/2014/main" id="{175F7BB1-A7C1-46E6-ADEA-A9BE7FE84043}"/>
                    </a:ext>
                  </a:extLst>
                </p14:cNvPr>
                <p14:cNvContentPartPr/>
                <p14:nvPr/>
              </p14:nvContentPartPr>
              <p14:xfrm>
                <a:off x="8209737" y="1807315"/>
                <a:ext cx="20160" cy="84960"/>
              </p14:xfrm>
            </p:contentPart>
          </mc:Choice>
          <mc:Fallback xmlns="">
            <p:pic>
              <p:nvPicPr>
                <p:cNvPr id="18" name="Ink 17">
                  <a:extLst>
                    <a:ext uri="{FF2B5EF4-FFF2-40B4-BE49-F238E27FC236}">
                      <a16:creationId xmlns:a16="http://schemas.microsoft.com/office/drawing/2014/main" id="{175F7BB1-A7C1-46E6-ADEA-A9BE7FE84043}"/>
                    </a:ext>
                  </a:extLst>
                </p:cNvPr>
                <p:cNvPicPr/>
                <p:nvPr/>
              </p:nvPicPr>
              <p:blipFill>
                <a:blip r:embed="rId16"/>
                <a:stretch>
                  <a:fillRect/>
                </a:stretch>
              </p:blipFill>
              <p:spPr>
                <a:xfrm>
                  <a:off x="8200737" y="1798675"/>
                  <a:ext cx="37800" cy="1026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9" name="Ink 18">
                  <a:extLst>
                    <a:ext uri="{FF2B5EF4-FFF2-40B4-BE49-F238E27FC236}">
                      <a16:creationId xmlns:a16="http://schemas.microsoft.com/office/drawing/2014/main" id="{4CF6FB66-8AC4-4992-BBBD-150210516A4D}"/>
                    </a:ext>
                  </a:extLst>
                </p14:cNvPr>
                <p14:cNvContentPartPr/>
                <p14:nvPr/>
              </p14:nvContentPartPr>
              <p14:xfrm>
                <a:off x="8376057" y="1768435"/>
                <a:ext cx="187920" cy="50760"/>
              </p14:xfrm>
            </p:contentPart>
          </mc:Choice>
          <mc:Fallback xmlns="">
            <p:pic>
              <p:nvPicPr>
                <p:cNvPr id="19" name="Ink 18">
                  <a:extLst>
                    <a:ext uri="{FF2B5EF4-FFF2-40B4-BE49-F238E27FC236}">
                      <a16:creationId xmlns:a16="http://schemas.microsoft.com/office/drawing/2014/main" id="{4CF6FB66-8AC4-4992-BBBD-150210516A4D}"/>
                    </a:ext>
                  </a:extLst>
                </p:cNvPr>
                <p:cNvPicPr/>
                <p:nvPr/>
              </p:nvPicPr>
              <p:blipFill>
                <a:blip r:embed="rId18"/>
                <a:stretch>
                  <a:fillRect/>
                </a:stretch>
              </p:blipFill>
              <p:spPr>
                <a:xfrm>
                  <a:off x="8367417" y="1759795"/>
                  <a:ext cx="205560" cy="6840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0" name="Ink 19">
                  <a:extLst>
                    <a:ext uri="{FF2B5EF4-FFF2-40B4-BE49-F238E27FC236}">
                      <a16:creationId xmlns:a16="http://schemas.microsoft.com/office/drawing/2014/main" id="{4921B5F0-30BF-4B50-90E6-A3CF5FD604A5}"/>
                    </a:ext>
                  </a:extLst>
                </p14:cNvPr>
                <p14:cNvContentPartPr/>
                <p14:nvPr/>
              </p14:nvContentPartPr>
              <p14:xfrm>
                <a:off x="8585217" y="1661155"/>
                <a:ext cx="76320" cy="78120"/>
              </p14:xfrm>
            </p:contentPart>
          </mc:Choice>
          <mc:Fallback xmlns="">
            <p:pic>
              <p:nvPicPr>
                <p:cNvPr id="20" name="Ink 19">
                  <a:extLst>
                    <a:ext uri="{FF2B5EF4-FFF2-40B4-BE49-F238E27FC236}">
                      <a16:creationId xmlns:a16="http://schemas.microsoft.com/office/drawing/2014/main" id="{4921B5F0-30BF-4B50-90E6-A3CF5FD604A5}"/>
                    </a:ext>
                  </a:extLst>
                </p:cNvPr>
                <p:cNvPicPr/>
                <p:nvPr/>
              </p:nvPicPr>
              <p:blipFill>
                <a:blip r:embed="rId20"/>
                <a:stretch>
                  <a:fillRect/>
                </a:stretch>
              </p:blipFill>
              <p:spPr>
                <a:xfrm>
                  <a:off x="8576217" y="1652155"/>
                  <a:ext cx="93960" cy="9576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21" name="Ink 20">
                  <a:extLst>
                    <a:ext uri="{FF2B5EF4-FFF2-40B4-BE49-F238E27FC236}">
                      <a16:creationId xmlns:a16="http://schemas.microsoft.com/office/drawing/2014/main" id="{6F9ABCCC-C501-4B8E-A7CB-D400283D3D0B}"/>
                    </a:ext>
                  </a:extLst>
                </p14:cNvPr>
                <p14:cNvContentPartPr/>
                <p14:nvPr/>
              </p14:nvContentPartPr>
              <p14:xfrm>
                <a:off x="8390097" y="1877515"/>
                <a:ext cx="323280" cy="17640"/>
              </p14:xfrm>
            </p:contentPart>
          </mc:Choice>
          <mc:Fallback xmlns="">
            <p:pic>
              <p:nvPicPr>
                <p:cNvPr id="21" name="Ink 20">
                  <a:extLst>
                    <a:ext uri="{FF2B5EF4-FFF2-40B4-BE49-F238E27FC236}">
                      <a16:creationId xmlns:a16="http://schemas.microsoft.com/office/drawing/2014/main" id="{6F9ABCCC-C501-4B8E-A7CB-D400283D3D0B}"/>
                    </a:ext>
                  </a:extLst>
                </p:cNvPr>
                <p:cNvPicPr/>
                <p:nvPr/>
              </p:nvPicPr>
              <p:blipFill>
                <a:blip r:embed="rId22"/>
                <a:stretch>
                  <a:fillRect/>
                </a:stretch>
              </p:blipFill>
              <p:spPr>
                <a:xfrm>
                  <a:off x="8381097" y="1868515"/>
                  <a:ext cx="340920" cy="35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24" name="Ink 23">
                  <a:extLst>
                    <a:ext uri="{FF2B5EF4-FFF2-40B4-BE49-F238E27FC236}">
                      <a16:creationId xmlns:a16="http://schemas.microsoft.com/office/drawing/2014/main" id="{3FFD77F7-F515-4ACD-B9EF-8FC78CC46E9B}"/>
                    </a:ext>
                  </a:extLst>
                </p14:cNvPr>
                <p14:cNvContentPartPr/>
                <p14:nvPr/>
              </p14:nvContentPartPr>
              <p14:xfrm>
                <a:off x="8686377" y="1514275"/>
                <a:ext cx="148320" cy="679320"/>
              </p14:xfrm>
            </p:contentPart>
          </mc:Choice>
          <mc:Fallback xmlns="">
            <p:pic>
              <p:nvPicPr>
                <p:cNvPr id="24" name="Ink 23">
                  <a:extLst>
                    <a:ext uri="{FF2B5EF4-FFF2-40B4-BE49-F238E27FC236}">
                      <a16:creationId xmlns:a16="http://schemas.microsoft.com/office/drawing/2014/main" id="{3FFD77F7-F515-4ACD-B9EF-8FC78CC46E9B}"/>
                    </a:ext>
                  </a:extLst>
                </p:cNvPr>
                <p:cNvPicPr/>
                <p:nvPr/>
              </p:nvPicPr>
              <p:blipFill>
                <a:blip r:embed="rId24"/>
                <a:stretch>
                  <a:fillRect/>
                </a:stretch>
              </p:blipFill>
              <p:spPr>
                <a:xfrm>
                  <a:off x="8677377" y="1505275"/>
                  <a:ext cx="165960" cy="69696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8" name="Ink 27">
                  <a:extLst>
                    <a:ext uri="{FF2B5EF4-FFF2-40B4-BE49-F238E27FC236}">
                      <a16:creationId xmlns:a16="http://schemas.microsoft.com/office/drawing/2014/main" id="{CBF6917F-DB44-4161-B42E-C858281ABBBB}"/>
                    </a:ext>
                  </a:extLst>
                </p14:cNvPr>
                <p14:cNvContentPartPr/>
                <p14:nvPr/>
              </p14:nvContentPartPr>
              <p14:xfrm>
                <a:off x="8476497" y="1968235"/>
                <a:ext cx="97560" cy="139680"/>
              </p14:xfrm>
            </p:contentPart>
          </mc:Choice>
          <mc:Fallback xmlns="">
            <p:pic>
              <p:nvPicPr>
                <p:cNvPr id="28" name="Ink 27">
                  <a:extLst>
                    <a:ext uri="{FF2B5EF4-FFF2-40B4-BE49-F238E27FC236}">
                      <a16:creationId xmlns:a16="http://schemas.microsoft.com/office/drawing/2014/main" id="{CBF6917F-DB44-4161-B42E-C858281ABBBB}"/>
                    </a:ext>
                  </a:extLst>
                </p:cNvPr>
                <p:cNvPicPr/>
                <p:nvPr/>
              </p:nvPicPr>
              <p:blipFill>
                <a:blip r:embed="rId26"/>
                <a:stretch>
                  <a:fillRect/>
                </a:stretch>
              </p:blipFill>
              <p:spPr>
                <a:xfrm>
                  <a:off x="8467497" y="1959235"/>
                  <a:ext cx="115200" cy="157320"/>
                </a:xfrm>
                <a:prstGeom prst="rect">
                  <a:avLst/>
                </a:prstGeom>
              </p:spPr>
            </p:pic>
          </mc:Fallback>
        </mc:AlternateContent>
      </p:grpSp>
      <p:grpSp>
        <p:nvGrpSpPr>
          <p:cNvPr id="35" name="Group 34">
            <a:extLst>
              <a:ext uri="{FF2B5EF4-FFF2-40B4-BE49-F238E27FC236}">
                <a16:creationId xmlns:a16="http://schemas.microsoft.com/office/drawing/2014/main" id="{11D89019-0806-462E-91FA-2CF2F2A6ABE4}"/>
              </a:ext>
            </a:extLst>
          </p:cNvPr>
          <p:cNvGrpSpPr/>
          <p:nvPr/>
        </p:nvGrpSpPr>
        <p:grpSpPr>
          <a:xfrm>
            <a:off x="104337" y="1856995"/>
            <a:ext cx="403920" cy="223200"/>
            <a:chOff x="104337" y="1856995"/>
            <a:chExt cx="403920" cy="223200"/>
          </a:xfrm>
        </p:grpSpPr>
        <mc:AlternateContent xmlns:mc="http://schemas.openxmlformats.org/markup-compatibility/2006" xmlns:p14="http://schemas.microsoft.com/office/powerpoint/2010/main">
          <mc:Choice Requires="p14">
            <p:contentPart p14:bwMode="auto" r:id="rId27">
              <p14:nvContentPartPr>
                <p14:cNvPr id="30" name="Ink 29">
                  <a:extLst>
                    <a:ext uri="{FF2B5EF4-FFF2-40B4-BE49-F238E27FC236}">
                      <a16:creationId xmlns:a16="http://schemas.microsoft.com/office/drawing/2014/main" id="{124E01D0-D2E8-4711-9DCC-F4E4A9C14678}"/>
                    </a:ext>
                  </a:extLst>
                </p14:cNvPr>
                <p14:cNvContentPartPr/>
                <p14:nvPr/>
              </p14:nvContentPartPr>
              <p14:xfrm>
                <a:off x="104337" y="1926475"/>
                <a:ext cx="145440" cy="153720"/>
              </p14:xfrm>
            </p:contentPart>
          </mc:Choice>
          <mc:Fallback xmlns="">
            <p:pic>
              <p:nvPicPr>
                <p:cNvPr id="30" name="Ink 29">
                  <a:extLst>
                    <a:ext uri="{FF2B5EF4-FFF2-40B4-BE49-F238E27FC236}">
                      <a16:creationId xmlns:a16="http://schemas.microsoft.com/office/drawing/2014/main" id="{124E01D0-D2E8-4711-9DCC-F4E4A9C14678}"/>
                    </a:ext>
                  </a:extLst>
                </p:cNvPr>
                <p:cNvPicPr/>
                <p:nvPr/>
              </p:nvPicPr>
              <p:blipFill>
                <a:blip r:embed="rId28"/>
                <a:stretch>
                  <a:fillRect/>
                </a:stretch>
              </p:blipFill>
              <p:spPr>
                <a:xfrm>
                  <a:off x="95697" y="1917475"/>
                  <a:ext cx="163080" cy="17136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31" name="Ink 30">
                  <a:extLst>
                    <a:ext uri="{FF2B5EF4-FFF2-40B4-BE49-F238E27FC236}">
                      <a16:creationId xmlns:a16="http://schemas.microsoft.com/office/drawing/2014/main" id="{89177487-C6E1-40D1-B28D-BD61321D9761}"/>
                    </a:ext>
                  </a:extLst>
                </p14:cNvPr>
                <p14:cNvContentPartPr/>
                <p14:nvPr/>
              </p14:nvContentPartPr>
              <p14:xfrm>
                <a:off x="281097" y="1955635"/>
                <a:ext cx="137160" cy="56160"/>
              </p14:xfrm>
            </p:contentPart>
          </mc:Choice>
          <mc:Fallback xmlns="">
            <p:pic>
              <p:nvPicPr>
                <p:cNvPr id="31" name="Ink 30">
                  <a:extLst>
                    <a:ext uri="{FF2B5EF4-FFF2-40B4-BE49-F238E27FC236}">
                      <a16:creationId xmlns:a16="http://schemas.microsoft.com/office/drawing/2014/main" id="{89177487-C6E1-40D1-B28D-BD61321D9761}"/>
                    </a:ext>
                  </a:extLst>
                </p:cNvPr>
                <p:cNvPicPr/>
                <p:nvPr/>
              </p:nvPicPr>
              <p:blipFill>
                <a:blip r:embed="rId30"/>
                <a:stretch>
                  <a:fillRect/>
                </a:stretch>
              </p:blipFill>
              <p:spPr>
                <a:xfrm>
                  <a:off x="272457" y="1946995"/>
                  <a:ext cx="15480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32" name="Ink 31">
                  <a:extLst>
                    <a:ext uri="{FF2B5EF4-FFF2-40B4-BE49-F238E27FC236}">
                      <a16:creationId xmlns:a16="http://schemas.microsoft.com/office/drawing/2014/main" id="{2FDA5ECC-EFB9-46D7-ADD4-C48D13149557}"/>
                    </a:ext>
                  </a:extLst>
                </p14:cNvPr>
                <p14:cNvContentPartPr/>
                <p14:nvPr/>
              </p14:nvContentPartPr>
              <p14:xfrm>
                <a:off x="404577" y="1856995"/>
                <a:ext cx="103680" cy="77760"/>
              </p14:xfrm>
            </p:contentPart>
          </mc:Choice>
          <mc:Fallback xmlns="">
            <p:pic>
              <p:nvPicPr>
                <p:cNvPr id="32" name="Ink 31">
                  <a:extLst>
                    <a:ext uri="{FF2B5EF4-FFF2-40B4-BE49-F238E27FC236}">
                      <a16:creationId xmlns:a16="http://schemas.microsoft.com/office/drawing/2014/main" id="{2FDA5ECC-EFB9-46D7-ADD4-C48D13149557}"/>
                    </a:ext>
                  </a:extLst>
                </p:cNvPr>
                <p:cNvPicPr/>
                <p:nvPr/>
              </p:nvPicPr>
              <p:blipFill>
                <a:blip r:embed="rId32"/>
                <a:stretch>
                  <a:fillRect/>
                </a:stretch>
              </p:blipFill>
              <p:spPr>
                <a:xfrm>
                  <a:off x="395937" y="1848355"/>
                  <a:ext cx="121320" cy="954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34" name="Ink 33">
                  <a:extLst>
                    <a:ext uri="{FF2B5EF4-FFF2-40B4-BE49-F238E27FC236}">
                      <a16:creationId xmlns:a16="http://schemas.microsoft.com/office/drawing/2014/main" id="{AFF3A8AC-157D-4B12-B887-5B24F08B28D7}"/>
                    </a:ext>
                  </a:extLst>
                </p14:cNvPr>
                <p14:cNvContentPartPr/>
                <p14:nvPr/>
              </p14:nvContentPartPr>
              <p14:xfrm>
                <a:off x="341937" y="1960315"/>
                <a:ext cx="10800" cy="15120"/>
              </p14:xfrm>
            </p:contentPart>
          </mc:Choice>
          <mc:Fallback xmlns="">
            <p:pic>
              <p:nvPicPr>
                <p:cNvPr id="34" name="Ink 33">
                  <a:extLst>
                    <a:ext uri="{FF2B5EF4-FFF2-40B4-BE49-F238E27FC236}">
                      <a16:creationId xmlns:a16="http://schemas.microsoft.com/office/drawing/2014/main" id="{AFF3A8AC-157D-4B12-B887-5B24F08B28D7}"/>
                    </a:ext>
                  </a:extLst>
                </p:cNvPr>
                <p:cNvPicPr/>
                <p:nvPr/>
              </p:nvPicPr>
              <p:blipFill>
                <a:blip r:embed="rId34"/>
                <a:stretch>
                  <a:fillRect/>
                </a:stretch>
              </p:blipFill>
              <p:spPr>
                <a:xfrm>
                  <a:off x="332937" y="1951675"/>
                  <a:ext cx="28440" cy="3276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5">
            <p14:nvContentPartPr>
              <p14:cNvPr id="36" name="Ink 35">
                <a:extLst>
                  <a:ext uri="{FF2B5EF4-FFF2-40B4-BE49-F238E27FC236}">
                    <a16:creationId xmlns:a16="http://schemas.microsoft.com/office/drawing/2014/main" id="{5837E66D-2498-4C3D-95B5-AB89EC23DC8D}"/>
                  </a:ext>
                </a:extLst>
              </p14:cNvPr>
              <p14:cNvContentPartPr/>
              <p14:nvPr/>
            </p14:nvContentPartPr>
            <p14:xfrm>
              <a:off x="-496143" y="1095595"/>
              <a:ext cx="360" cy="360"/>
            </p14:xfrm>
          </p:contentPart>
        </mc:Choice>
        <mc:Fallback xmlns="">
          <p:pic>
            <p:nvPicPr>
              <p:cNvPr id="36" name="Ink 35">
                <a:extLst>
                  <a:ext uri="{FF2B5EF4-FFF2-40B4-BE49-F238E27FC236}">
                    <a16:creationId xmlns:a16="http://schemas.microsoft.com/office/drawing/2014/main" id="{5837E66D-2498-4C3D-95B5-AB89EC23DC8D}"/>
                  </a:ext>
                </a:extLst>
              </p:cNvPr>
              <p:cNvPicPr/>
              <p:nvPr/>
            </p:nvPicPr>
            <p:blipFill>
              <a:blip r:embed="rId36"/>
              <a:stretch>
                <a:fillRect/>
              </a:stretch>
            </p:blipFill>
            <p:spPr>
              <a:xfrm>
                <a:off x="-504783" y="1086595"/>
                <a:ext cx="18000" cy="18000"/>
              </a:xfrm>
              <a:prstGeom prst="rect">
                <a:avLst/>
              </a:prstGeom>
            </p:spPr>
          </p:pic>
        </mc:Fallback>
      </mc:AlternateContent>
    </p:spTree>
    <p:extLst>
      <p:ext uri="{BB962C8B-B14F-4D97-AF65-F5344CB8AC3E}">
        <p14:creationId xmlns:p14="http://schemas.microsoft.com/office/powerpoint/2010/main" val="3012613294"/>
      </p:ext>
    </p:extLst>
  </p:cSld>
  <p:clrMapOvr>
    <a:masterClrMapping/>
  </p:clrMapOvr>
  <p:transition spd="med">
    <p:wipe dir="r"/>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AAB86-8B83-4388-9E31-E03CF8FFCD09}"/>
              </a:ext>
            </a:extLst>
          </p:cNvPr>
          <p:cNvSpPr>
            <a:spLocks noGrp="1"/>
          </p:cNvSpPr>
          <p:nvPr>
            <p:ph type="title"/>
          </p:nvPr>
        </p:nvSpPr>
        <p:spPr>
          <a:xfrm>
            <a:off x="0" y="0"/>
            <a:ext cx="4295219" cy="640080"/>
          </a:xfrm>
        </p:spPr>
        <p:txBody>
          <a:bodyPr/>
          <a:lstStyle/>
          <a:p>
            <a:r>
              <a:rPr lang="en-US" dirty="0"/>
              <a:t>Why CLT is important ? </a:t>
            </a:r>
          </a:p>
        </p:txBody>
      </p:sp>
      <p:sp>
        <p:nvSpPr>
          <p:cNvPr id="3" name="Content Placeholder 2">
            <a:extLst>
              <a:ext uri="{FF2B5EF4-FFF2-40B4-BE49-F238E27FC236}">
                <a16:creationId xmlns:a16="http://schemas.microsoft.com/office/drawing/2014/main" id="{08E511C3-797A-4799-81E2-1343734E3DF9}"/>
              </a:ext>
            </a:extLst>
          </p:cNvPr>
          <p:cNvSpPr>
            <a:spLocks noGrp="1"/>
          </p:cNvSpPr>
          <p:nvPr>
            <p:ph sz="half" idx="13"/>
          </p:nvPr>
        </p:nvSpPr>
        <p:spPr>
          <a:xfrm>
            <a:off x="162637" y="971550"/>
            <a:ext cx="7361967" cy="3200400"/>
          </a:xfrm>
        </p:spPr>
        <p:txBody>
          <a:bodyPr/>
          <a:lstStyle/>
          <a:p>
            <a:r>
              <a:rPr lang="en-US" dirty="0"/>
              <a:t>They approx. a wide variety of random variable</a:t>
            </a:r>
          </a:p>
          <a:p>
            <a:r>
              <a:rPr lang="en-US" dirty="0"/>
              <a:t>Distributions of sample with large enough sample sizes could be approximated to normal</a:t>
            </a:r>
          </a:p>
          <a:p>
            <a:r>
              <a:rPr lang="en-US" dirty="0"/>
              <a:t>All Computable statistics are elegant</a:t>
            </a:r>
          </a:p>
          <a:p>
            <a:r>
              <a:rPr lang="en-US" dirty="0"/>
              <a:t>Decision based on normal distribution insights have a good track record</a:t>
            </a:r>
          </a:p>
        </p:txBody>
      </p:sp>
      <p:sp>
        <p:nvSpPr>
          <p:cNvPr id="4" name="Rectangle 3">
            <a:extLst>
              <a:ext uri="{FF2B5EF4-FFF2-40B4-BE49-F238E27FC236}">
                <a16:creationId xmlns:a16="http://schemas.microsoft.com/office/drawing/2014/main" id="{F6AB9167-933D-4D18-BC21-28DC93BCCFFC}"/>
              </a:ext>
            </a:extLst>
          </p:cNvPr>
          <p:cNvSpPr/>
          <p:nvPr/>
        </p:nvSpPr>
        <p:spPr>
          <a:xfrm>
            <a:off x="823658" y="2645478"/>
            <a:ext cx="7056934" cy="164033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LT allows us to perform test, solve problems and make inferences using the normal distribution, even when the population is not normally distributed</a:t>
            </a:r>
          </a:p>
        </p:txBody>
      </p:sp>
    </p:spTree>
    <p:extLst>
      <p:ext uri="{BB962C8B-B14F-4D97-AF65-F5344CB8AC3E}">
        <p14:creationId xmlns:p14="http://schemas.microsoft.com/office/powerpoint/2010/main" val="4272512511"/>
      </p:ext>
    </p:extLst>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4B5D2-0728-491B-B188-E55DA3F71DBD}"/>
              </a:ext>
            </a:extLst>
          </p:cNvPr>
          <p:cNvSpPr>
            <a:spLocks noGrp="1"/>
          </p:cNvSpPr>
          <p:nvPr>
            <p:ph type="title"/>
          </p:nvPr>
        </p:nvSpPr>
        <p:spPr>
          <a:xfrm>
            <a:off x="80166" y="146626"/>
            <a:ext cx="8556530" cy="640080"/>
          </a:xfrm>
        </p:spPr>
        <p:txBody>
          <a:bodyPr/>
          <a:lstStyle/>
          <a:p>
            <a:r>
              <a:rPr lang="en-US" dirty="0"/>
              <a:t>Why Sample should be Random &amp; Representative? </a:t>
            </a:r>
          </a:p>
        </p:txBody>
      </p:sp>
      <p:sp>
        <p:nvSpPr>
          <p:cNvPr id="3" name="Content Placeholder 2">
            <a:extLst>
              <a:ext uri="{FF2B5EF4-FFF2-40B4-BE49-F238E27FC236}">
                <a16:creationId xmlns:a16="http://schemas.microsoft.com/office/drawing/2014/main" id="{FB513912-8764-42DB-B71C-BF2285B701A9}"/>
              </a:ext>
            </a:extLst>
          </p:cNvPr>
          <p:cNvSpPr>
            <a:spLocks noGrp="1"/>
          </p:cNvSpPr>
          <p:nvPr>
            <p:ph sz="half" idx="1"/>
          </p:nvPr>
        </p:nvSpPr>
        <p:spPr>
          <a:xfrm>
            <a:off x="186635" y="885589"/>
            <a:ext cx="8694317" cy="3780355"/>
          </a:xfrm>
        </p:spPr>
        <p:txBody>
          <a:bodyPr>
            <a:normAutofit/>
          </a:bodyPr>
          <a:lstStyle/>
          <a:p>
            <a:r>
              <a:rPr lang="en-US" sz="1800" dirty="0">
                <a:solidFill>
                  <a:schemeClr val="bg2">
                    <a:lumMod val="50000"/>
                    <a:lumOff val="50000"/>
                  </a:schemeClr>
                </a:solidFill>
              </a:rPr>
              <a:t>Sampling involves selecting units from a population of interest such that the sampling units </a:t>
            </a:r>
            <a:r>
              <a:rPr lang="en-US" sz="1800" b="1" dirty="0">
                <a:solidFill>
                  <a:schemeClr val="accent1"/>
                </a:solidFill>
              </a:rPr>
              <a:t>represent the whole population</a:t>
            </a:r>
            <a:r>
              <a:rPr lang="en-US" sz="1800" dirty="0">
                <a:solidFill>
                  <a:schemeClr val="bg2">
                    <a:lumMod val="50000"/>
                    <a:lumOff val="50000"/>
                  </a:schemeClr>
                </a:solidFill>
              </a:rPr>
              <a:t>. If sample is bias the resultant statistics can bias and will not be representative. </a:t>
            </a:r>
          </a:p>
          <a:p>
            <a:r>
              <a:rPr lang="en-US" sz="1800" dirty="0">
                <a:solidFill>
                  <a:schemeClr val="bg2">
                    <a:lumMod val="50000"/>
                    <a:lumOff val="50000"/>
                  </a:schemeClr>
                </a:solidFill>
              </a:rPr>
              <a:t>Random sampling is one such procedure that selects a sample of units from a population </a:t>
            </a:r>
            <a:r>
              <a:rPr lang="en-US" sz="1800" b="1" dirty="0">
                <a:solidFill>
                  <a:schemeClr val="accent1"/>
                </a:solidFill>
              </a:rPr>
              <a:t>by chance</a:t>
            </a:r>
            <a:r>
              <a:rPr lang="en-US" sz="1800" dirty="0">
                <a:solidFill>
                  <a:schemeClr val="bg2">
                    <a:lumMod val="50000"/>
                    <a:lumOff val="50000"/>
                  </a:schemeClr>
                </a:solidFill>
              </a:rPr>
              <a:t>, typically to </a:t>
            </a:r>
            <a:r>
              <a:rPr lang="en-US" sz="1800" b="1" dirty="0">
                <a:solidFill>
                  <a:schemeClr val="accent1"/>
                </a:solidFill>
              </a:rPr>
              <a:t>facilitate generalization </a:t>
            </a:r>
            <a:r>
              <a:rPr lang="en-US" sz="1800" dirty="0">
                <a:solidFill>
                  <a:schemeClr val="bg2">
                    <a:lumMod val="50000"/>
                    <a:lumOff val="50000"/>
                  </a:schemeClr>
                </a:solidFill>
              </a:rPr>
              <a:t>from the sample to the population. </a:t>
            </a:r>
          </a:p>
          <a:p>
            <a:r>
              <a:rPr lang="en-US" sz="1800" dirty="0">
                <a:solidFill>
                  <a:schemeClr val="bg2">
                    <a:lumMod val="50000"/>
                    <a:lumOff val="50000"/>
                  </a:schemeClr>
                </a:solidFill>
              </a:rPr>
              <a:t>Random sampling ensures that results obtained from your sample should approximate what would have been obtained </a:t>
            </a:r>
            <a:r>
              <a:rPr lang="en-US" sz="1800" b="1" dirty="0">
                <a:solidFill>
                  <a:schemeClr val="accent1"/>
                </a:solidFill>
              </a:rPr>
              <a:t>if the entire population had been measured</a:t>
            </a:r>
            <a:r>
              <a:rPr lang="en-US" sz="1800" dirty="0">
                <a:solidFill>
                  <a:schemeClr val="bg2">
                    <a:lumMod val="50000"/>
                    <a:lumOff val="50000"/>
                  </a:schemeClr>
                </a:solidFill>
              </a:rPr>
              <a:t>. The simplest random sample allows all the units in the population to have an </a:t>
            </a:r>
            <a:r>
              <a:rPr lang="en-US" sz="1800" b="1" dirty="0">
                <a:solidFill>
                  <a:schemeClr val="accent1"/>
                </a:solidFill>
              </a:rPr>
              <a:t>equal chance </a:t>
            </a:r>
            <a:r>
              <a:rPr lang="en-US" sz="1800" dirty="0">
                <a:solidFill>
                  <a:schemeClr val="bg2">
                    <a:lumMod val="50000"/>
                    <a:lumOff val="50000"/>
                  </a:schemeClr>
                </a:solidFill>
              </a:rPr>
              <a:t>of being selected. </a:t>
            </a:r>
            <a:r>
              <a:rPr lang="en-US" sz="1800" b="1" i="1" dirty="0">
                <a:solidFill>
                  <a:schemeClr val="bg2">
                    <a:lumMod val="50000"/>
                    <a:lumOff val="50000"/>
                  </a:schemeClr>
                </a:solidFill>
              </a:rPr>
              <a:t>Often in practice we rely on more complex sampling techniques.</a:t>
            </a:r>
          </a:p>
        </p:txBody>
      </p:sp>
    </p:spTree>
    <p:extLst>
      <p:ext uri="{BB962C8B-B14F-4D97-AF65-F5344CB8AC3E}">
        <p14:creationId xmlns:p14="http://schemas.microsoft.com/office/powerpoint/2010/main" val="3661297187"/>
      </p:ext>
    </p:extLst>
  </p:cSld>
  <p:clrMapOvr>
    <a:masterClrMapping/>
  </p:clrMapOvr>
  <p:transition spd="med">
    <p:wipe dir="r"/>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6D8AD-5CBA-47F4-B48F-371D8D233987}"/>
              </a:ext>
            </a:extLst>
          </p:cNvPr>
          <p:cNvSpPr>
            <a:spLocks noGrp="1"/>
          </p:cNvSpPr>
          <p:nvPr>
            <p:ph type="title"/>
          </p:nvPr>
        </p:nvSpPr>
        <p:spPr>
          <a:xfrm>
            <a:off x="0" y="22860"/>
            <a:ext cx="6931292" cy="640080"/>
          </a:xfrm>
        </p:spPr>
        <p:txBody>
          <a:bodyPr/>
          <a:lstStyle/>
          <a:p>
            <a:r>
              <a:rPr lang="en-US" dirty="0"/>
              <a:t>Probability</a:t>
            </a:r>
          </a:p>
        </p:txBody>
      </p:sp>
      <p:sp>
        <p:nvSpPr>
          <p:cNvPr id="3" name="Content Placeholder 2">
            <a:extLst>
              <a:ext uri="{FF2B5EF4-FFF2-40B4-BE49-F238E27FC236}">
                <a16:creationId xmlns:a16="http://schemas.microsoft.com/office/drawing/2014/main" id="{80C827C4-36EC-4BB1-B754-40EF4DA9490F}"/>
              </a:ext>
            </a:extLst>
          </p:cNvPr>
          <p:cNvSpPr>
            <a:spLocks noGrp="1"/>
          </p:cNvSpPr>
          <p:nvPr>
            <p:ph sz="half" idx="13"/>
          </p:nvPr>
        </p:nvSpPr>
        <p:spPr>
          <a:xfrm>
            <a:off x="0" y="650114"/>
            <a:ext cx="8960422" cy="3843272"/>
          </a:xfrm>
        </p:spPr>
        <p:txBody>
          <a:bodyPr/>
          <a:lstStyle/>
          <a:p>
            <a:r>
              <a:rPr lang="en-US" dirty="0">
                <a:solidFill>
                  <a:schemeClr val="bg2">
                    <a:lumMod val="50000"/>
                    <a:lumOff val="50000"/>
                  </a:schemeClr>
                </a:solidFill>
              </a:rPr>
              <a:t>How likely something is to happen.</a:t>
            </a:r>
          </a:p>
          <a:p>
            <a:r>
              <a:rPr lang="en-US" dirty="0">
                <a:solidFill>
                  <a:schemeClr val="bg2">
                    <a:lumMod val="50000"/>
                    <a:lumOff val="50000"/>
                  </a:schemeClr>
                </a:solidFill>
              </a:rPr>
              <a:t>Many events can't be predicted with total certainty. The best we can say is how likely they are to happen, using the idea of probability.</a:t>
            </a:r>
          </a:p>
          <a:p>
            <a:r>
              <a:rPr lang="en-US" b="1" dirty="0">
                <a:solidFill>
                  <a:schemeClr val="bg2">
                    <a:lumMod val="50000"/>
                    <a:lumOff val="50000"/>
                  </a:schemeClr>
                </a:solidFill>
              </a:rPr>
              <a:t>Tossing a Coin</a:t>
            </a:r>
          </a:p>
        </p:txBody>
      </p:sp>
      <p:pic>
        <p:nvPicPr>
          <p:cNvPr id="5" name="Picture 4" descr="A hand with a coin in the background&#10;&#10;Description automatically generated with low confidence">
            <a:extLst>
              <a:ext uri="{FF2B5EF4-FFF2-40B4-BE49-F238E27FC236}">
                <a16:creationId xmlns:a16="http://schemas.microsoft.com/office/drawing/2014/main" id="{3475738F-4AC8-441F-8555-75C1B04F0D49}"/>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16119" y="2304173"/>
            <a:ext cx="1515252" cy="1917946"/>
          </a:xfrm>
          <a:prstGeom prst="rect">
            <a:avLst/>
          </a:prstGeom>
        </p:spPr>
      </p:pic>
      <p:sp>
        <p:nvSpPr>
          <p:cNvPr id="7" name="TextBox 6">
            <a:extLst>
              <a:ext uri="{FF2B5EF4-FFF2-40B4-BE49-F238E27FC236}">
                <a16:creationId xmlns:a16="http://schemas.microsoft.com/office/drawing/2014/main" id="{92A89A0C-0BCE-4B1A-B37D-83F3C0C7CF08}"/>
              </a:ext>
            </a:extLst>
          </p:cNvPr>
          <p:cNvSpPr txBox="1"/>
          <p:nvPr/>
        </p:nvSpPr>
        <p:spPr>
          <a:xfrm>
            <a:off x="3147490" y="2945333"/>
            <a:ext cx="3420275"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lumMod val="50000"/>
                    <a:lumOff val="50000"/>
                  </a:schemeClr>
                </a:solidFill>
                <a:latin typeface="+mn-lt"/>
              </a:rPr>
              <a:t>Head or Tail ? </a:t>
            </a:r>
            <a:endParaRPr lang="en-US" sz="1400" b="1" dirty="0">
              <a:solidFill>
                <a:schemeClr val="bg2">
                  <a:lumMod val="50000"/>
                  <a:lumOff val="50000"/>
                </a:schemeClr>
              </a:solidFill>
              <a:latin typeface="+mn-lt"/>
            </a:endParaRPr>
          </a:p>
        </p:txBody>
      </p:sp>
    </p:spTree>
    <p:extLst>
      <p:ext uri="{BB962C8B-B14F-4D97-AF65-F5344CB8AC3E}">
        <p14:creationId xmlns:p14="http://schemas.microsoft.com/office/powerpoint/2010/main" val="1367373909"/>
      </p:ext>
    </p:extLst>
  </p:cSld>
  <p:clrMapOvr>
    <a:masterClrMapping/>
  </p:clrMapOvr>
  <p:transition spd="med">
    <p:wipe dir="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30665-F41C-4D7C-A1F3-2F9ACDCFF020}"/>
              </a:ext>
            </a:extLst>
          </p:cNvPr>
          <p:cNvSpPr>
            <a:spLocks noGrp="1"/>
          </p:cNvSpPr>
          <p:nvPr>
            <p:ph type="title"/>
          </p:nvPr>
        </p:nvSpPr>
        <p:spPr>
          <a:xfrm>
            <a:off x="0" y="22860"/>
            <a:ext cx="4295219" cy="640080"/>
          </a:xfrm>
        </p:spPr>
        <p:txBody>
          <a:bodyPr/>
          <a:lstStyle/>
          <a:p>
            <a:r>
              <a:rPr lang="en-US" dirty="0"/>
              <a:t>Probability</a:t>
            </a:r>
          </a:p>
        </p:txBody>
      </p:sp>
      <p:sp>
        <p:nvSpPr>
          <p:cNvPr id="3" name="Content Placeholder 2">
            <a:extLst>
              <a:ext uri="{FF2B5EF4-FFF2-40B4-BE49-F238E27FC236}">
                <a16:creationId xmlns:a16="http://schemas.microsoft.com/office/drawing/2014/main" id="{24E31847-FB72-4A28-9F16-6E09BAC2AC14}"/>
              </a:ext>
            </a:extLst>
          </p:cNvPr>
          <p:cNvSpPr>
            <a:spLocks noGrp="1"/>
          </p:cNvSpPr>
          <p:nvPr>
            <p:ph sz="half" idx="13"/>
          </p:nvPr>
        </p:nvSpPr>
        <p:spPr>
          <a:xfrm>
            <a:off x="48843" y="742688"/>
            <a:ext cx="8492752" cy="3200400"/>
          </a:xfrm>
        </p:spPr>
        <p:txBody>
          <a:bodyPr/>
          <a:lstStyle/>
          <a:p>
            <a:r>
              <a:rPr lang="en-US" dirty="0"/>
              <a:t>Throwing Dice</a:t>
            </a:r>
          </a:p>
        </p:txBody>
      </p:sp>
      <p:pic>
        <p:nvPicPr>
          <p:cNvPr id="5" name="Picture 4" descr="A close up of a dice&#10;&#10;Description automatically generated with medium confidence">
            <a:extLst>
              <a:ext uri="{FF2B5EF4-FFF2-40B4-BE49-F238E27FC236}">
                <a16:creationId xmlns:a16="http://schemas.microsoft.com/office/drawing/2014/main" id="{AFBA4308-42D6-4B96-81B0-080B9E4373C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02405" y="1201096"/>
            <a:ext cx="2634293" cy="1971115"/>
          </a:xfrm>
          <a:prstGeom prst="rect">
            <a:avLst/>
          </a:prstGeom>
        </p:spPr>
      </p:pic>
      <p:sp>
        <p:nvSpPr>
          <p:cNvPr id="6" name="TextBox 5">
            <a:extLst>
              <a:ext uri="{FF2B5EF4-FFF2-40B4-BE49-F238E27FC236}">
                <a16:creationId xmlns:a16="http://schemas.microsoft.com/office/drawing/2014/main" id="{7C40165F-EBB2-411F-9F49-049391ED8FC5}"/>
              </a:ext>
            </a:extLst>
          </p:cNvPr>
          <p:cNvSpPr txBox="1"/>
          <p:nvPr/>
        </p:nvSpPr>
        <p:spPr>
          <a:xfrm>
            <a:off x="48843" y="3535463"/>
            <a:ext cx="2634293" cy="338554"/>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solidFill>
                <a:latin typeface="+mn-lt"/>
              </a:rPr>
              <a:t>Probability Formula </a:t>
            </a:r>
            <a:endParaRPr lang="en-US" sz="1400" b="1" dirty="0">
              <a:solidFill>
                <a:schemeClr val="bg2"/>
              </a:solidFill>
              <a:latin typeface="+mn-lt"/>
            </a:endParaRPr>
          </a:p>
        </p:txBody>
      </p:sp>
      <p:pic>
        <p:nvPicPr>
          <p:cNvPr id="8" name="Picture 7">
            <a:extLst>
              <a:ext uri="{FF2B5EF4-FFF2-40B4-BE49-F238E27FC236}">
                <a16:creationId xmlns:a16="http://schemas.microsoft.com/office/drawing/2014/main" id="{CEAD1E4D-C022-435E-BA29-C8D081FF1739}"/>
              </a:ext>
            </a:extLst>
          </p:cNvPr>
          <p:cNvPicPr>
            <a:picLocks noChangeAspect="1"/>
          </p:cNvPicPr>
          <p:nvPr/>
        </p:nvPicPr>
        <p:blipFill>
          <a:blip r:embed="rId4"/>
          <a:stretch>
            <a:fillRect/>
          </a:stretch>
        </p:blipFill>
        <p:spPr>
          <a:xfrm>
            <a:off x="494082" y="3874017"/>
            <a:ext cx="8601075" cy="885825"/>
          </a:xfrm>
          <a:prstGeom prst="rect">
            <a:avLst/>
          </a:prstGeom>
        </p:spPr>
      </p:pic>
    </p:spTree>
    <p:extLst>
      <p:ext uri="{BB962C8B-B14F-4D97-AF65-F5344CB8AC3E}">
        <p14:creationId xmlns:p14="http://schemas.microsoft.com/office/powerpoint/2010/main" val="3091052118"/>
      </p:ext>
    </p:extLst>
  </p:cSld>
  <p:clrMapOvr>
    <a:masterClrMapping/>
  </p:clrMapOvr>
  <p:transition spd="med">
    <p:wipe dir="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8CE0D-4FDD-4402-BFC6-C4E1021E3033}"/>
              </a:ext>
            </a:extLst>
          </p:cNvPr>
          <p:cNvSpPr>
            <a:spLocks noGrp="1"/>
          </p:cNvSpPr>
          <p:nvPr>
            <p:ph type="title"/>
          </p:nvPr>
        </p:nvSpPr>
        <p:spPr>
          <a:xfrm>
            <a:off x="0" y="0"/>
            <a:ext cx="4295219" cy="640080"/>
          </a:xfrm>
        </p:spPr>
        <p:txBody>
          <a:bodyPr/>
          <a:lstStyle/>
          <a:p>
            <a:r>
              <a:rPr lang="en-US" dirty="0"/>
              <a:t>Probability Example</a:t>
            </a:r>
          </a:p>
        </p:txBody>
      </p:sp>
      <p:sp>
        <p:nvSpPr>
          <p:cNvPr id="3" name="Content Placeholder 2">
            <a:extLst>
              <a:ext uri="{FF2B5EF4-FFF2-40B4-BE49-F238E27FC236}">
                <a16:creationId xmlns:a16="http://schemas.microsoft.com/office/drawing/2014/main" id="{6A7FAF5B-4E17-4FA5-AF73-E751EC3EBBBA}"/>
              </a:ext>
            </a:extLst>
          </p:cNvPr>
          <p:cNvSpPr>
            <a:spLocks noGrp="1"/>
          </p:cNvSpPr>
          <p:nvPr>
            <p:ph sz="half" idx="13"/>
          </p:nvPr>
        </p:nvSpPr>
        <p:spPr>
          <a:xfrm>
            <a:off x="85856" y="640080"/>
            <a:ext cx="8157704" cy="3200400"/>
          </a:xfrm>
        </p:spPr>
        <p:txBody>
          <a:bodyPr/>
          <a:lstStyle/>
          <a:p>
            <a:r>
              <a:rPr lang="en-US" dirty="0"/>
              <a:t>Ex 1 : the chances of rolling a "4" with a die</a:t>
            </a:r>
          </a:p>
          <a:p>
            <a:endParaRPr lang="en-US" dirty="0"/>
          </a:p>
          <a:p>
            <a:endParaRPr lang="en-US" dirty="0"/>
          </a:p>
          <a:p>
            <a:r>
              <a:rPr lang="en-US" dirty="0"/>
              <a:t>Ex 2 : there are 5 marbles in a bag: 4 are blue, and 1 is red. What is the probability that a blue marble gets picked?</a:t>
            </a:r>
          </a:p>
        </p:txBody>
      </p:sp>
      <p:pic>
        <p:nvPicPr>
          <p:cNvPr id="7" name="Picture 6" descr="A picture containing indoor, floor, blue, close&#10;&#10;Description automatically generated">
            <a:extLst>
              <a:ext uri="{FF2B5EF4-FFF2-40B4-BE49-F238E27FC236}">
                <a16:creationId xmlns:a16="http://schemas.microsoft.com/office/drawing/2014/main" id="{EC87BBCD-760D-40AA-A681-7E2FD88DA11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0866" y="2397240"/>
            <a:ext cx="2163803" cy="1443240"/>
          </a:xfrm>
          <a:prstGeom prst="rect">
            <a:avLst/>
          </a:prstGeom>
        </p:spPr>
      </p:pic>
      <p:pic>
        <p:nvPicPr>
          <p:cNvPr id="10" name="Picture 9" descr="A picture containing red, cherry, vegetable&#10;&#10;Description automatically generated">
            <a:extLst>
              <a:ext uri="{FF2B5EF4-FFF2-40B4-BE49-F238E27FC236}">
                <a16:creationId xmlns:a16="http://schemas.microsoft.com/office/drawing/2014/main" id="{8C11656E-03F2-47CC-8B80-2E364003ED3A}"/>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686150" y="2934718"/>
            <a:ext cx="1428750" cy="1428750"/>
          </a:xfrm>
          <a:prstGeom prst="rect">
            <a:avLst/>
          </a:prstGeom>
        </p:spPr>
      </p:pic>
    </p:spTree>
    <p:extLst>
      <p:ext uri="{BB962C8B-B14F-4D97-AF65-F5344CB8AC3E}">
        <p14:creationId xmlns:p14="http://schemas.microsoft.com/office/powerpoint/2010/main" val="3429128477"/>
      </p:ext>
    </p:extLst>
  </p:cSld>
  <p:clrMapOvr>
    <a:masterClrMapping/>
  </p:clrMapOvr>
  <p:transition spd="med">
    <p:wipe dir="r"/>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B5086-BB20-41DD-A145-1AF442DC95A9}"/>
              </a:ext>
            </a:extLst>
          </p:cNvPr>
          <p:cNvSpPr>
            <a:spLocks noGrp="1"/>
          </p:cNvSpPr>
          <p:nvPr>
            <p:ph type="title"/>
          </p:nvPr>
        </p:nvSpPr>
        <p:spPr>
          <a:xfrm>
            <a:off x="0" y="22860"/>
            <a:ext cx="4295219" cy="640080"/>
          </a:xfrm>
        </p:spPr>
        <p:txBody>
          <a:bodyPr/>
          <a:lstStyle/>
          <a:p>
            <a:r>
              <a:rPr lang="en-US" dirty="0"/>
              <a:t>Probability Line</a:t>
            </a:r>
          </a:p>
        </p:txBody>
      </p:sp>
      <p:pic>
        <p:nvPicPr>
          <p:cNvPr id="5" name="Content Placeholder 4">
            <a:extLst>
              <a:ext uri="{FF2B5EF4-FFF2-40B4-BE49-F238E27FC236}">
                <a16:creationId xmlns:a16="http://schemas.microsoft.com/office/drawing/2014/main" id="{ACB318F2-CE07-4621-BEC5-E2E661CF3436}"/>
              </a:ext>
            </a:extLst>
          </p:cNvPr>
          <p:cNvPicPr>
            <a:picLocks noGrp="1" noChangeAspect="1"/>
          </p:cNvPicPr>
          <p:nvPr>
            <p:ph sz="half" idx="13"/>
          </p:nvPr>
        </p:nvPicPr>
        <p:blipFill>
          <a:blip r:embed="rId2"/>
          <a:stretch>
            <a:fillRect/>
          </a:stretch>
        </p:blipFill>
        <p:spPr>
          <a:xfrm>
            <a:off x="1105452" y="2384342"/>
            <a:ext cx="5681518" cy="2208672"/>
          </a:xfrm>
        </p:spPr>
      </p:pic>
      <p:sp>
        <p:nvSpPr>
          <p:cNvPr id="7" name="TextBox 6">
            <a:extLst>
              <a:ext uri="{FF2B5EF4-FFF2-40B4-BE49-F238E27FC236}">
                <a16:creationId xmlns:a16="http://schemas.microsoft.com/office/drawing/2014/main" id="{05CF8509-6037-4CBA-8398-BA0579C00A57}"/>
              </a:ext>
            </a:extLst>
          </p:cNvPr>
          <p:cNvSpPr txBox="1"/>
          <p:nvPr/>
        </p:nvSpPr>
        <p:spPr>
          <a:xfrm>
            <a:off x="76782" y="662940"/>
            <a:ext cx="7859652" cy="1169551"/>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Probability is the chance that something will happen. It can be shown on a probability line</a:t>
            </a:r>
          </a:p>
          <a:p>
            <a:pPr>
              <a:spcBef>
                <a:spcPts val="0"/>
              </a:spcBef>
              <a:spcAft>
                <a:spcPts val="0"/>
              </a:spcAft>
              <a:buClr>
                <a:schemeClr val="bg1"/>
              </a:buClr>
            </a:pPr>
            <a:endParaRPr lang="en-US" sz="1400" dirty="0">
              <a:solidFill>
                <a:schemeClr val="bg2">
                  <a:lumMod val="50000"/>
                  <a:lumOff val="50000"/>
                </a:schemeClr>
              </a:solidFill>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Probability does not tell us exactly what will happen, it is just a guid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Range of Probability : Between 0 and 1</a:t>
            </a:r>
          </a:p>
        </p:txBody>
      </p:sp>
    </p:spTree>
    <p:extLst>
      <p:ext uri="{BB962C8B-B14F-4D97-AF65-F5344CB8AC3E}">
        <p14:creationId xmlns:p14="http://schemas.microsoft.com/office/powerpoint/2010/main" val="1473195285"/>
      </p:ext>
    </p:extLst>
  </p:cSld>
  <p:clrMapOvr>
    <a:masterClrMapping/>
  </p:clrMapOvr>
  <p:transition spd="med">
    <p:wipe dir="r"/>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3BAEC-C6AA-4DAE-9256-FBDECF1BF0EE}"/>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FFAA7F65-22A8-4A3C-90D2-11A20B2B9B82}"/>
              </a:ext>
            </a:extLst>
          </p:cNvPr>
          <p:cNvSpPr>
            <a:spLocks noGrp="1"/>
          </p:cNvSpPr>
          <p:nvPr>
            <p:ph sz="half" idx="13"/>
          </p:nvPr>
        </p:nvSpPr>
        <p:spPr>
          <a:xfrm>
            <a:off x="160525" y="770609"/>
            <a:ext cx="8269387" cy="3200400"/>
          </a:xfrm>
        </p:spPr>
        <p:txBody>
          <a:bodyPr/>
          <a:lstStyle/>
          <a:p>
            <a:r>
              <a:rPr lang="en-US" b="1" dirty="0"/>
              <a:t>Experiment : </a:t>
            </a:r>
            <a:r>
              <a:rPr lang="en-US" b="0" i="0" dirty="0">
                <a:solidFill>
                  <a:srgbClr val="333333"/>
                </a:solidFill>
                <a:effectLst/>
                <a:latin typeface="Verdana" panose="020B0604030504040204" pitchFamily="34" charset="0"/>
              </a:rPr>
              <a:t>a repeatable procedure with a set of possible results.</a:t>
            </a:r>
          </a:p>
          <a:p>
            <a:r>
              <a:rPr lang="en-US" dirty="0">
                <a:solidFill>
                  <a:srgbClr val="333333"/>
                </a:solidFill>
                <a:latin typeface="Verdana" panose="020B0604030504040204" pitchFamily="34" charset="0"/>
              </a:rPr>
              <a:t>Ex : Throwing a dice</a:t>
            </a:r>
            <a:endParaRPr lang="en-US" dirty="0"/>
          </a:p>
        </p:txBody>
      </p:sp>
      <p:pic>
        <p:nvPicPr>
          <p:cNvPr id="4" name="Picture 3" descr="A close up of a dice&#10;&#10;Description automatically generated with medium confidence">
            <a:extLst>
              <a:ext uri="{FF2B5EF4-FFF2-40B4-BE49-F238E27FC236}">
                <a16:creationId xmlns:a16="http://schemas.microsoft.com/office/drawing/2014/main" id="{B4BB22FB-62A6-4A5D-81EC-A14BFEE56C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30462" y="2107563"/>
            <a:ext cx="2634293" cy="1971115"/>
          </a:xfrm>
          <a:prstGeom prst="rect">
            <a:avLst/>
          </a:prstGeom>
        </p:spPr>
      </p:pic>
    </p:spTree>
    <p:extLst>
      <p:ext uri="{BB962C8B-B14F-4D97-AF65-F5344CB8AC3E}">
        <p14:creationId xmlns:p14="http://schemas.microsoft.com/office/powerpoint/2010/main" val="1315040994"/>
      </p:ext>
    </p:extLst>
  </p:cSld>
  <p:clrMapOvr>
    <a:masterClrMapping/>
  </p:clrMapOvr>
  <p:transition spd="med">
    <p:wipe dir="r"/>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65611-A63B-47E6-8CEF-CD66AE7C7D30}"/>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6D34550C-3232-4CA6-BCC9-0C77271244F4}"/>
              </a:ext>
            </a:extLst>
          </p:cNvPr>
          <p:cNvSpPr>
            <a:spLocks noGrp="1"/>
          </p:cNvSpPr>
          <p:nvPr>
            <p:ph sz="half" idx="13"/>
          </p:nvPr>
        </p:nvSpPr>
        <p:spPr>
          <a:xfrm>
            <a:off x="78876" y="791549"/>
            <a:ext cx="7145582" cy="3200400"/>
          </a:xfrm>
        </p:spPr>
        <p:txBody>
          <a:bodyPr/>
          <a:lstStyle/>
          <a:p>
            <a:r>
              <a:rPr lang="en-US" b="1" dirty="0"/>
              <a:t>Outcome : </a:t>
            </a:r>
            <a:r>
              <a:rPr lang="en-US" b="0" i="0" dirty="0">
                <a:solidFill>
                  <a:srgbClr val="333333"/>
                </a:solidFill>
                <a:effectLst/>
                <a:latin typeface="Verdana" panose="020B0604030504040204" pitchFamily="34" charset="0"/>
              </a:rPr>
              <a:t>A possible result of an experiment.</a:t>
            </a:r>
          </a:p>
          <a:p>
            <a:r>
              <a:rPr lang="en-US" dirty="0">
                <a:solidFill>
                  <a:srgbClr val="333333"/>
                </a:solidFill>
                <a:latin typeface="Verdana" panose="020B0604030504040204" pitchFamily="34" charset="0"/>
              </a:rPr>
              <a:t>Ex : Getting a 6</a:t>
            </a:r>
            <a:endParaRPr lang="en-US" dirty="0"/>
          </a:p>
        </p:txBody>
      </p:sp>
      <p:pic>
        <p:nvPicPr>
          <p:cNvPr id="4" name="Picture 3" descr="A close up of a dice&#10;&#10;Description automatically generated with medium confidence">
            <a:extLst>
              <a:ext uri="{FF2B5EF4-FFF2-40B4-BE49-F238E27FC236}">
                <a16:creationId xmlns:a16="http://schemas.microsoft.com/office/drawing/2014/main" id="{F51748E5-DF80-48C6-9067-FE2BF74E949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772410" y="1695734"/>
            <a:ext cx="2634293" cy="1971115"/>
          </a:xfrm>
          <a:prstGeom prst="rect">
            <a:avLst/>
          </a:prstGeom>
        </p:spPr>
      </p:pic>
    </p:spTree>
    <p:extLst>
      <p:ext uri="{BB962C8B-B14F-4D97-AF65-F5344CB8AC3E}">
        <p14:creationId xmlns:p14="http://schemas.microsoft.com/office/powerpoint/2010/main" val="4073158111"/>
      </p:ext>
    </p:extLst>
  </p:cSld>
  <p:clrMapOvr>
    <a:masterClrMapping/>
  </p:clrMapOvr>
  <p:transition spd="med">
    <p:wipe dir="r"/>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4F1E7-9A94-4879-97D7-7A8013D8B905}"/>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1A0EDEF0-1655-4751-97B5-A92270149DFC}"/>
              </a:ext>
            </a:extLst>
          </p:cNvPr>
          <p:cNvSpPr>
            <a:spLocks noGrp="1"/>
          </p:cNvSpPr>
          <p:nvPr>
            <p:ph sz="half" idx="13"/>
          </p:nvPr>
        </p:nvSpPr>
        <p:spPr>
          <a:xfrm>
            <a:off x="83744" y="749668"/>
            <a:ext cx="8422950" cy="3200400"/>
          </a:xfrm>
        </p:spPr>
        <p:txBody>
          <a:bodyPr/>
          <a:lstStyle/>
          <a:p>
            <a:r>
              <a:rPr lang="en-US" b="1" i="0" dirty="0">
                <a:solidFill>
                  <a:srgbClr val="333333"/>
                </a:solidFill>
                <a:effectLst/>
                <a:latin typeface="Verdana" panose="020B0604030504040204" pitchFamily="34" charset="0"/>
              </a:rPr>
              <a:t>Sample Space:</a:t>
            </a:r>
            <a:r>
              <a:rPr lang="en-US" b="0" i="0" dirty="0">
                <a:solidFill>
                  <a:srgbClr val="333333"/>
                </a:solidFill>
                <a:effectLst/>
                <a:latin typeface="Verdana" panose="020B0604030504040204" pitchFamily="34" charset="0"/>
              </a:rPr>
              <a:t> all the possible outcomes of an experiment.</a:t>
            </a:r>
          </a:p>
          <a:p>
            <a:r>
              <a:rPr lang="en-US" dirty="0">
                <a:solidFill>
                  <a:srgbClr val="333333"/>
                </a:solidFill>
                <a:latin typeface="Verdana" panose="020B0604030504040204" pitchFamily="34" charset="0"/>
              </a:rPr>
              <a:t>Ex : choosing a card from a deck</a:t>
            </a:r>
            <a:endParaRPr lang="en-US" dirty="0"/>
          </a:p>
        </p:txBody>
      </p:sp>
      <p:pic>
        <p:nvPicPr>
          <p:cNvPr id="7" name="Picture 6">
            <a:extLst>
              <a:ext uri="{FF2B5EF4-FFF2-40B4-BE49-F238E27FC236}">
                <a16:creationId xmlns:a16="http://schemas.microsoft.com/office/drawing/2014/main" id="{314346DD-1DA0-45D8-A3F2-C4703B7CFA47}"/>
              </a:ext>
            </a:extLst>
          </p:cNvPr>
          <p:cNvPicPr>
            <a:picLocks noChangeAspect="1"/>
          </p:cNvPicPr>
          <p:nvPr/>
        </p:nvPicPr>
        <p:blipFill>
          <a:blip r:embed="rId2"/>
          <a:stretch>
            <a:fillRect/>
          </a:stretch>
        </p:blipFill>
        <p:spPr>
          <a:xfrm>
            <a:off x="5479420" y="1453909"/>
            <a:ext cx="3490076" cy="2582887"/>
          </a:xfrm>
          <a:prstGeom prst="rect">
            <a:avLst/>
          </a:prstGeom>
        </p:spPr>
      </p:pic>
    </p:spTree>
    <p:extLst>
      <p:ext uri="{BB962C8B-B14F-4D97-AF65-F5344CB8AC3E}">
        <p14:creationId xmlns:p14="http://schemas.microsoft.com/office/powerpoint/2010/main" val="2829562172"/>
      </p:ext>
    </p:extLst>
  </p:cSld>
  <p:clrMapOvr>
    <a:masterClrMapping/>
  </p:clrMapOvr>
  <p:transition spd="med">
    <p:wipe dir="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137BA-BF16-422D-8941-6AE0A4714DB0}"/>
              </a:ext>
            </a:extLst>
          </p:cNvPr>
          <p:cNvSpPr>
            <a:spLocks noGrp="1"/>
          </p:cNvSpPr>
          <p:nvPr>
            <p:ph type="title"/>
          </p:nvPr>
        </p:nvSpPr>
        <p:spPr>
          <a:xfrm>
            <a:off x="0" y="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4C7E0A7D-2472-441B-B8F0-89DA756599F4}"/>
              </a:ext>
            </a:extLst>
          </p:cNvPr>
          <p:cNvSpPr>
            <a:spLocks noGrp="1"/>
          </p:cNvSpPr>
          <p:nvPr>
            <p:ph sz="half" idx="13"/>
          </p:nvPr>
        </p:nvSpPr>
        <p:spPr>
          <a:xfrm>
            <a:off x="64915" y="640080"/>
            <a:ext cx="8164685" cy="3200400"/>
          </a:xfrm>
        </p:spPr>
        <p:txBody>
          <a:bodyPr/>
          <a:lstStyle/>
          <a:p>
            <a:r>
              <a:rPr lang="en-US" b="1" i="0" dirty="0">
                <a:solidFill>
                  <a:srgbClr val="333333"/>
                </a:solidFill>
                <a:effectLst/>
                <a:latin typeface="Verdana" panose="020B0604030504040204" pitchFamily="34" charset="0"/>
              </a:rPr>
              <a:t>Sample Point:</a:t>
            </a:r>
            <a:r>
              <a:rPr lang="en-US" b="0" i="0" dirty="0">
                <a:solidFill>
                  <a:srgbClr val="333333"/>
                </a:solidFill>
                <a:effectLst/>
                <a:latin typeface="Verdana" panose="020B0604030504040204" pitchFamily="34" charset="0"/>
              </a:rPr>
              <a:t> just one of the possible outcomes</a:t>
            </a:r>
          </a:p>
          <a:p>
            <a:endParaRPr lang="en-US" b="0" i="0" dirty="0">
              <a:solidFill>
                <a:srgbClr val="333333"/>
              </a:solidFill>
              <a:effectLst/>
              <a:latin typeface="Verdana" panose="020B0604030504040204" pitchFamily="34" charset="0"/>
            </a:endParaRPr>
          </a:p>
          <a:p>
            <a:pPr marL="0" indent="0">
              <a:buNone/>
            </a:pPr>
            <a:r>
              <a:rPr lang="en-US" b="1" dirty="0">
                <a:solidFill>
                  <a:srgbClr val="333333"/>
                </a:solidFill>
                <a:latin typeface="Verdana" panose="020B0604030504040204" pitchFamily="34" charset="0"/>
              </a:rPr>
              <a:t>Ex : Deck of Cards</a:t>
            </a:r>
          </a:p>
          <a:p>
            <a:pPr lvl="1">
              <a:buFont typeface="Arial" panose="020B0604020202020204" pitchFamily="34" charset="0"/>
              <a:buChar char="•"/>
            </a:pPr>
            <a:r>
              <a:rPr lang="en-US" sz="1400" dirty="0">
                <a:solidFill>
                  <a:srgbClr val="333333"/>
                </a:solidFill>
                <a:latin typeface="Verdana" panose="020B0604030504040204" pitchFamily="34" charset="0"/>
              </a:rPr>
              <a:t>the 5 of Clubs is a sample point</a:t>
            </a:r>
          </a:p>
          <a:p>
            <a:pPr lvl="1">
              <a:buFont typeface="Arial" panose="020B0604020202020204" pitchFamily="34" charset="0"/>
              <a:buChar char="•"/>
            </a:pPr>
            <a:r>
              <a:rPr lang="en-US" sz="1400" dirty="0">
                <a:solidFill>
                  <a:srgbClr val="333333"/>
                </a:solidFill>
                <a:latin typeface="Verdana" panose="020B0604030504040204" pitchFamily="34" charset="0"/>
              </a:rPr>
              <a:t>the King of Hearts is a sample point</a:t>
            </a:r>
          </a:p>
          <a:p>
            <a:pPr lvl="1">
              <a:buFont typeface="Arial" panose="020B0604020202020204" pitchFamily="34" charset="0"/>
              <a:buChar char="•"/>
            </a:pPr>
            <a:r>
              <a:rPr lang="en-US" dirty="0">
                <a:solidFill>
                  <a:srgbClr val="333333"/>
                </a:solidFill>
                <a:latin typeface="Verdana" panose="020B0604030504040204" pitchFamily="34" charset="0"/>
              </a:rPr>
              <a:t>"King" is not a sample point. There are 4 Kings, so that is 4 different sample points.3</a:t>
            </a:r>
          </a:p>
          <a:p>
            <a:pPr marL="0" indent="0" algn="l">
              <a:buNone/>
            </a:pPr>
            <a:endParaRPr lang="en-US" dirty="0">
              <a:solidFill>
                <a:srgbClr val="333333"/>
              </a:solidFill>
              <a:latin typeface="Verdana" panose="020B0604030504040204" pitchFamily="34" charset="0"/>
            </a:endParaRPr>
          </a:p>
          <a:p>
            <a:pPr marL="0" indent="0">
              <a:buNone/>
            </a:pPr>
            <a:r>
              <a:rPr lang="en-US" b="1" dirty="0">
                <a:solidFill>
                  <a:srgbClr val="333333"/>
                </a:solidFill>
                <a:latin typeface="Verdana" panose="020B0604030504040204" pitchFamily="34" charset="0"/>
              </a:rPr>
              <a:t>Ex : Throwing a dice</a:t>
            </a:r>
          </a:p>
          <a:p>
            <a:pPr marL="0" indent="0">
              <a:buNone/>
            </a:pPr>
            <a:r>
              <a:rPr lang="en-US" dirty="0">
                <a:solidFill>
                  <a:srgbClr val="333333"/>
                </a:solidFill>
                <a:latin typeface="Verdana" panose="020B0604030504040204" pitchFamily="34" charset="0"/>
              </a:rPr>
              <a:t>There are 6 different sample points in the sample space.</a:t>
            </a:r>
          </a:p>
        </p:txBody>
      </p:sp>
      <p:pic>
        <p:nvPicPr>
          <p:cNvPr id="5" name="Picture 4">
            <a:extLst>
              <a:ext uri="{FF2B5EF4-FFF2-40B4-BE49-F238E27FC236}">
                <a16:creationId xmlns:a16="http://schemas.microsoft.com/office/drawing/2014/main" id="{590E487C-0915-4FFC-8400-CE05A8362E94}"/>
              </a:ext>
            </a:extLst>
          </p:cNvPr>
          <p:cNvPicPr>
            <a:picLocks noChangeAspect="1"/>
          </p:cNvPicPr>
          <p:nvPr/>
        </p:nvPicPr>
        <p:blipFill>
          <a:blip r:embed="rId2"/>
          <a:stretch>
            <a:fillRect/>
          </a:stretch>
        </p:blipFill>
        <p:spPr>
          <a:xfrm>
            <a:off x="2805621" y="3666527"/>
            <a:ext cx="2338752" cy="1143644"/>
          </a:xfrm>
          <a:prstGeom prst="rect">
            <a:avLst/>
          </a:prstGeom>
        </p:spPr>
      </p:pic>
    </p:spTree>
    <p:extLst>
      <p:ext uri="{BB962C8B-B14F-4D97-AF65-F5344CB8AC3E}">
        <p14:creationId xmlns:p14="http://schemas.microsoft.com/office/powerpoint/2010/main" val="1035050059"/>
      </p:ext>
    </p:extLst>
  </p:cSld>
  <p:clrMapOvr>
    <a:masterClrMapping/>
  </p:clrMapOvr>
  <p:transition spd="med">
    <p:wipe dir="r"/>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D5C09-F52C-461C-B60C-A89B0B1C7754}"/>
              </a:ext>
            </a:extLst>
          </p:cNvPr>
          <p:cNvSpPr>
            <a:spLocks noGrp="1"/>
          </p:cNvSpPr>
          <p:nvPr>
            <p:ph type="title"/>
          </p:nvPr>
        </p:nvSpPr>
        <p:spPr>
          <a:xfrm>
            <a:off x="0" y="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A6526305-67A1-4B4D-8A20-D0804E209C5F}"/>
              </a:ext>
            </a:extLst>
          </p:cNvPr>
          <p:cNvSpPr>
            <a:spLocks noGrp="1"/>
          </p:cNvSpPr>
          <p:nvPr>
            <p:ph sz="half" idx="13"/>
          </p:nvPr>
        </p:nvSpPr>
        <p:spPr>
          <a:xfrm>
            <a:off x="137160" y="798529"/>
            <a:ext cx="8869680" cy="3200400"/>
          </a:xfrm>
        </p:spPr>
        <p:txBody>
          <a:bodyPr>
            <a:normAutofit/>
          </a:bodyPr>
          <a:lstStyle/>
          <a:p>
            <a:r>
              <a:rPr lang="en-US" b="1" i="0" dirty="0">
                <a:solidFill>
                  <a:srgbClr val="333333"/>
                </a:solidFill>
                <a:effectLst/>
                <a:latin typeface="Verdana" panose="020B0604030504040204" pitchFamily="34" charset="0"/>
              </a:rPr>
              <a:t>Event:</a:t>
            </a:r>
            <a:r>
              <a:rPr lang="en-US" b="0" i="0" dirty="0">
                <a:solidFill>
                  <a:srgbClr val="333333"/>
                </a:solidFill>
                <a:effectLst/>
                <a:latin typeface="Verdana" panose="020B0604030504040204" pitchFamily="34" charset="0"/>
              </a:rPr>
              <a:t> one </a:t>
            </a:r>
            <a:r>
              <a:rPr lang="en-US" b="1" i="0" dirty="0">
                <a:solidFill>
                  <a:srgbClr val="333333"/>
                </a:solidFill>
                <a:effectLst/>
                <a:latin typeface="Verdana" panose="020B0604030504040204" pitchFamily="34" charset="0"/>
              </a:rPr>
              <a:t>or more</a:t>
            </a:r>
            <a:r>
              <a:rPr lang="en-US" b="0" i="0" dirty="0">
                <a:solidFill>
                  <a:srgbClr val="333333"/>
                </a:solidFill>
                <a:effectLst/>
                <a:latin typeface="Verdana" panose="020B0604030504040204" pitchFamily="34" charset="0"/>
              </a:rPr>
              <a:t> outcomes of an experiment</a:t>
            </a:r>
          </a:p>
          <a:p>
            <a:r>
              <a:rPr lang="en-US" dirty="0"/>
              <a:t>Example Events:</a:t>
            </a:r>
          </a:p>
          <a:p>
            <a:pPr lvl="1"/>
            <a:r>
              <a:rPr lang="en-US" dirty="0"/>
              <a:t>An event can be just one outcome:</a:t>
            </a:r>
          </a:p>
        </p:txBody>
      </p:sp>
    </p:spTree>
    <p:extLst>
      <p:ext uri="{BB962C8B-B14F-4D97-AF65-F5344CB8AC3E}">
        <p14:creationId xmlns:p14="http://schemas.microsoft.com/office/powerpoint/2010/main" val="3707714688"/>
      </p:ext>
    </p:extLst>
  </p:cSld>
  <p:clrMapOvr>
    <a:masterClrMapping/>
  </p:clrMapOvr>
  <p:transition spd="med">
    <p:wipe dir="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BF548-4820-4ED8-BE4E-E946B39FF719}"/>
              </a:ext>
            </a:extLst>
          </p:cNvPr>
          <p:cNvSpPr>
            <a:spLocks noGrp="1"/>
          </p:cNvSpPr>
          <p:nvPr>
            <p:ph type="title"/>
          </p:nvPr>
        </p:nvSpPr>
        <p:spPr>
          <a:xfrm>
            <a:off x="0" y="22860"/>
            <a:ext cx="6560519" cy="640080"/>
          </a:xfrm>
        </p:spPr>
        <p:txBody>
          <a:bodyPr/>
          <a:lstStyle/>
          <a:p>
            <a:r>
              <a:rPr lang="en-US" dirty="0"/>
              <a:t>Probability – </a:t>
            </a:r>
            <a:r>
              <a:rPr lang="en-US" dirty="0">
                <a:solidFill>
                  <a:schemeClr val="bg2">
                    <a:lumMod val="50000"/>
                    <a:lumOff val="50000"/>
                  </a:schemeClr>
                </a:solidFill>
              </a:rPr>
              <a:t>Let’s use the words</a:t>
            </a:r>
          </a:p>
        </p:txBody>
      </p:sp>
      <p:sp>
        <p:nvSpPr>
          <p:cNvPr id="3" name="Content Placeholder 2">
            <a:extLst>
              <a:ext uri="{FF2B5EF4-FFF2-40B4-BE49-F238E27FC236}">
                <a16:creationId xmlns:a16="http://schemas.microsoft.com/office/drawing/2014/main" id="{C2052F85-B5EB-40E8-BC7B-31955E33B4C8}"/>
              </a:ext>
            </a:extLst>
          </p:cNvPr>
          <p:cNvSpPr>
            <a:spLocks noGrp="1"/>
          </p:cNvSpPr>
          <p:nvPr>
            <p:ph sz="half" idx="13"/>
          </p:nvPr>
        </p:nvSpPr>
        <p:spPr>
          <a:xfrm>
            <a:off x="64915" y="826450"/>
            <a:ext cx="8590474" cy="1058191"/>
          </a:xfrm>
        </p:spPr>
        <p:txBody>
          <a:bodyPr/>
          <a:lstStyle/>
          <a:p>
            <a:r>
              <a:rPr lang="en-US" b="0" i="0" dirty="0">
                <a:solidFill>
                  <a:srgbClr val="333333"/>
                </a:solidFill>
                <a:effectLst/>
                <a:latin typeface="Verdana" panose="020B0604030504040204" pitchFamily="34" charset="0"/>
              </a:rPr>
              <a:t>Example: Alex wants to see how many times a "double" comes up when throwing 2 dice.</a:t>
            </a:r>
          </a:p>
          <a:p>
            <a:pPr algn="l"/>
            <a:r>
              <a:rPr lang="en-US" b="0" i="0" dirty="0">
                <a:solidFill>
                  <a:srgbClr val="333333"/>
                </a:solidFill>
                <a:effectLst/>
                <a:latin typeface="Verdana" panose="020B0604030504040204" pitchFamily="34" charset="0"/>
              </a:rPr>
              <a:t>The </a:t>
            </a:r>
            <a:r>
              <a:rPr lang="en-US" b="1" i="0" dirty="0">
                <a:solidFill>
                  <a:srgbClr val="333333"/>
                </a:solidFill>
                <a:effectLst/>
                <a:latin typeface="Verdana" panose="020B0604030504040204" pitchFamily="34" charset="0"/>
              </a:rPr>
              <a:t>Sample Space</a:t>
            </a:r>
            <a:r>
              <a:rPr lang="en-US" b="0" i="0" dirty="0">
                <a:solidFill>
                  <a:srgbClr val="333333"/>
                </a:solidFill>
                <a:effectLst/>
                <a:latin typeface="Verdana" panose="020B0604030504040204" pitchFamily="34" charset="0"/>
              </a:rPr>
              <a:t> is all possible </a:t>
            </a:r>
            <a:r>
              <a:rPr lang="en-US" b="1" i="0" dirty="0">
                <a:solidFill>
                  <a:srgbClr val="333333"/>
                </a:solidFill>
                <a:effectLst/>
                <a:latin typeface="Verdana" panose="020B0604030504040204" pitchFamily="34" charset="0"/>
              </a:rPr>
              <a:t>Outcomes</a:t>
            </a:r>
            <a:r>
              <a:rPr lang="en-US" b="0" i="0" dirty="0">
                <a:solidFill>
                  <a:srgbClr val="333333"/>
                </a:solidFill>
                <a:effectLst/>
                <a:latin typeface="Verdana" panose="020B0604030504040204" pitchFamily="34" charset="0"/>
              </a:rPr>
              <a:t> (36 Sample Points):</a:t>
            </a:r>
          </a:p>
          <a:p>
            <a:pPr algn="ctr"/>
            <a:r>
              <a:rPr lang="en-US" b="0" i="0" dirty="0">
                <a:solidFill>
                  <a:srgbClr val="333333"/>
                </a:solidFill>
                <a:effectLst/>
                <a:latin typeface="Verdana" panose="020B0604030504040204" pitchFamily="34" charset="0"/>
              </a:rPr>
              <a:t>{1,1} {1,2} {1,3} {1,4} ... {6,3} {6,4} {6,5} {6,6}</a:t>
            </a:r>
          </a:p>
          <a:p>
            <a:pPr marL="0" indent="0" algn="ctr">
              <a:buNone/>
            </a:pPr>
            <a:endParaRPr lang="en-US" dirty="0">
              <a:solidFill>
                <a:srgbClr val="333333"/>
              </a:solidFill>
              <a:latin typeface="Verdana" panose="020B0604030504040204" pitchFamily="34" charset="0"/>
            </a:endParaRPr>
          </a:p>
          <a:p>
            <a:pPr algn="ctr"/>
            <a:endParaRPr lang="en-US" b="0" i="0" dirty="0">
              <a:solidFill>
                <a:srgbClr val="333333"/>
              </a:solidFill>
              <a:effectLst/>
              <a:latin typeface="Verdana" panose="020B0604030504040204" pitchFamily="34" charset="0"/>
            </a:endParaRPr>
          </a:p>
          <a:p>
            <a:pPr algn="ctr"/>
            <a:endParaRPr lang="en-US" b="0" i="0" dirty="0">
              <a:solidFill>
                <a:srgbClr val="333333"/>
              </a:solidFill>
              <a:effectLst/>
              <a:latin typeface="Verdana" panose="020B0604030504040204" pitchFamily="34" charset="0"/>
            </a:endParaRPr>
          </a:p>
          <a:p>
            <a:endParaRPr lang="en-US" dirty="0"/>
          </a:p>
        </p:txBody>
      </p:sp>
      <p:pic>
        <p:nvPicPr>
          <p:cNvPr id="7" name="Picture 6">
            <a:extLst>
              <a:ext uri="{FF2B5EF4-FFF2-40B4-BE49-F238E27FC236}">
                <a16:creationId xmlns:a16="http://schemas.microsoft.com/office/drawing/2014/main" id="{010950B7-163A-4CF8-9365-717E34D03FB2}"/>
              </a:ext>
            </a:extLst>
          </p:cNvPr>
          <p:cNvPicPr>
            <a:picLocks noChangeAspect="1"/>
          </p:cNvPicPr>
          <p:nvPr/>
        </p:nvPicPr>
        <p:blipFill>
          <a:blip r:embed="rId2"/>
          <a:stretch>
            <a:fillRect/>
          </a:stretch>
        </p:blipFill>
        <p:spPr>
          <a:xfrm>
            <a:off x="6372551" y="1947324"/>
            <a:ext cx="2638825" cy="1561475"/>
          </a:xfrm>
          <a:prstGeom prst="rect">
            <a:avLst/>
          </a:prstGeom>
        </p:spPr>
      </p:pic>
      <p:sp>
        <p:nvSpPr>
          <p:cNvPr id="8" name="TextBox 7">
            <a:extLst>
              <a:ext uri="{FF2B5EF4-FFF2-40B4-BE49-F238E27FC236}">
                <a16:creationId xmlns:a16="http://schemas.microsoft.com/office/drawing/2014/main" id="{593CF9C8-9783-4446-A95B-D1798AE0AA9D}"/>
              </a:ext>
            </a:extLst>
          </p:cNvPr>
          <p:cNvSpPr txBox="1"/>
          <p:nvPr/>
        </p:nvSpPr>
        <p:spPr>
          <a:xfrm>
            <a:off x="104702" y="2038205"/>
            <a:ext cx="6170455" cy="892552"/>
          </a:xfrm>
          <a:prstGeom prst="rect">
            <a:avLst/>
          </a:prstGeom>
          <a:noFill/>
        </p:spPr>
        <p:txBody>
          <a:bodyPr wrap="square" rtlCol="0">
            <a:spAutoFit/>
          </a:bodyPr>
          <a:lstStyle/>
          <a:p>
            <a:pPr marL="228600" indent="-228600">
              <a:spcBef>
                <a:spcPts val="1200"/>
              </a:spcBef>
              <a:spcAft>
                <a:spcPts val="0"/>
              </a:spcAft>
              <a:buClr>
                <a:srgbClr val="AAAAAA"/>
              </a:buClr>
              <a:buFont typeface="Arial" pitchFamily="34" charset="0"/>
              <a:buChar char="•"/>
            </a:pPr>
            <a:r>
              <a:rPr lang="en-US" sz="1400" dirty="0">
                <a:solidFill>
                  <a:srgbClr val="333333"/>
                </a:solidFill>
                <a:latin typeface="Verdana" panose="020B0604030504040204" pitchFamily="34" charset="0"/>
                <a:cs typeface="Arial" panose="020B0604020202020204" pitchFamily="34" charset="0"/>
              </a:rPr>
              <a:t>The Event Alex is looking for is a "double", where both dice have the same number. It is made up of these 6 Sample Points:</a:t>
            </a:r>
          </a:p>
          <a:p>
            <a:pPr marL="1600200" lvl="3" indent="-228600">
              <a:spcBef>
                <a:spcPts val="1200"/>
              </a:spcBef>
              <a:spcAft>
                <a:spcPts val="0"/>
              </a:spcAft>
              <a:buClr>
                <a:srgbClr val="AAAAAA"/>
              </a:buClr>
              <a:buFont typeface="Arial" pitchFamily="34" charset="0"/>
              <a:buChar char="•"/>
            </a:pPr>
            <a:r>
              <a:rPr lang="en-US" sz="1400" dirty="0">
                <a:solidFill>
                  <a:srgbClr val="333333"/>
                </a:solidFill>
                <a:latin typeface="Verdana" panose="020B0604030504040204" pitchFamily="34" charset="0"/>
                <a:cs typeface="Arial" panose="020B0604020202020204" pitchFamily="34" charset="0"/>
              </a:rPr>
              <a:t>{1,1} {2,2} {3,3} {4,4} {5,5} and {6,6}</a:t>
            </a:r>
          </a:p>
        </p:txBody>
      </p:sp>
      <p:pic>
        <p:nvPicPr>
          <p:cNvPr id="10" name="Picture 9">
            <a:extLst>
              <a:ext uri="{FF2B5EF4-FFF2-40B4-BE49-F238E27FC236}">
                <a16:creationId xmlns:a16="http://schemas.microsoft.com/office/drawing/2014/main" id="{D27E8F84-1492-48D3-A72C-C55AB9766896}"/>
              </a:ext>
            </a:extLst>
          </p:cNvPr>
          <p:cNvPicPr>
            <a:picLocks noChangeAspect="1"/>
          </p:cNvPicPr>
          <p:nvPr/>
        </p:nvPicPr>
        <p:blipFill>
          <a:blip r:embed="rId3"/>
          <a:stretch>
            <a:fillRect/>
          </a:stretch>
        </p:blipFill>
        <p:spPr>
          <a:xfrm>
            <a:off x="3280818" y="3154478"/>
            <a:ext cx="1842614" cy="1923906"/>
          </a:xfrm>
          <a:prstGeom prst="rect">
            <a:avLst/>
          </a:prstGeom>
        </p:spPr>
      </p:pic>
      <p:sp>
        <p:nvSpPr>
          <p:cNvPr id="11" name="TextBox 10">
            <a:extLst>
              <a:ext uri="{FF2B5EF4-FFF2-40B4-BE49-F238E27FC236}">
                <a16:creationId xmlns:a16="http://schemas.microsoft.com/office/drawing/2014/main" id="{4997F32A-66F2-4762-AF10-F27AF77B4AF8}"/>
              </a:ext>
            </a:extLst>
          </p:cNvPr>
          <p:cNvSpPr txBox="1"/>
          <p:nvPr/>
        </p:nvSpPr>
        <p:spPr>
          <a:xfrm>
            <a:off x="132624" y="3441215"/>
            <a:ext cx="255473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se are the results: </a:t>
            </a:r>
          </a:p>
        </p:txBody>
      </p:sp>
    </p:spTree>
    <p:extLst>
      <p:ext uri="{BB962C8B-B14F-4D97-AF65-F5344CB8AC3E}">
        <p14:creationId xmlns:p14="http://schemas.microsoft.com/office/powerpoint/2010/main" val="1334183108"/>
      </p:ext>
    </p:extLst>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5C4F0-02D4-4D34-9B21-249283527E45}"/>
              </a:ext>
            </a:extLst>
          </p:cNvPr>
          <p:cNvSpPr>
            <a:spLocks noGrp="1"/>
          </p:cNvSpPr>
          <p:nvPr>
            <p:ph type="title"/>
          </p:nvPr>
        </p:nvSpPr>
        <p:spPr>
          <a:xfrm>
            <a:off x="0" y="22860"/>
            <a:ext cx="7955280" cy="640080"/>
          </a:xfrm>
        </p:spPr>
        <p:txBody>
          <a:bodyPr/>
          <a:lstStyle/>
          <a:p>
            <a:r>
              <a:rPr lang="en-US" b="1" dirty="0">
                <a:solidFill>
                  <a:schemeClr val="accent1"/>
                </a:solidFill>
              </a:rPr>
              <a:t>Bias in sampling :</a:t>
            </a:r>
            <a:br>
              <a:rPr lang="en-US" b="1" dirty="0">
                <a:solidFill>
                  <a:schemeClr val="accent1"/>
                </a:solidFill>
              </a:rPr>
            </a:br>
            <a:endParaRPr lang="en-US" dirty="0"/>
          </a:p>
        </p:txBody>
      </p:sp>
      <p:sp>
        <p:nvSpPr>
          <p:cNvPr id="3" name="Content Placeholder 2">
            <a:extLst>
              <a:ext uri="{FF2B5EF4-FFF2-40B4-BE49-F238E27FC236}">
                <a16:creationId xmlns:a16="http://schemas.microsoft.com/office/drawing/2014/main" id="{AC6D725B-4977-4966-9898-81C64E843334}"/>
              </a:ext>
            </a:extLst>
          </p:cNvPr>
          <p:cNvSpPr>
            <a:spLocks noGrp="1"/>
          </p:cNvSpPr>
          <p:nvPr>
            <p:ph sz="half" idx="1"/>
          </p:nvPr>
        </p:nvSpPr>
        <p:spPr>
          <a:xfrm>
            <a:off x="30893" y="523337"/>
            <a:ext cx="8603555" cy="4096826"/>
          </a:xfrm>
        </p:spPr>
        <p:txBody>
          <a:bodyPr>
            <a:normAutofit/>
          </a:bodyPr>
          <a:lstStyle/>
          <a:p>
            <a:pPr marL="0" indent="0">
              <a:buNone/>
            </a:pPr>
            <a:r>
              <a:rPr lang="en-US" sz="1200" dirty="0">
                <a:solidFill>
                  <a:schemeClr val="bg2">
                    <a:lumMod val="50000"/>
                    <a:lumOff val="50000"/>
                  </a:schemeClr>
                </a:solidFill>
              </a:rPr>
              <a:t>There are five important potential sources of bias that should be considered when selecting a sample, irrespective of the method used. Sampling bias may be introduced when:</a:t>
            </a:r>
          </a:p>
          <a:p>
            <a:r>
              <a:rPr lang="en-US" sz="1200" dirty="0">
                <a:solidFill>
                  <a:schemeClr val="bg2">
                    <a:lumMod val="50000"/>
                    <a:lumOff val="50000"/>
                  </a:schemeClr>
                </a:solidFill>
              </a:rPr>
              <a:t>Any pre-agreed sampling rules are deviated from</a:t>
            </a:r>
          </a:p>
          <a:p>
            <a:r>
              <a:rPr lang="en-US" sz="1200" dirty="0">
                <a:solidFill>
                  <a:schemeClr val="bg2">
                    <a:lumMod val="50000"/>
                    <a:lumOff val="50000"/>
                  </a:schemeClr>
                </a:solidFill>
              </a:rPr>
              <a:t>People in hard-to-reach groups are omitted</a:t>
            </a:r>
          </a:p>
          <a:p>
            <a:r>
              <a:rPr lang="en-US" sz="1200" dirty="0">
                <a:solidFill>
                  <a:schemeClr val="bg2">
                    <a:lumMod val="50000"/>
                    <a:lumOff val="50000"/>
                  </a:schemeClr>
                </a:solidFill>
              </a:rPr>
              <a:t>Selected individuals are replaced with others, for example if they are difficult to contact</a:t>
            </a:r>
          </a:p>
          <a:p>
            <a:r>
              <a:rPr lang="en-US" sz="1200" dirty="0">
                <a:solidFill>
                  <a:schemeClr val="bg2">
                    <a:lumMod val="50000"/>
                    <a:lumOff val="50000"/>
                  </a:schemeClr>
                </a:solidFill>
              </a:rPr>
              <a:t>There are low response rates</a:t>
            </a:r>
          </a:p>
          <a:p>
            <a:r>
              <a:rPr lang="en-US" sz="1200" dirty="0">
                <a:solidFill>
                  <a:schemeClr val="bg2">
                    <a:lumMod val="50000"/>
                    <a:lumOff val="50000"/>
                  </a:schemeClr>
                </a:solidFill>
              </a:rPr>
              <a:t>An out-of-date list is used as the sample frame (for example, if it excludes people who have recently moved to an area)</a:t>
            </a:r>
          </a:p>
          <a:p>
            <a:pPr marL="0" indent="0">
              <a:buNone/>
            </a:pPr>
            <a:endParaRPr lang="en-US" sz="1200" dirty="0">
              <a:solidFill>
                <a:schemeClr val="bg2">
                  <a:lumMod val="50000"/>
                  <a:lumOff val="50000"/>
                </a:schemeClr>
              </a:solidFill>
            </a:endParaRPr>
          </a:p>
          <a:p>
            <a:pPr marL="0" indent="0">
              <a:buNone/>
            </a:pPr>
            <a:r>
              <a:rPr lang="en-US" sz="2000" b="1" dirty="0">
                <a:solidFill>
                  <a:schemeClr val="accent1"/>
                </a:solidFill>
              </a:rPr>
              <a:t>Types of Sampling : </a:t>
            </a:r>
          </a:p>
          <a:p>
            <a:pPr marL="0" indent="0">
              <a:buNone/>
            </a:pPr>
            <a:r>
              <a:rPr lang="en-US" sz="1200" b="1" dirty="0">
                <a:solidFill>
                  <a:schemeClr val="accent1"/>
                </a:solidFill>
              </a:rPr>
              <a:t>Probability sampling </a:t>
            </a:r>
            <a:r>
              <a:rPr lang="en-US" sz="1200" dirty="0">
                <a:solidFill>
                  <a:schemeClr val="bg2">
                    <a:lumMod val="50000"/>
                    <a:lumOff val="50000"/>
                  </a:schemeClr>
                </a:solidFill>
              </a:rPr>
              <a:t>involves random selection, allowing you to make strong statistical inferences about the whole group.</a:t>
            </a:r>
          </a:p>
          <a:p>
            <a:pPr marL="0" indent="0">
              <a:buNone/>
            </a:pPr>
            <a:r>
              <a:rPr lang="en-US" sz="1200" b="1" dirty="0">
                <a:solidFill>
                  <a:schemeClr val="accent1"/>
                </a:solidFill>
              </a:rPr>
              <a:t>Non-probability</a:t>
            </a:r>
            <a:r>
              <a:rPr lang="en-US" sz="1200" dirty="0">
                <a:solidFill>
                  <a:schemeClr val="bg2">
                    <a:lumMod val="50000"/>
                    <a:lumOff val="50000"/>
                  </a:schemeClr>
                </a:solidFill>
              </a:rPr>
              <a:t> sampling involves non-random selection based on convenience or other criteria, allowing you to easily collect data.</a:t>
            </a:r>
          </a:p>
          <a:p>
            <a:pPr marL="0" indent="0">
              <a:buNone/>
            </a:pPr>
            <a:endParaRPr lang="en-US" sz="1600" b="1" dirty="0">
              <a:solidFill>
                <a:schemeClr val="accent1"/>
              </a:solidFill>
            </a:endParaRPr>
          </a:p>
          <a:p>
            <a:endParaRPr lang="en-US" dirty="0"/>
          </a:p>
        </p:txBody>
      </p:sp>
    </p:spTree>
    <p:extLst>
      <p:ext uri="{BB962C8B-B14F-4D97-AF65-F5344CB8AC3E}">
        <p14:creationId xmlns:p14="http://schemas.microsoft.com/office/powerpoint/2010/main" val="3121719466"/>
      </p:ext>
    </p:extLst>
  </p:cSld>
  <p:clrMapOvr>
    <a:masterClrMapping/>
  </p:clrMapOvr>
  <p:transition spd="med">
    <p:wipe dir="r"/>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20B3A-BFEF-46FE-BCFB-6C1E194FE7E2}"/>
              </a:ext>
            </a:extLst>
          </p:cNvPr>
          <p:cNvSpPr>
            <a:spLocks noGrp="1"/>
          </p:cNvSpPr>
          <p:nvPr>
            <p:ph type="title"/>
          </p:nvPr>
        </p:nvSpPr>
        <p:spPr>
          <a:xfrm>
            <a:off x="0" y="0"/>
            <a:ext cx="4295219" cy="640080"/>
          </a:xfrm>
        </p:spPr>
        <p:txBody>
          <a:bodyPr/>
          <a:lstStyle/>
          <a:p>
            <a:r>
              <a:rPr lang="en-US" dirty="0"/>
              <a:t>Basic Counting Principle</a:t>
            </a:r>
          </a:p>
        </p:txBody>
      </p:sp>
      <p:sp>
        <p:nvSpPr>
          <p:cNvPr id="3" name="Content Placeholder 2">
            <a:extLst>
              <a:ext uri="{FF2B5EF4-FFF2-40B4-BE49-F238E27FC236}">
                <a16:creationId xmlns:a16="http://schemas.microsoft.com/office/drawing/2014/main" id="{7E895A45-2B38-45B6-A1B0-4B6527B5A775}"/>
              </a:ext>
            </a:extLst>
          </p:cNvPr>
          <p:cNvSpPr>
            <a:spLocks noGrp="1"/>
          </p:cNvSpPr>
          <p:nvPr>
            <p:ph sz="half" idx="13"/>
          </p:nvPr>
        </p:nvSpPr>
        <p:spPr>
          <a:xfrm>
            <a:off x="97704" y="640080"/>
            <a:ext cx="8395030" cy="3200400"/>
          </a:xfrm>
        </p:spPr>
        <p:txBody>
          <a:bodyPr/>
          <a:lstStyle/>
          <a:p>
            <a:r>
              <a:rPr lang="en-US" dirty="0"/>
              <a:t>When there are </a:t>
            </a:r>
            <a:r>
              <a:rPr lang="en-US" b="1" dirty="0"/>
              <a:t>m</a:t>
            </a:r>
            <a:r>
              <a:rPr lang="en-US" dirty="0"/>
              <a:t> ways to do one thing, and </a:t>
            </a:r>
            <a:r>
              <a:rPr lang="en-US" b="1" dirty="0"/>
              <a:t>n</a:t>
            </a:r>
            <a:r>
              <a:rPr lang="en-US" dirty="0"/>
              <a:t> ways to do another, then there are </a:t>
            </a:r>
            <a:r>
              <a:rPr lang="en-US" b="1" dirty="0" err="1"/>
              <a:t>m×n</a:t>
            </a:r>
            <a:r>
              <a:rPr lang="en-US" dirty="0"/>
              <a:t> ways of doing both.</a:t>
            </a:r>
          </a:p>
          <a:p>
            <a:pPr algn="l"/>
            <a:r>
              <a:rPr lang="en-US" b="1" i="0" dirty="0">
                <a:solidFill>
                  <a:srgbClr val="333333"/>
                </a:solidFill>
                <a:effectLst/>
                <a:latin typeface="Verdana" panose="020B0604030504040204" pitchFamily="34" charset="0"/>
              </a:rPr>
              <a:t>Example: </a:t>
            </a:r>
            <a:r>
              <a:rPr lang="en-US" b="0" i="0" dirty="0">
                <a:solidFill>
                  <a:srgbClr val="333333"/>
                </a:solidFill>
                <a:effectLst/>
                <a:latin typeface="Verdana" panose="020B0604030504040204" pitchFamily="34" charset="0"/>
              </a:rPr>
              <a:t>you have </a:t>
            </a:r>
            <a:r>
              <a:rPr lang="en-US" b="1" i="0" dirty="0">
                <a:solidFill>
                  <a:srgbClr val="333333"/>
                </a:solidFill>
                <a:effectLst/>
                <a:latin typeface="Verdana" panose="020B0604030504040204" pitchFamily="34" charset="0"/>
              </a:rPr>
              <a:t>3</a:t>
            </a:r>
            <a:r>
              <a:rPr lang="en-US" b="0" i="0" dirty="0">
                <a:solidFill>
                  <a:srgbClr val="333333"/>
                </a:solidFill>
                <a:effectLst/>
                <a:latin typeface="Verdana" panose="020B0604030504040204" pitchFamily="34" charset="0"/>
              </a:rPr>
              <a:t> shirts and </a:t>
            </a:r>
            <a:r>
              <a:rPr lang="en-US" b="1" i="0" dirty="0">
                <a:solidFill>
                  <a:srgbClr val="333333"/>
                </a:solidFill>
                <a:effectLst/>
                <a:latin typeface="Verdana" panose="020B0604030504040204" pitchFamily="34" charset="0"/>
              </a:rPr>
              <a:t>4</a:t>
            </a:r>
            <a:r>
              <a:rPr lang="en-US" b="0" i="0" dirty="0">
                <a:solidFill>
                  <a:srgbClr val="333333"/>
                </a:solidFill>
                <a:effectLst/>
                <a:latin typeface="Verdana" panose="020B0604030504040204" pitchFamily="34" charset="0"/>
              </a:rPr>
              <a:t> pants.</a:t>
            </a:r>
          </a:p>
          <a:p>
            <a:pPr lvl="1"/>
            <a:r>
              <a:rPr lang="en-US" b="0" i="0" dirty="0">
                <a:solidFill>
                  <a:srgbClr val="333333"/>
                </a:solidFill>
                <a:effectLst/>
                <a:latin typeface="Verdana" panose="020B0604030504040204" pitchFamily="34" charset="0"/>
              </a:rPr>
              <a:t>That means </a:t>
            </a:r>
            <a:r>
              <a:rPr lang="en-US" b="1" i="0" dirty="0">
                <a:solidFill>
                  <a:srgbClr val="333333"/>
                </a:solidFill>
                <a:effectLst/>
                <a:latin typeface="Verdana" panose="020B0604030504040204" pitchFamily="34" charset="0"/>
              </a:rPr>
              <a:t>3×4=12</a:t>
            </a:r>
            <a:r>
              <a:rPr lang="en-US" b="0" i="0" dirty="0">
                <a:solidFill>
                  <a:srgbClr val="333333"/>
                </a:solidFill>
                <a:effectLst/>
                <a:latin typeface="Verdana" panose="020B0604030504040204" pitchFamily="34" charset="0"/>
              </a:rPr>
              <a:t> different outfits.</a:t>
            </a:r>
          </a:p>
          <a:p>
            <a:pPr marL="342900" lvl="1" indent="0">
              <a:buNone/>
            </a:pPr>
            <a:endParaRPr lang="en-US" dirty="0">
              <a:solidFill>
                <a:srgbClr val="333333"/>
              </a:solidFill>
              <a:latin typeface="Verdana" panose="020B0604030504040204" pitchFamily="34" charset="0"/>
            </a:endParaRPr>
          </a:p>
          <a:p>
            <a:pPr algn="l"/>
            <a:r>
              <a:rPr lang="en-US" b="1" i="0" dirty="0">
                <a:solidFill>
                  <a:srgbClr val="333333"/>
                </a:solidFill>
                <a:effectLst/>
                <a:latin typeface="Verdana" panose="020B0604030504040204" pitchFamily="34" charset="0"/>
              </a:rPr>
              <a:t>Example: </a:t>
            </a:r>
            <a:r>
              <a:rPr lang="en-US" b="0" i="0" dirty="0">
                <a:solidFill>
                  <a:srgbClr val="333333"/>
                </a:solidFill>
                <a:effectLst/>
                <a:latin typeface="Verdana" panose="020B0604030504040204" pitchFamily="34" charset="0"/>
              </a:rPr>
              <a:t>There are </a:t>
            </a:r>
            <a:r>
              <a:rPr lang="en-US" b="1" i="0" dirty="0">
                <a:solidFill>
                  <a:srgbClr val="333333"/>
                </a:solidFill>
                <a:effectLst/>
                <a:latin typeface="Verdana" panose="020B0604030504040204" pitchFamily="34" charset="0"/>
              </a:rPr>
              <a:t>6</a:t>
            </a:r>
            <a:r>
              <a:rPr lang="en-US" b="0" i="0" dirty="0">
                <a:solidFill>
                  <a:srgbClr val="333333"/>
                </a:solidFill>
                <a:effectLst/>
                <a:latin typeface="Verdana" panose="020B0604030504040204" pitchFamily="34" charset="0"/>
              </a:rPr>
              <a:t> flavors of ice-cream, and </a:t>
            </a:r>
            <a:r>
              <a:rPr lang="en-US" b="1" i="0" dirty="0">
                <a:solidFill>
                  <a:srgbClr val="333333"/>
                </a:solidFill>
                <a:effectLst/>
                <a:latin typeface="Verdana" panose="020B0604030504040204" pitchFamily="34" charset="0"/>
              </a:rPr>
              <a:t>3</a:t>
            </a:r>
            <a:r>
              <a:rPr lang="en-US" b="0" i="0" dirty="0">
                <a:solidFill>
                  <a:srgbClr val="333333"/>
                </a:solidFill>
                <a:effectLst/>
                <a:latin typeface="Verdana" panose="020B0604030504040204" pitchFamily="34" charset="0"/>
              </a:rPr>
              <a:t> different cones.</a:t>
            </a:r>
          </a:p>
          <a:p>
            <a:pPr lvl="1"/>
            <a:r>
              <a:rPr lang="en-US" b="0" i="0" dirty="0">
                <a:solidFill>
                  <a:srgbClr val="333333"/>
                </a:solidFill>
                <a:effectLst/>
                <a:latin typeface="Verdana" panose="020B0604030504040204" pitchFamily="34" charset="0"/>
              </a:rPr>
              <a:t>That means </a:t>
            </a:r>
            <a:r>
              <a:rPr lang="en-US" b="1" i="0" dirty="0">
                <a:solidFill>
                  <a:srgbClr val="333333"/>
                </a:solidFill>
                <a:effectLst/>
                <a:latin typeface="Verdana" panose="020B0604030504040204" pitchFamily="34" charset="0"/>
              </a:rPr>
              <a:t>6×3=18</a:t>
            </a:r>
            <a:r>
              <a:rPr lang="en-US" b="0" i="0" dirty="0">
                <a:solidFill>
                  <a:srgbClr val="333333"/>
                </a:solidFill>
                <a:effectLst/>
                <a:latin typeface="Verdana" panose="020B0604030504040204" pitchFamily="34" charset="0"/>
              </a:rPr>
              <a:t> different single-scoop ice-creams you could order.</a:t>
            </a:r>
          </a:p>
          <a:p>
            <a:pPr marL="342900" lvl="1" indent="0">
              <a:buNone/>
            </a:pPr>
            <a:endParaRPr lang="en-US" b="0" i="0" dirty="0">
              <a:solidFill>
                <a:srgbClr val="333333"/>
              </a:solidFill>
              <a:effectLst/>
              <a:latin typeface="Verdana" panose="020B0604030504040204" pitchFamily="34" charset="0"/>
            </a:endParaRPr>
          </a:p>
          <a:p>
            <a:endParaRPr lang="en-US" dirty="0"/>
          </a:p>
        </p:txBody>
      </p:sp>
    </p:spTree>
    <p:extLst>
      <p:ext uri="{BB962C8B-B14F-4D97-AF65-F5344CB8AC3E}">
        <p14:creationId xmlns:p14="http://schemas.microsoft.com/office/powerpoint/2010/main" val="1347032845"/>
      </p:ext>
    </p:extLst>
  </p:cSld>
  <p:clrMapOvr>
    <a:masterClrMapping/>
  </p:clrMapOvr>
  <p:transition spd="med">
    <p:wipe dir="r"/>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4532B-185A-4357-BE52-28EBAB6F3121}"/>
              </a:ext>
            </a:extLst>
          </p:cNvPr>
          <p:cNvSpPr>
            <a:spLocks noGrp="1"/>
          </p:cNvSpPr>
          <p:nvPr>
            <p:ph type="title"/>
          </p:nvPr>
        </p:nvSpPr>
        <p:spPr>
          <a:xfrm>
            <a:off x="0" y="0"/>
            <a:ext cx="4295219" cy="640080"/>
          </a:xfrm>
        </p:spPr>
        <p:txBody>
          <a:bodyPr/>
          <a:lstStyle/>
          <a:p>
            <a:r>
              <a:rPr lang="en-US" dirty="0"/>
              <a:t>Basic Counting Principle</a:t>
            </a:r>
          </a:p>
        </p:txBody>
      </p:sp>
      <p:sp>
        <p:nvSpPr>
          <p:cNvPr id="3" name="Content Placeholder 2">
            <a:extLst>
              <a:ext uri="{FF2B5EF4-FFF2-40B4-BE49-F238E27FC236}">
                <a16:creationId xmlns:a16="http://schemas.microsoft.com/office/drawing/2014/main" id="{7FE24EE5-9E37-494F-9C2B-DFF91D177E34}"/>
              </a:ext>
            </a:extLst>
          </p:cNvPr>
          <p:cNvSpPr>
            <a:spLocks noGrp="1"/>
          </p:cNvSpPr>
          <p:nvPr>
            <p:ph sz="half" idx="13"/>
          </p:nvPr>
        </p:nvSpPr>
        <p:spPr>
          <a:xfrm>
            <a:off x="0" y="640080"/>
            <a:ext cx="9483933" cy="3200400"/>
          </a:xfrm>
        </p:spPr>
        <p:txBody>
          <a:bodyPr/>
          <a:lstStyle/>
          <a:p>
            <a:r>
              <a:rPr lang="en-US" b="0" i="0" dirty="0">
                <a:solidFill>
                  <a:srgbClr val="333333"/>
                </a:solidFill>
                <a:effectLst/>
                <a:latin typeface="Verdana" panose="020B0604030504040204" pitchFamily="34" charset="0"/>
              </a:rPr>
              <a:t>It also works when you have more than 2 choices:</a:t>
            </a:r>
          </a:p>
          <a:p>
            <a:r>
              <a:rPr lang="en-US" b="0" i="0" dirty="0">
                <a:solidFill>
                  <a:srgbClr val="333333"/>
                </a:solidFill>
                <a:effectLst/>
                <a:latin typeface="Verdana" panose="020B0604030504040204" pitchFamily="34" charset="0"/>
              </a:rPr>
              <a:t>Example: You are buying a new car.</a:t>
            </a:r>
          </a:p>
          <a:p>
            <a:pPr lvl="1"/>
            <a:r>
              <a:rPr lang="en-US" dirty="0">
                <a:solidFill>
                  <a:srgbClr val="333333"/>
                </a:solidFill>
                <a:latin typeface="Verdana" panose="020B0604030504040204" pitchFamily="34" charset="0"/>
              </a:rPr>
              <a:t>There are 2 body styles</a:t>
            </a:r>
          </a:p>
          <a:p>
            <a:pPr lvl="1"/>
            <a:r>
              <a:rPr lang="en-US" b="0" i="0" dirty="0">
                <a:solidFill>
                  <a:srgbClr val="333333"/>
                </a:solidFill>
                <a:effectLst/>
                <a:latin typeface="Verdana" panose="020B0604030504040204" pitchFamily="34" charset="0"/>
              </a:rPr>
              <a:t>There are 5 colors available</a:t>
            </a:r>
          </a:p>
          <a:p>
            <a:pPr lvl="1"/>
            <a:r>
              <a:rPr lang="en-US" dirty="0">
                <a:solidFill>
                  <a:srgbClr val="333333"/>
                </a:solidFill>
                <a:latin typeface="Verdana" panose="020B0604030504040204" pitchFamily="34" charset="0"/>
              </a:rPr>
              <a:t>There are 3 models : </a:t>
            </a:r>
          </a:p>
          <a:p>
            <a:pPr lvl="2"/>
            <a:r>
              <a:rPr lang="en-US" b="0" i="0" dirty="0">
                <a:solidFill>
                  <a:srgbClr val="333333"/>
                </a:solidFill>
                <a:effectLst/>
                <a:latin typeface="Verdana" panose="020B0604030504040204" pitchFamily="34" charset="0"/>
              </a:rPr>
              <a:t>GL (standard model),</a:t>
            </a:r>
          </a:p>
          <a:p>
            <a:pPr lvl="2"/>
            <a:r>
              <a:rPr lang="en-US" b="0" i="0" dirty="0">
                <a:solidFill>
                  <a:srgbClr val="333333"/>
                </a:solidFill>
                <a:effectLst/>
                <a:latin typeface="Verdana" panose="020B0604030504040204" pitchFamily="34" charset="0"/>
              </a:rPr>
              <a:t>SS (sports model with bigger engine)</a:t>
            </a:r>
          </a:p>
          <a:p>
            <a:pPr lvl="2"/>
            <a:r>
              <a:rPr lang="en-US" b="0" i="0" dirty="0">
                <a:solidFill>
                  <a:srgbClr val="333333"/>
                </a:solidFill>
                <a:effectLst/>
                <a:latin typeface="Verdana" panose="020B0604030504040204" pitchFamily="34" charset="0"/>
              </a:rPr>
              <a:t>SL (luxury model with leather seats)</a:t>
            </a:r>
          </a:p>
          <a:p>
            <a:pPr lvl="2"/>
            <a:endParaRPr lang="en-US" b="0" i="0" dirty="0">
              <a:solidFill>
                <a:srgbClr val="333333"/>
              </a:solidFill>
              <a:effectLst/>
              <a:latin typeface="Verdana" panose="020B0604030504040204" pitchFamily="34" charset="0"/>
            </a:endParaRPr>
          </a:p>
          <a:p>
            <a:r>
              <a:rPr lang="en-US" b="1" dirty="0"/>
              <a:t>How many total choices you have ? </a:t>
            </a:r>
          </a:p>
          <a:p>
            <a:pPr marL="0" indent="0">
              <a:buNone/>
            </a:pPr>
            <a:endParaRPr lang="en-US" dirty="0"/>
          </a:p>
        </p:txBody>
      </p:sp>
      <p:pic>
        <p:nvPicPr>
          <p:cNvPr id="5" name="Picture 4" descr="A red car parked on a road&#10;&#10;Description automatically generated with medium confidence">
            <a:extLst>
              <a:ext uri="{FF2B5EF4-FFF2-40B4-BE49-F238E27FC236}">
                <a16:creationId xmlns:a16="http://schemas.microsoft.com/office/drawing/2014/main" id="{19F1B0FC-CF74-40A2-BF51-6C0B862B6932}"/>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868238" y="0"/>
            <a:ext cx="2275761" cy="970241"/>
          </a:xfrm>
          <a:prstGeom prst="rect">
            <a:avLst/>
          </a:prstGeom>
        </p:spPr>
      </p:pic>
      <p:pic>
        <p:nvPicPr>
          <p:cNvPr id="7" name="Picture 6" descr="A red car parked on a road&#10;&#10;Description automatically generated with medium confidence">
            <a:extLst>
              <a:ext uri="{FF2B5EF4-FFF2-40B4-BE49-F238E27FC236}">
                <a16:creationId xmlns:a16="http://schemas.microsoft.com/office/drawing/2014/main" id="{5C777FBC-EC57-4116-9590-28C6560EB94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7208171" y="970241"/>
            <a:ext cx="1935829" cy="1451872"/>
          </a:xfrm>
          <a:prstGeom prst="rect">
            <a:avLst/>
          </a:prstGeom>
        </p:spPr>
      </p:pic>
      <p:pic>
        <p:nvPicPr>
          <p:cNvPr id="10" name="Picture 9">
            <a:extLst>
              <a:ext uri="{FF2B5EF4-FFF2-40B4-BE49-F238E27FC236}">
                <a16:creationId xmlns:a16="http://schemas.microsoft.com/office/drawing/2014/main" id="{380E2F7E-32C4-431E-B6FF-0AF97B2D0F87}"/>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3268674" y="2962944"/>
            <a:ext cx="1755072" cy="1755072"/>
          </a:xfrm>
          <a:prstGeom prst="rect">
            <a:avLst/>
          </a:prstGeom>
        </p:spPr>
      </p:pic>
    </p:spTree>
    <p:extLst>
      <p:ext uri="{BB962C8B-B14F-4D97-AF65-F5344CB8AC3E}">
        <p14:creationId xmlns:p14="http://schemas.microsoft.com/office/powerpoint/2010/main" val="2033431723"/>
      </p:ext>
    </p:extLst>
  </p:cSld>
  <p:clrMapOvr>
    <a:masterClrMapping/>
  </p:clrMapOvr>
  <p:transition spd="med">
    <p:wipe dir="r"/>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38622-11D2-416A-A0DB-E3E9EFE6E75C}"/>
              </a:ext>
            </a:extLst>
          </p:cNvPr>
          <p:cNvSpPr>
            <a:spLocks noGrp="1"/>
          </p:cNvSpPr>
          <p:nvPr>
            <p:ph type="title"/>
          </p:nvPr>
        </p:nvSpPr>
        <p:spPr>
          <a:xfrm>
            <a:off x="0" y="22860"/>
            <a:ext cx="7230614" cy="640080"/>
          </a:xfrm>
        </p:spPr>
        <p:txBody>
          <a:bodyPr/>
          <a:lstStyle/>
          <a:p>
            <a:r>
              <a:rPr lang="en-US" dirty="0"/>
              <a:t>Basic Counting Principle – Ex continued</a:t>
            </a:r>
          </a:p>
        </p:txBody>
      </p:sp>
      <p:sp>
        <p:nvSpPr>
          <p:cNvPr id="3" name="Content Placeholder 2">
            <a:extLst>
              <a:ext uri="{FF2B5EF4-FFF2-40B4-BE49-F238E27FC236}">
                <a16:creationId xmlns:a16="http://schemas.microsoft.com/office/drawing/2014/main" id="{07E829D6-B167-49B9-8A62-F4EBDAFC55FF}"/>
              </a:ext>
            </a:extLst>
          </p:cNvPr>
          <p:cNvSpPr>
            <a:spLocks noGrp="1"/>
          </p:cNvSpPr>
          <p:nvPr>
            <p:ph sz="half" idx="13"/>
          </p:nvPr>
        </p:nvSpPr>
        <p:spPr>
          <a:xfrm>
            <a:off x="133670" y="2934669"/>
            <a:ext cx="8396077" cy="1633355"/>
          </a:xfrm>
        </p:spPr>
        <p:txBody>
          <a:bodyPr>
            <a:normAutofit/>
          </a:bodyPr>
          <a:lstStyle/>
          <a:p>
            <a:r>
              <a:rPr lang="en-US" dirty="0"/>
              <a:t>You can count the choices, or just do the simple calculation:</a:t>
            </a:r>
          </a:p>
          <a:p>
            <a:pPr marL="0" indent="0">
              <a:buNone/>
            </a:pPr>
            <a:endParaRPr lang="en-US" dirty="0"/>
          </a:p>
        </p:txBody>
      </p:sp>
      <p:pic>
        <p:nvPicPr>
          <p:cNvPr id="5" name="Picture 4">
            <a:extLst>
              <a:ext uri="{FF2B5EF4-FFF2-40B4-BE49-F238E27FC236}">
                <a16:creationId xmlns:a16="http://schemas.microsoft.com/office/drawing/2014/main" id="{8CBEB511-67A4-4D30-A170-5C33C7FD1431}"/>
              </a:ext>
            </a:extLst>
          </p:cNvPr>
          <p:cNvPicPr>
            <a:picLocks noChangeAspect="1"/>
          </p:cNvPicPr>
          <p:nvPr/>
        </p:nvPicPr>
        <p:blipFill>
          <a:blip r:embed="rId2"/>
          <a:stretch>
            <a:fillRect/>
          </a:stretch>
        </p:blipFill>
        <p:spPr>
          <a:xfrm>
            <a:off x="1033063" y="575476"/>
            <a:ext cx="6086693" cy="2155832"/>
          </a:xfrm>
          <a:prstGeom prst="rect">
            <a:avLst/>
          </a:prstGeom>
        </p:spPr>
      </p:pic>
    </p:spTree>
    <p:extLst>
      <p:ext uri="{BB962C8B-B14F-4D97-AF65-F5344CB8AC3E}">
        <p14:creationId xmlns:p14="http://schemas.microsoft.com/office/powerpoint/2010/main" val="2074760393"/>
      </p:ext>
    </p:extLst>
  </p:cSld>
  <p:clrMapOvr>
    <a:masterClrMapping/>
  </p:clrMapOvr>
  <p:transition spd="med">
    <p:wipe dir="r"/>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4A364-C2E7-49F9-B5CC-663C189F5BEC}"/>
              </a:ext>
            </a:extLst>
          </p:cNvPr>
          <p:cNvSpPr>
            <a:spLocks noGrp="1"/>
          </p:cNvSpPr>
          <p:nvPr>
            <p:ph type="title"/>
          </p:nvPr>
        </p:nvSpPr>
        <p:spPr>
          <a:xfrm>
            <a:off x="0" y="0"/>
            <a:ext cx="6839726" cy="640080"/>
          </a:xfrm>
        </p:spPr>
        <p:txBody>
          <a:bodyPr/>
          <a:lstStyle/>
          <a:p>
            <a:r>
              <a:rPr lang="en-US" dirty="0"/>
              <a:t>Independent or Dependent </a:t>
            </a:r>
          </a:p>
        </p:txBody>
      </p:sp>
      <p:sp>
        <p:nvSpPr>
          <p:cNvPr id="3" name="Content Placeholder 2">
            <a:extLst>
              <a:ext uri="{FF2B5EF4-FFF2-40B4-BE49-F238E27FC236}">
                <a16:creationId xmlns:a16="http://schemas.microsoft.com/office/drawing/2014/main" id="{32BE9735-4EC7-4FA5-9C8E-FB6A20384A25}"/>
              </a:ext>
            </a:extLst>
          </p:cNvPr>
          <p:cNvSpPr>
            <a:spLocks noGrp="1"/>
          </p:cNvSpPr>
          <p:nvPr>
            <p:ph sz="half" idx="13"/>
          </p:nvPr>
        </p:nvSpPr>
        <p:spPr>
          <a:xfrm>
            <a:off x="0" y="640079"/>
            <a:ext cx="9144000" cy="3771377"/>
          </a:xfrm>
        </p:spPr>
        <p:txBody>
          <a:bodyPr>
            <a:normAutofit/>
          </a:bodyPr>
          <a:lstStyle/>
          <a:p>
            <a:pPr algn="l"/>
            <a:r>
              <a:rPr lang="en-US" sz="2000" b="0" i="0" dirty="0">
                <a:solidFill>
                  <a:srgbClr val="333333"/>
                </a:solidFill>
                <a:effectLst/>
                <a:latin typeface="Verdana" panose="020B0604030504040204" pitchFamily="34" charset="0"/>
              </a:rPr>
              <a:t>But it only works when all choices are </a:t>
            </a:r>
            <a:r>
              <a:rPr lang="en-US" sz="2000" b="1" i="0" dirty="0">
                <a:solidFill>
                  <a:srgbClr val="333333"/>
                </a:solidFill>
                <a:effectLst/>
                <a:latin typeface="Verdana" panose="020B0604030504040204" pitchFamily="34" charset="0"/>
              </a:rPr>
              <a:t>independent</a:t>
            </a:r>
            <a:r>
              <a:rPr lang="en-US" sz="2000" b="0" i="0" dirty="0">
                <a:solidFill>
                  <a:srgbClr val="333333"/>
                </a:solidFill>
                <a:effectLst/>
                <a:latin typeface="Verdana" panose="020B0604030504040204" pitchFamily="34" charset="0"/>
              </a:rPr>
              <a:t> of each other.</a:t>
            </a:r>
          </a:p>
          <a:p>
            <a:pPr algn="l"/>
            <a:r>
              <a:rPr lang="en-US" sz="2000" b="0" i="0" dirty="0">
                <a:solidFill>
                  <a:srgbClr val="333333"/>
                </a:solidFill>
                <a:effectLst/>
                <a:latin typeface="Verdana" panose="020B0604030504040204" pitchFamily="34" charset="0"/>
              </a:rPr>
              <a:t>If one choice affects another choice (i.e. </a:t>
            </a:r>
            <a:r>
              <a:rPr lang="en-US" sz="2000" b="1" i="0" dirty="0">
                <a:solidFill>
                  <a:srgbClr val="333333"/>
                </a:solidFill>
                <a:effectLst/>
                <a:latin typeface="Verdana" panose="020B0604030504040204" pitchFamily="34" charset="0"/>
              </a:rPr>
              <a:t>depends</a:t>
            </a:r>
            <a:r>
              <a:rPr lang="en-US" sz="2000" b="0" i="0" dirty="0">
                <a:solidFill>
                  <a:srgbClr val="333333"/>
                </a:solidFill>
                <a:effectLst/>
                <a:latin typeface="Verdana" panose="020B0604030504040204" pitchFamily="34" charset="0"/>
              </a:rPr>
              <a:t> on another choice), then a simple multiplication is not right.</a:t>
            </a:r>
          </a:p>
          <a:p>
            <a:pPr algn="l"/>
            <a:r>
              <a:rPr lang="en-US" sz="2000" dirty="0">
                <a:solidFill>
                  <a:srgbClr val="333333"/>
                </a:solidFill>
                <a:latin typeface="Verdana" panose="020B0604030504040204" pitchFamily="34" charset="0"/>
              </a:rPr>
              <a:t>Ex : you are buying a car, but the salesman says you can’t choose black for the hatchback.. </a:t>
            </a:r>
            <a:r>
              <a:rPr lang="en-US" sz="2000" b="1" i="1" dirty="0">
                <a:solidFill>
                  <a:srgbClr val="333333"/>
                </a:solidFill>
                <a:latin typeface="Verdana" panose="020B0604030504040204" pitchFamily="34" charset="0"/>
              </a:rPr>
              <a:t>Well then things change</a:t>
            </a:r>
            <a:endParaRPr lang="en-US" sz="2000" b="1" i="1" dirty="0">
              <a:solidFill>
                <a:srgbClr val="333333"/>
              </a:solidFill>
              <a:effectLst/>
              <a:latin typeface="Verdana" panose="020B0604030504040204" pitchFamily="34" charset="0"/>
            </a:endParaRPr>
          </a:p>
          <a:p>
            <a:endParaRPr lang="en-US" dirty="0"/>
          </a:p>
        </p:txBody>
      </p:sp>
    </p:spTree>
    <p:extLst>
      <p:ext uri="{BB962C8B-B14F-4D97-AF65-F5344CB8AC3E}">
        <p14:creationId xmlns:p14="http://schemas.microsoft.com/office/powerpoint/2010/main" val="2871754504"/>
      </p:ext>
    </p:extLst>
  </p:cSld>
  <p:clrMapOvr>
    <a:masterClrMapping/>
  </p:clrMapOvr>
  <p:transition spd="med">
    <p:wipe dir="r"/>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8C05D-BE8C-4546-B006-9B88F0538A05}"/>
              </a:ext>
            </a:extLst>
          </p:cNvPr>
          <p:cNvSpPr>
            <a:spLocks noGrp="1"/>
          </p:cNvSpPr>
          <p:nvPr>
            <p:ph type="title"/>
          </p:nvPr>
        </p:nvSpPr>
        <p:spPr>
          <a:xfrm>
            <a:off x="0" y="0"/>
            <a:ext cx="7929453" cy="640080"/>
          </a:xfrm>
        </p:spPr>
        <p:txBody>
          <a:bodyPr/>
          <a:lstStyle/>
          <a:p>
            <a:r>
              <a:rPr lang="en-US" dirty="0"/>
              <a:t>Independent or Dependent – Ex continued </a:t>
            </a:r>
          </a:p>
        </p:txBody>
      </p:sp>
      <p:pic>
        <p:nvPicPr>
          <p:cNvPr id="4" name="Content Placeholder 3">
            <a:extLst>
              <a:ext uri="{FF2B5EF4-FFF2-40B4-BE49-F238E27FC236}">
                <a16:creationId xmlns:a16="http://schemas.microsoft.com/office/drawing/2014/main" id="{8F32F106-4CD4-40E0-87E2-661C2067C569}"/>
              </a:ext>
            </a:extLst>
          </p:cNvPr>
          <p:cNvPicPr>
            <a:picLocks noGrp="1" noChangeAspect="1"/>
          </p:cNvPicPr>
          <p:nvPr>
            <p:ph sz="half" idx="13"/>
          </p:nvPr>
        </p:nvPicPr>
        <p:blipFill>
          <a:blip r:embed="rId2"/>
          <a:stretch>
            <a:fillRect/>
          </a:stretch>
        </p:blipFill>
        <p:spPr>
          <a:xfrm>
            <a:off x="1740470" y="572928"/>
            <a:ext cx="5923738" cy="2422742"/>
          </a:xfrm>
          <a:prstGeom prst="rect">
            <a:avLst/>
          </a:prstGeom>
        </p:spPr>
      </p:pic>
      <p:sp>
        <p:nvSpPr>
          <p:cNvPr id="5" name="TextBox 4">
            <a:extLst>
              <a:ext uri="{FF2B5EF4-FFF2-40B4-BE49-F238E27FC236}">
                <a16:creationId xmlns:a16="http://schemas.microsoft.com/office/drawing/2014/main" id="{80CAC565-AB32-4C61-99D3-866831E99BC3}"/>
              </a:ext>
            </a:extLst>
          </p:cNvPr>
          <p:cNvSpPr txBox="1"/>
          <p:nvPr/>
        </p:nvSpPr>
        <p:spPr>
          <a:xfrm>
            <a:off x="-83763" y="3266711"/>
            <a:ext cx="8013216" cy="830997"/>
          </a:xfrm>
          <a:prstGeom prst="rect">
            <a:avLst/>
          </a:prstGeom>
          <a:noFill/>
        </p:spPr>
        <p:txBody>
          <a:bodyPr wrap="square" rtlCol="0">
            <a:spAutoFit/>
          </a:bodyPr>
          <a:lstStyle/>
          <a:p>
            <a:pPr marL="171450" indent="-171450" algn="l">
              <a:buFont typeface="Arial" panose="020B0604020202020204" pitchFamily="34" charset="0"/>
              <a:buChar char="•"/>
            </a:pPr>
            <a:r>
              <a:rPr lang="en-US" sz="1600" b="0" i="0" dirty="0">
                <a:solidFill>
                  <a:srgbClr val="333333"/>
                </a:solidFill>
                <a:effectLst/>
                <a:latin typeface="Verdana" panose="020B0604030504040204" pitchFamily="34" charset="0"/>
              </a:rPr>
              <a:t>Because your choices are </a:t>
            </a:r>
            <a:r>
              <a:rPr lang="en-US" sz="1600" b="1" i="0" dirty="0">
                <a:solidFill>
                  <a:srgbClr val="333333"/>
                </a:solidFill>
                <a:effectLst/>
                <a:latin typeface="Verdana" panose="020B0604030504040204" pitchFamily="34" charset="0"/>
              </a:rPr>
              <a:t>not independent</a:t>
            </a:r>
            <a:r>
              <a:rPr lang="en-US" sz="1600" b="0" i="0" dirty="0">
                <a:solidFill>
                  <a:srgbClr val="333333"/>
                </a:solidFill>
                <a:effectLst/>
                <a:latin typeface="Verdana" panose="020B0604030504040204" pitchFamily="34" charset="0"/>
              </a:rPr>
              <a:t> of each other.</a:t>
            </a:r>
          </a:p>
          <a:p>
            <a:pPr marL="171450" indent="-171450" algn="l">
              <a:buFont typeface="Arial" panose="020B0604020202020204" pitchFamily="34" charset="0"/>
              <a:buChar char="•"/>
            </a:pPr>
            <a:endParaRPr lang="en-US" sz="16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600" b="0" i="0" dirty="0">
                <a:solidFill>
                  <a:srgbClr val="333333"/>
                </a:solidFill>
                <a:effectLst/>
                <a:latin typeface="Verdana" panose="020B0604030504040204" pitchFamily="34" charset="0"/>
              </a:rPr>
              <a:t>But you can still make your life easier with this calculation:</a:t>
            </a:r>
          </a:p>
        </p:txBody>
      </p:sp>
    </p:spTree>
    <p:extLst>
      <p:ext uri="{BB962C8B-B14F-4D97-AF65-F5344CB8AC3E}">
        <p14:creationId xmlns:p14="http://schemas.microsoft.com/office/powerpoint/2010/main" val="2852821484"/>
      </p:ext>
    </p:extLst>
  </p:cSld>
  <p:clrMapOvr>
    <a:masterClrMapping/>
  </p:clrMapOvr>
  <p:transition spd="med">
    <p:wipe dir="r"/>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4589F-FA7B-4274-8300-F7E79507DCCA}"/>
              </a:ext>
            </a:extLst>
          </p:cNvPr>
          <p:cNvSpPr>
            <a:spLocks noGrp="1"/>
          </p:cNvSpPr>
          <p:nvPr>
            <p:ph type="title"/>
          </p:nvPr>
        </p:nvSpPr>
        <p:spPr>
          <a:xfrm>
            <a:off x="0" y="0"/>
            <a:ext cx="7998431"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5702E1F5-822D-4D74-A37A-D6C43EA0C961}"/>
              </a:ext>
            </a:extLst>
          </p:cNvPr>
          <p:cNvSpPr>
            <a:spLocks noGrp="1"/>
          </p:cNvSpPr>
          <p:nvPr>
            <p:ph sz="half" idx="13"/>
          </p:nvPr>
        </p:nvSpPr>
        <p:spPr>
          <a:xfrm>
            <a:off x="0" y="826451"/>
            <a:ext cx="8869680" cy="3200400"/>
          </a:xfrm>
        </p:spPr>
        <p:txBody>
          <a:bodyPr/>
          <a:lstStyle/>
          <a:p>
            <a:r>
              <a:rPr lang="en-US" b="1" i="0" dirty="0">
                <a:solidFill>
                  <a:srgbClr val="333333"/>
                </a:solidFill>
                <a:effectLst/>
                <a:latin typeface="Verdana" panose="020B0604030504040204" pitchFamily="34" charset="0"/>
              </a:rPr>
              <a:t>Mutually Exclusive</a:t>
            </a:r>
            <a:r>
              <a:rPr lang="en-US" b="0" i="0" dirty="0">
                <a:solidFill>
                  <a:srgbClr val="333333"/>
                </a:solidFill>
                <a:effectLst/>
                <a:latin typeface="Verdana" panose="020B0604030504040204" pitchFamily="34" charset="0"/>
              </a:rPr>
              <a:t>: can't happen at the same time.</a:t>
            </a:r>
          </a:p>
          <a:p>
            <a:r>
              <a:rPr lang="en-US" dirty="0">
                <a:solidFill>
                  <a:srgbClr val="333333"/>
                </a:solidFill>
                <a:latin typeface="Verdana" panose="020B0604030504040204" pitchFamily="34" charset="0"/>
              </a:rPr>
              <a:t>Ex : </a:t>
            </a:r>
            <a:endParaRPr lang="en-US" dirty="0"/>
          </a:p>
        </p:txBody>
      </p:sp>
    </p:spTree>
    <p:extLst>
      <p:ext uri="{BB962C8B-B14F-4D97-AF65-F5344CB8AC3E}">
        <p14:creationId xmlns:p14="http://schemas.microsoft.com/office/powerpoint/2010/main" val="755309856"/>
      </p:ext>
    </p:extLst>
  </p:cSld>
  <p:clrMapOvr>
    <a:masterClrMapping/>
  </p:clrMapOvr>
  <p:transition spd="med">
    <p:wipe dir="r"/>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CF189-4C36-48C7-AAFE-3A8346E1656B}"/>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369F0675-EE2E-43C4-B836-74C1DD2FB138}"/>
              </a:ext>
            </a:extLst>
          </p:cNvPr>
          <p:cNvSpPr>
            <a:spLocks noGrp="1"/>
          </p:cNvSpPr>
          <p:nvPr>
            <p:ph sz="half" idx="13"/>
          </p:nvPr>
        </p:nvSpPr>
        <p:spPr>
          <a:xfrm>
            <a:off x="0" y="791549"/>
            <a:ext cx="8255427" cy="3200400"/>
          </a:xfrm>
        </p:spPr>
        <p:txBody>
          <a:bodyPr/>
          <a:lstStyle/>
          <a:p>
            <a:r>
              <a:rPr lang="en-US" dirty="0"/>
              <a:t>What is not Mutually exclusive ? </a:t>
            </a:r>
          </a:p>
          <a:p>
            <a:pPr lvl="1"/>
            <a:r>
              <a:rPr lang="en-US" b="0" i="0" dirty="0">
                <a:solidFill>
                  <a:srgbClr val="333333"/>
                </a:solidFill>
                <a:effectLst/>
                <a:latin typeface="Verdana" panose="020B0604030504040204" pitchFamily="34" charset="0"/>
              </a:rPr>
              <a:t>Turning left and scratching your head can happen at the same time</a:t>
            </a:r>
          </a:p>
          <a:p>
            <a:pPr lvl="1"/>
            <a:r>
              <a:rPr lang="en-US" b="0" i="0" dirty="0">
                <a:solidFill>
                  <a:srgbClr val="333333"/>
                </a:solidFill>
                <a:effectLst/>
                <a:latin typeface="Verdana" panose="020B0604030504040204" pitchFamily="34" charset="0"/>
              </a:rPr>
              <a:t>Kings and Hearts, because we can have a King of Hearts!</a:t>
            </a:r>
          </a:p>
          <a:p>
            <a:pPr lvl="1"/>
            <a:endParaRPr lang="en-US" dirty="0"/>
          </a:p>
        </p:txBody>
      </p:sp>
      <p:pic>
        <p:nvPicPr>
          <p:cNvPr id="5" name="Picture 4">
            <a:extLst>
              <a:ext uri="{FF2B5EF4-FFF2-40B4-BE49-F238E27FC236}">
                <a16:creationId xmlns:a16="http://schemas.microsoft.com/office/drawing/2014/main" id="{8A5CA808-E866-4F37-AFB1-7B95B345E15B}"/>
              </a:ext>
            </a:extLst>
          </p:cNvPr>
          <p:cNvPicPr>
            <a:picLocks noChangeAspect="1"/>
          </p:cNvPicPr>
          <p:nvPr/>
        </p:nvPicPr>
        <p:blipFill>
          <a:blip r:embed="rId2"/>
          <a:stretch>
            <a:fillRect/>
          </a:stretch>
        </p:blipFill>
        <p:spPr>
          <a:xfrm>
            <a:off x="1301144" y="1639970"/>
            <a:ext cx="4983007" cy="2645844"/>
          </a:xfrm>
          <a:prstGeom prst="rect">
            <a:avLst/>
          </a:prstGeom>
        </p:spPr>
      </p:pic>
    </p:spTree>
    <p:extLst>
      <p:ext uri="{BB962C8B-B14F-4D97-AF65-F5344CB8AC3E}">
        <p14:creationId xmlns:p14="http://schemas.microsoft.com/office/powerpoint/2010/main" val="383622476"/>
      </p:ext>
    </p:extLst>
  </p:cSld>
  <p:clrMapOvr>
    <a:masterClrMapping/>
  </p:clrMapOvr>
  <p:transition spd="med">
    <p:wipe dir="r"/>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5768DA-60F5-4EC8-9D65-49B195895AA4}"/>
              </a:ext>
            </a:extLst>
          </p:cNvPr>
          <p:cNvSpPr/>
          <p:nvPr/>
        </p:nvSpPr>
        <p:spPr>
          <a:xfrm>
            <a:off x="1563554" y="1486773"/>
            <a:ext cx="5940110" cy="963261"/>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4E0D191B-0B57-4455-A047-0BBF63CA3140}"/>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2958DAA0-CB47-4F7F-962D-D941FFEDF517}"/>
              </a:ext>
            </a:extLst>
          </p:cNvPr>
          <p:cNvSpPr>
            <a:spLocks noGrp="1"/>
          </p:cNvSpPr>
          <p:nvPr>
            <p:ph sz="half" idx="13"/>
          </p:nvPr>
        </p:nvSpPr>
        <p:spPr>
          <a:xfrm>
            <a:off x="0" y="742688"/>
            <a:ext cx="8892715" cy="3200400"/>
          </a:xfrm>
        </p:spPr>
        <p:txBody>
          <a:bodyPr/>
          <a:lstStyle/>
          <a:p>
            <a:r>
              <a:rPr lang="en-US" b="0" i="0" dirty="0">
                <a:solidFill>
                  <a:srgbClr val="333333"/>
                </a:solidFill>
                <a:effectLst/>
                <a:latin typeface="Verdana" panose="020B0604030504040204" pitchFamily="34" charset="0"/>
              </a:rPr>
              <a:t>When two events (call them "A" and "B") are Mutually Exclusive it is </a:t>
            </a:r>
            <a:r>
              <a:rPr lang="en-US" b="1" i="0" dirty="0">
                <a:solidFill>
                  <a:srgbClr val="333333"/>
                </a:solidFill>
                <a:effectLst/>
                <a:latin typeface="Verdana" panose="020B0604030504040204" pitchFamily="34" charset="0"/>
              </a:rPr>
              <a:t>impossible</a:t>
            </a:r>
            <a:r>
              <a:rPr lang="en-US" b="0" i="0" dirty="0">
                <a:solidFill>
                  <a:srgbClr val="333333"/>
                </a:solidFill>
                <a:effectLst/>
                <a:latin typeface="Verdana" panose="020B0604030504040204" pitchFamily="34" charset="0"/>
              </a:rPr>
              <a:t> for them to happen together:</a:t>
            </a:r>
          </a:p>
          <a:p>
            <a:endParaRPr lang="en-US" b="0" i="0" dirty="0">
              <a:solidFill>
                <a:srgbClr val="333333"/>
              </a:solidFill>
              <a:effectLst/>
              <a:latin typeface="Verdana" panose="020B0604030504040204" pitchFamily="34" charset="0"/>
            </a:endParaRPr>
          </a:p>
          <a:p>
            <a:pPr marL="0" indent="0" algn="ctr">
              <a:buNone/>
            </a:pPr>
            <a:r>
              <a:rPr lang="en-US" b="1" i="0" dirty="0">
                <a:solidFill>
                  <a:schemeClr val="tx2"/>
                </a:solidFill>
                <a:effectLst/>
                <a:latin typeface="Verdana" panose="020B0604030504040204" pitchFamily="34" charset="0"/>
              </a:rPr>
              <a:t>P(A and B) = 0</a:t>
            </a:r>
            <a:endParaRPr lang="en-US" b="0" i="0" dirty="0">
              <a:solidFill>
                <a:schemeClr val="tx2"/>
              </a:solidFill>
              <a:effectLst/>
              <a:latin typeface="Verdana" panose="020B0604030504040204" pitchFamily="34" charset="0"/>
            </a:endParaRPr>
          </a:p>
          <a:p>
            <a:pPr marL="0" indent="0" algn="ctr">
              <a:buNone/>
            </a:pPr>
            <a:r>
              <a:rPr lang="en-US" b="0" i="1" dirty="0">
                <a:solidFill>
                  <a:schemeClr val="tx2"/>
                </a:solidFill>
                <a:effectLst/>
                <a:latin typeface="Verdana" panose="020B0604030504040204" pitchFamily="34" charset="0"/>
              </a:rPr>
              <a:t>"The probability of A and B together equals 0 (impossible)"</a:t>
            </a:r>
            <a:endParaRPr lang="en-US" b="0" i="0" dirty="0">
              <a:solidFill>
                <a:schemeClr val="tx2"/>
              </a:solidFill>
              <a:effectLst/>
              <a:latin typeface="Verdana" panose="020B0604030504040204" pitchFamily="34" charset="0"/>
            </a:endParaRPr>
          </a:p>
          <a:p>
            <a:endParaRPr lang="en-US" dirty="0">
              <a:solidFill>
                <a:srgbClr val="333333"/>
              </a:solidFill>
              <a:latin typeface="Verdana" panose="020B0604030504040204" pitchFamily="34" charset="0"/>
            </a:endParaRPr>
          </a:p>
          <a:p>
            <a:pPr marL="0" indent="0">
              <a:buNone/>
            </a:pPr>
            <a:endParaRPr lang="en-US" dirty="0"/>
          </a:p>
        </p:txBody>
      </p:sp>
      <p:sp>
        <p:nvSpPr>
          <p:cNvPr id="5" name="TextBox 4">
            <a:extLst>
              <a:ext uri="{FF2B5EF4-FFF2-40B4-BE49-F238E27FC236}">
                <a16:creationId xmlns:a16="http://schemas.microsoft.com/office/drawing/2014/main" id="{8097A869-7708-4C6B-968B-2EDC5E08F3C9}"/>
              </a:ext>
            </a:extLst>
          </p:cNvPr>
          <p:cNvSpPr txBox="1"/>
          <p:nvPr/>
        </p:nvSpPr>
        <p:spPr>
          <a:xfrm>
            <a:off x="251285" y="2611785"/>
            <a:ext cx="8439004" cy="1169551"/>
          </a:xfrm>
          <a:prstGeom prst="rect">
            <a:avLst/>
          </a:prstGeom>
          <a:noFill/>
        </p:spPr>
        <p:txBody>
          <a:bodyPr wrap="square" rtlCol="0">
            <a:spAutoFit/>
          </a:bodyPr>
          <a:lstStyle/>
          <a:p>
            <a:pPr algn="l"/>
            <a:r>
              <a:rPr lang="en-US" sz="1400" b="1" dirty="0">
                <a:solidFill>
                  <a:srgbClr val="333333"/>
                </a:solidFill>
                <a:latin typeface="Verdana" panose="020B0604030504040204" pitchFamily="34" charset="0"/>
                <a:cs typeface="Arial" panose="020B0604020202020204" pitchFamily="34" charset="0"/>
              </a:rPr>
              <a:t>Example: King AND Queen</a:t>
            </a:r>
          </a:p>
          <a:p>
            <a:pPr algn="l"/>
            <a:r>
              <a:rPr lang="en-US" sz="1400" dirty="0">
                <a:solidFill>
                  <a:srgbClr val="333333"/>
                </a:solidFill>
                <a:latin typeface="Verdana" panose="020B0604030504040204" pitchFamily="34" charset="0"/>
                <a:cs typeface="Arial" panose="020B0604020202020204" pitchFamily="34" charset="0"/>
              </a:rPr>
              <a:t>A card cannot be a King AND a Queen at the same time!</a:t>
            </a:r>
          </a:p>
          <a:p>
            <a:pPr algn="l"/>
            <a:endParaRPr lang="en-US" sz="1400" dirty="0">
              <a:solidFill>
                <a:srgbClr val="333333"/>
              </a:solidFill>
              <a:latin typeface="Verdana" panose="020B0604030504040204" pitchFamily="34" charset="0"/>
              <a:cs typeface="Arial" panose="020B0604020202020204" pitchFamily="34" charset="0"/>
            </a:endParaRPr>
          </a:p>
          <a:p>
            <a:pPr lvl="1">
              <a:buFont typeface="Arial" panose="020B0604020202020204" pitchFamily="34" charset="0"/>
              <a:buChar char="•"/>
            </a:pPr>
            <a:r>
              <a:rPr lang="en-US" sz="1400" dirty="0">
                <a:solidFill>
                  <a:srgbClr val="333333"/>
                </a:solidFill>
                <a:latin typeface="Verdana" panose="020B0604030504040204" pitchFamily="34" charset="0"/>
                <a:cs typeface="Arial" panose="020B0604020202020204" pitchFamily="34" charset="0"/>
              </a:rPr>
              <a:t>The probability of a King and a Queen is 0 (Impossibl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511582162"/>
      </p:ext>
    </p:extLst>
  </p:cSld>
  <p:clrMapOvr>
    <a:masterClrMapping/>
  </p:clrMapOvr>
  <p:transition spd="med">
    <p:wipe dir="r"/>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C344B-E63D-404F-831D-AAFAD851B968}"/>
              </a:ext>
            </a:extLst>
          </p:cNvPr>
          <p:cNvSpPr>
            <a:spLocks noGrp="1"/>
          </p:cNvSpPr>
          <p:nvPr>
            <p:ph type="title"/>
          </p:nvPr>
        </p:nvSpPr>
        <p:spPr>
          <a:xfrm>
            <a:off x="0" y="0"/>
            <a:ext cx="6944428" cy="640080"/>
          </a:xfrm>
        </p:spPr>
        <p:txBody>
          <a:bodyPr/>
          <a:lstStyle/>
          <a:p>
            <a:r>
              <a:rPr lang="en-US" dirty="0"/>
              <a:t>Mutually Exclusive Events</a:t>
            </a:r>
          </a:p>
        </p:txBody>
      </p:sp>
      <p:sp>
        <p:nvSpPr>
          <p:cNvPr id="4" name="TextBox 3">
            <a:extLst>
              <a:ext uri="{FF2B5EF4-FFF2-40B4-BE49-F238E27FC236}">
                <a16:creationId xmlns:a16="http://schemas.microsoft.com/office/drawing/2014/main" id="{DA48BC19-656E-4D18-88D1-31209889C88E}"/>
              </a:ext>
            </a:extLst>
          </p:cNvPr>
          <p:cNvSpPr txBox="1"/>
          <p:nvPr/>
        </p:nvSpPr>
        <p:spPr>
          <a:xfrm>
            <a:off x="83761" y="810906"/>
            <a:ext cx="8439004" cy="738664"/>
          </a:xfrm>
          <a:prstGeom prst="rect">
            <a:avLst/>
          </a:prstGeom>
          <a:noFill/>
        </p:spPr>
        <p:txBody>
          <a:bodyPr wrap="square" rtlCol="0">
            <a:spAutoFit/>
          </a:bodyPr>
          <a:lstStyle/>
          <a:p>
            <a:pPr algn="l"/>
            <a:r>
              <a:rPr lang="en-US" sz="1400" b="1" dirty="0">
                <a:solidFill>
                  <a:srgbClr val="333333"/>
                </a:solidFill>
                <a:latin typeface="Verdana" panose="020B0604030504040204" pitchFamily="34" charset="0"/>
                <a:cs typeface="Arial" panose="020B0604020202020204" pitchFamily="34" charset="0"/>
              </a:rPr>
              <a:t>Example: King OR Queen</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Find what's the probability of getting a king or Queen ? </a:t>
            </a:r>
          </a:p>
        </p:txBody>
      </p:sp>
    </p:spTree>
    <p:extLst>
      <p:ext uri="{BB962C8B-B14F-4D97-AF65-F5344CB8AC3E}">
        <p14:creationId xmlns:p14="http://schemas.microsoft.com/office/powerpoint/2010/main" val="2084172098"/>
      </p:ext>
    </p:extLst>
  </p:cSld>
  <p:clrMapOvr>
    <a:masterClrMapping/>
  </p:clrMapOvr>
  <p:transition spd="med">
    <p:wipe dir="r"/>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83DEF-09FC-48BE-B29F-3608B56A38D7}"/>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9782BCFC-7E33-441B-BF58-D27E3E2886DC}"/>
              </a:ext>
            </a:extLst>
          </p:cNvPr>
          <p:cNvSpPr>
            <a:spLocks noGrp="1"/>
          </p:cNvSpPr>
          <p:nvPr>
            <p:ph sz="half" idx="13"/>
          </p:nvPr>
        </p:nvSpPr>
        <p:spPr>
          <a:xfrm>
            <a:off x="24412" y="700807"/>
            <a:ext cx="8541613" cy="3200400"/>
          </a:xfrm>
        </p:spPr>
        <p:txBody>
          <a:bodyPr>
            <a:normAutofit/>
          </a:bodyPr>
          <a:lstStyle/>
          <a:p>
            <a:pPr marL="0" indent="0">
              <a:buNone/>
            </a:pPr>
            <a:r>
              <a:rPr lang="en-US" sz="1800" b="1" dirty="0"/>
              <a:t>When events are not Mutually exclusive – be careful in calculation !!</a:t>
            </a:r>
          </a:p>
        </p:txBody>
      </p:sp>
      <p:pic>
        <p:nvPicPr>
          <p:cNvPr id="5" name="Picture 4">
            <a:extLst>
              <a:ext uri="{FF2B5EF4-FFF2-40B4-BE49-F238E27FC236}">
                <a16:creationId xmlns:a16="http://schemas.microsoft.com/office/drawing/2014/main" id="{46583470-E112-4013-8A44-9FFF9E00480B}"/>
              </a:ext>
            </a:extLst>
          </p:cNvPr>
          <p:cNvPicPr>
            <a:picLocks noChangeAspect="1"/>
          </p:cNvPicPr>
          <p:nvPr/>
        </p:nvPicPr>
        <p:blipFill>
          <a:blip r:embed="rId2"/>
          <a:stretch>
            <a:fillRect/>
          </a:stretch>
        </p:blipFill>
        <p:spPr>
          <a:xfrm>
            <a:off x="2044167" y="1109226"/>
            <a:ext cx="2011302" cy="1612960"/>
          </a:xfrm>
          <a:prstGeom prst="rect">
            <a:avLst/>
          </a:prstGeom>
        </p:spPr>
      </p:pic>
      <p:sp>
        <p:nvSpPr>
          <p:cNvPr id="6" name="TextBox 5">
            <a:extLst>
              <a:ext uri="{FF2B5EF4-FFF2-40B4-BE49-F238E27FC236}">
                <a16:creationId xmlns:a16="http://schemas.microsoft.com/office/drawing/2014/main" id="{6A2B0CE2-96F0-4A88-9B6E-E65CB299A76B}"/>
              </a:ext>
            </a:extLst>
          </p:cNvPr>
          <p:cNvSpPr txBox="1"/>
          <p:nvPr/>
        </p:nvSpPr>
        <p:spPr>
          <a:xfrm>
            <a:off x="160544" y="1354150"/>
            <a:ext cx="162637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hat is the probability of getting a </a:t>
            </a:r>
            <a:r>
              <a:rPr lang="en-US" sz="1400" b="1" dirty="0">
                <a:solidFill>
                  <a:schemeClr val="bg2"/>
                </a:solidFill>
                <a:latin typeface="+mn-lt"/>
              </a:rPr>
              <a:t>KING</a:t>
            </a:r>
            <a:r>
              <a:rPr lang="en-US" sz="1400" dirty="0">
                <a:solidFill>
                  <a:schemeClr val="bg2"/>
                </a:solidFill>
                <a:latin typeface="+mn-lt"/>
              </a:rPr>
              <a:t> or </a:t>
            </a:r>
            <a:r>
              <a:rPr lang="en-US" sz="1400" b="1" dirty="0">
                <a:solidFill>
                  <a:schemeClr val="bg2"/>
                </a:solidFill>
                <a:latin typeface="+mn-lt"/>
              </a:rPr>
              <a:t>Heart</a:t>
            </a:r>
            <a:r>
              <a:rPr lang="en-US" sz="1400" dirty="0">
                <a:solidFill>
                  <a:schemeClr val="bg2"/>
                </a:solidFill>
                <a:latin typeface="+mn-lt"/>
              </a:rPr>
              <a:t> ?</a:t>
            </a:r>
          </a:p>
        </p:txBody>
      </p:sp>
      <p:sp>
        <p:nvSpPr>
          <p:cNvPr id="7" name="TextBox 6">
            <a:extLst>
              <a:ext uri="{FF2B5EF4-FFF2-40B4-BE49-F238E27FC236}">
                <a16:creationId xmlns:a16="http://schemas.microsoft.com/office/drawing/2014/main" id="{9B5D54AC-3A31-4E91-934F-134C027A601E}"/>
              </a:ext>
            </a:extLst>
          </p:cNvPr>
          <p:cNvSpPr txBox="1"/>
          <p:nvPr/>
        </p:nvSpPr>
        <p:spPr>
          <a:xfrm>
            <a:off x="4523139" y="1354150"/>
            <a:ext cx="3811164" cy="1600438"/>
          </a:xfrm>
          <a:prstGeom prst="rect">
            <a:avLst/>
          </a:prstGeom>
          <a:noFill/>
        </p:spPr>
        <p:txBody>
          <a:bodyPr wrap="square" rtlCol="0">
            <a:spAutoFit/>
          </a:bodyPr>
          <a:lstStyle/>
          <a:p>
            <a:pPr algn="l"/>
            <a:r>
              <a:rPr lang="en-US" sz="1400" dirty="0">
                <a:solidFill>
                  <a:schemeClr val="bg2"/>
                </a:solidFill>
                <a:latin typeface="+mn-lt"/>
              </a:rPr>
              <a:t>But Hearts or Kings is:</a:t>
            </a:r>
          </a:p>
          <a:p>
            <a:pPr algn="l"/>
            <a:endParaRPr lang="en-US" sz="1400" dirty="0">
              <a:solidFill>
                <a:schemeClr val="bg2"/>
              </a:solidFill>
              <a:latin typeface="+mn-lt"/>
            </a:endParaRPr>
          </a:p>
          <a:p>
            <a:pPr algn="l">
              <a:buFont typeface="Arial" panose="020B0604020202020204" pitchFamily="34" charset="0"/>
              <a:buChar char="•"/>
            </a:pPr>
            <a:r>
              <a:rPr lang="en-US" sz="1400" dirty="0">
                <a:solidFill>
                  <a:schemeClr val="bg2"/>
                </a:solidFill>
                <a:latin typeface="+mn-lt"/>
              </a:rPr>
              <a:t>all the Hearts (13 of them)</a:t>
            </a:r>
          </a:p>
          <a:p>
            <a:pPr algn="l">
              <a:buFont typeface="Arial" panose="020B0604020202020204" pitchFamily="34" charset="0"/>
              <a:buChar char="•"/>
            </a:pPr>
            <a:r>
              <a:rPr lang="en-US" sz="1400" dirty="0">
                <a:solidFill>
                  <a:schemeClr val="bg2"/>
                </a:solidFill>
                <a:latin typeface="+mn-lt"/>
              </a:rPr>
              <a:t>all the Kings (4 of them)</a:t>
            </a:r>
          </a:p>
          <a:p>
            <a:pPr algn="l"/>
            <a:endParaRPr lang="en-US" sz="1400" b="1" dirty="0">
              <a:solidFill>
                <a:schemeClr val="bg2"/>
              </a:solidFill>
              <a:latin typeface="+mn-lt"/>
            </a:endParaRPr>
          </a:p>
          <a:p>
            <a:pPr algn="l"/>
            <a:r>
              <a:rPr lang="en-US" sz="1400" b="1" dirty="0">
                <a:solidFill>
                  <a:srgbClr val="FF0000"/>
                </a:solidFill>
                <a:latin typeface="+mn-lt"/>
              </a:rPr>
              <a:t>But that counts the King of Hearts twice!</a:t>
            </a:r>
          </a:p>
          <a:p>
            <a:pPr>
              <a:spcBef>
                <a:spcPts val="0"/>
              </a:spcBef>
              <a:spcAft>
                <a:spcPts val="0"/>
              </a:spcAft>
              <a:buClr>
                <a:schemeClr val="bg1"/>
              </a:buClr>
            </a:pPr>
            <a:endParaRPr lang="en-US" sz="1400" dirty="0" err="1">
              <a:solidFill>
                <a:schemeClr val="bg2"/>
              </a:solidFill>
              <a:latin typeface="+mn-lt"/>
            </a:endParaRPr>
          </a:p>
        </p:txBody>
      </p:sp>
      <p:pic>
        <p:nvPicPr>
          <p:cNvPr id="10" name="Picture 9">
            <a:extLst>
              <a:ext uri="{FF2B5EF4-FFF2-40B4-BE49-F238E27FC236}">
                <a16:creationId xmlns:a16="http://schemas.microsoft.com/office/drawing/2014/main" id="{2227465D-37BE-4E4D-B9A3-EF881800E713}"/>
              </a:ext>
            </a:extLst>
          </p:cNvPr>
          <p:cNvPicPr>
            <a:picLocks noChangeAspect="1"/>
          </p:cNvPicPr>
          <p:nvPr/>
        </p:nvPicPr>
        <p:blipFill>
          <a:blip r:embed="rId3"/>
          <a:stretch>
            <a:fillRect/>
          </a:stretch>
        </p:blipFill>
        <p:spPr>
          <a:xfrm>
            <a:off x="1556574" y="3375529"/>
            <a:ext cx="6303080" cy="1754328"/>
          </a:xfrm>
          <a:prstGeom prst="rect">
            <a:avLst/>
          </a:prstGeom>
        </p:spPr>
      </p:pic>
      <p:sp>
        <p:nvSpPr>
          <p:cNvPr id="11" name="TextBox 10">
            <a:extLst>
              <a:ext uri="{FF2B5EF4-FFF2-40B4-BE49-F238E27FC236}">
                <a16:creationId xmlns:a16="http://schemas.microsoft.com/office/drawing/2014/main" id="{A0696F8E-B303-413C-B330-19C3FDC60711}"/>
              </a:ext>
            </a:extLst>
          </p:cNvPr>
          <p:cNvSpPr txBox="1"/>
          <p:nvPr/>
        </p:nvSpPr>
        <p:spPr>
          <a:xfrm>
            <a:off x="160544" y="2835244"/>
            <a:ext cx="2966564"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o, the correct answer is ? </a:t>
            </a:r>
          </a:p>
        </p:txBody>
      </p:sp>
    </p:spTree>
    <p:extLst>
      <p:ext uri="{BB962C8B-B14F-4D97-AF65-F5344CB8AC3E}">
        <p14:creationId xmlns:p14="http://schemas.microsoft.com/office/powerpoint/2010/main" val="4160957609"/>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A937C-9F74-4776-9FBD-887D88497E3E}"/>
              </a:ext>
            </a:extLst>
          </p:cNvPr>
          <p:cNvSpPr>
            <a:spLocks noGrp="1"/>
          </p:cNvSpPr>
          <p:nvPr>
            <p:ph type="title"/>
          </p:nvPr>
        </p:nvSpPr>
        <p:spPr/>
        <p:txBody>
          <a:bodyPr/>
          <a:lstStyle/>
          <a:p>
            <a:r>
              <a:rPr lang="en-US" dirty="0"/>
              <a:t>Worksheet</a:t>
            </a:r>
          </a:p>
        </p:txBody>
      </p:sp>
    </p:spTree>
    <p:extLst>
      <p:ext uri="{BB962C8B-B14F-4D97-AF65-F5344CB8AC3E}">
        <p14:creationId xmlns:p14="http://schemas.microsoft.com/office/powerpoint/2010/main" val="2707576164"/>
      </p:ext>
    </p:extLst>
  </p:cSld>
  <p:clrMapOvr>
    <a:masterClrMapping/>
  </p:clrMapOvr>
  <p:transition spd="med">
    <p:wipe dir="r"/>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BC964-5A13-49A2-AC32-BC58DBBB541B}"/>
              </a:ext>
            </a:extLst>
          </p:cNvPr>
          <p:cNvSpPr>
            <a:spLocks noGrp="1"/>
          </p:cNvSpPr>
          <p:nvPr>
            <p:ph type="title"/>
          </p:nvPr>
        </p:nvSpPr>
        <p:spPr>
          <a:xfrm>
            <a:off x="0" y="22860"/>
            <a:ext cx="8780208" cy="640080"/>
          </a:xfrm>
        </p:spPr>
        <p:txBody>
          <a:bodyPr/>
          <a:lstStyle/>
          <a:p>
            <a:r>
              <a:rPr lang="en-US" sz="2800" b="1" dirty="0"/>
              <a:t>When events are not Mutually exclusive – be careful in calculation !!</a:t>
            </a:r>
            <a:br>
              <a:rPr lang="en-US" sz="2800" b="1" dirty="0"/>
            </a:br>
            <a:endParaRPr lang="en-US" dirty="0"/>
          </a:p>
        </p:txBody>
      </p:sp>
      <p:sp>
        <p:nvSpPr>
          <p:cNvPr id="3" name="Content Placeholder 2">
            <a:extLst>
              <a:ext uri="{FF2B5EF4-FFF2-40B4-BE49-F238E27FC236}">
                <a16:creationId xmlns:a16="http://schemas.microsoft.com/office/drawing/2014/main" id="{FA234F7A-145E-467A-AEB8-D9C930FC3B5E}"/>
              </a:ext>
            </a:extLst>
          </p:cNvPr>
          <p:cNvSpPr>
            <a:spLocks noGrp="1"/>
          </p:cNvSpPr>
          <p:nvPr>
            <p:ph sz="half" idx="13"/>
          </p:nvPr>
        </p:nvSpPr>
        <p:spPr>
          <a:xfrm>
            <a:off x="71895" y="1042835"/>
            <a:ext cx="8402010" cy="3200400"/>
          </a:xfrm>
        </p:spPr>
        <p:txBody>
          <a:bodyPr/>
          <a:lstStyle/>
          <a:p>
            <a:r>
              <a:rPr lang="en-US" b="1" i="0" dirty="0">
                <a:solidFill>
                  <a:srgbClr val="296BC2"/>
                </a:solidFill>
                <a:effectLst/>
                <a:latin typeface="Verdana" panose="020B0604030504040204" pitchFamily="34" charset="0"/>
              </a:rPr>
              <a:t>P(A or B) = P(A) + P(B) − P(A and B)</a:t>
            </a:r>
          </a:p>
          <a:p>
            <a:r>
              <a:rPr lang="en-US" b="0" i="1" dirty="0">
                <a:solidFill>
                  <a:srgbClr val="333333"/>
                </a:solidFill>
                <a:effectLst/>
                <a:latin typeface="Verdana" panose="020B0604030504040204" pitchFamily="34" charset="0"/>
              </a:rPr>
              <a:t>"The probability of A </a:t>
            </a:r>
            <a:r>
              <a:rPr lang="en-US" b="1" i="1" dirty="0">
                <a:solidFill>
                  <a:srgbClr val="333333"/>
                </a:solidFill>
                <a:effectLst/>
                <a:latin typeface="Verdana" panose="020B0604030504040204" pitchFamily="34" charset="0"/>
              </a:rPr>
              <a:t>or</a:t>
            </a:r>
            <a:r>
              <a:rPr lang="en-US" b="0" i="1" dirty="0">
                <a:solidFill>
                  <a:srgbClr val="333333"/>
                </a:solidFill>
                <a:effectLst/>
                <a:latin typeface="Verdana" panose="020B0604030504040204" pitchFamily="34" charset="0"/>
              </a:rPr>
              <a:t> B equals the probability of A </a:t>
            </a:r>
            <a:r>
              <a:rPr lang="en-US" b="1" i="1" dirty="0">
                <a:solidFill>
                  <a:srgbClr val="333333"/>
                </a:solidFill>
                <a:effectLst/>
                <a:latin typeface="Verdana" panose="020B0604030504040204" pitchFamily="34" charset="0"/>
              </a:rPr>
              <a:t>plus</a:t>
            </a:r>
            <a:r>
              <a:rPr lang="en-US" b="0" i="1" dirty="0">
                <a:solidFill>
                  <a:srgbClr val="333333"/>
                </a:solidFill>
                <a:effectLst/>
                <a:latin typeface="Verdana" panose="020B0604030504040204" pitchFamily="34" charset="0"/>
              </a:rPr>
              <a:t> the probability of B</a:t>
            </a:r>
            <a:br>
              <a:rPr lang="en-US" b="0" i="1" dirty="0">
                <a:solidFill>
                  <a:srgbClr val="333333"/>
                </a:solidFill>
                <a:effectLst/>
                <a:latin typeface="Verdana" panose="020B0604030504040204" pitchFamily="34" charset="0"/>
              </a:rPr>
            </a:br>
            <a:r>
              <a:rPr lang="en-US" b="1" i="1" dirty="0">
                <a:solidFill>
                  <a:srgbClr val="333333"/>
                </a:solidFill>
                <a:effectLst/>
                <a:latin typeface="Verdana" panose="020B0604030504040204" pitchFamily="34" charset="0"/>
              </a:rPr>
              <a:t>minus</a:t>
            </a:r>
            <a:r>
              <a:rPr lang="en-US" b="0" i="1" dirty="0">
                <a:solidFill>
                  <a:srgbClr val="333333"/>
                </a:solidFill>
                <a:effectLst/>
                <a:latin typeface="Verdana" panose="020B0604030504040204" pitchFamily="34" charset="0"/>
              </a:rPr>
              <a:t> the probability of A </a:t>
            </a:r>
            <a:r>
              <a:rPr lang="en-US" b="1" i="1" dirty="0">
                <a:solidFill>
                  <a:srgbClr val="333333"/>
                </a:solidFill>
                <a:effectLst/>
                <a:latin typeface="Verdana" panose="020B0604030504040204" pitchFamily="34" charset="0"/>
              </a:rPr>
              <a:t>and</a:t>
            </a:r>
            <a:r>
              <a:rPr lang="en-US" b="0" i="1" dirty="0">
                <a:solidFill>
                  <a:srgbClr val="333333"/>
                </a:solidFill>
                <a:effectLst/>
                <a:latin typeface="Verdana" panose="020B0604030504040204" pitchFamily="34" charset="0"/>
              </a:rPr>
              <a:t> B“</a:t>
            </a:r>
          </a:p>
          <a:p>
            <a:r>
              <a:rPr lang="en-US" i="1" dirty="0">
                <a:solidFill>
                  <a:srgbClr val="333333"/>
                </a:solidFill>
                <a:latin typeface="Verdana" panose="020B0604030504040204" pitchFamily="34" charset="0"/>
              </a:rPr>
              <a:t>Ex : 16 people study French, 21 study Spanish and there are 30 altogether. Work out the probabilities!</a:t>
            </a:r>
          </a:p>
          <a:p>
            <a:r>
              <a:rPr lang="en-US" b="0" i="0" dirty="0">
                <a:solidFill>
                  <a:srgbClr val="333333"/>
                </a:solidFill>
                <a:effectLst/>
                <a:latin typeface="Verdana" panose="020B0604030504040204" pitchFamily="34" charset="0"/>
              </a:rPr>
              <a:t>This is definitely a case of </a:t>
            </a:r>
            <a:r>
              <a:rPr lang="en-US" b="1" i="0" dirty="0">
                <a:solidFill>
                  <a:srgbClr val="333333"/>
                </a:solidFill>
                <a:effectLst/>
                <a:latin typeface="Verdana" panose="020B0604030504040204" pitchFamily="34" charset="0"/>
              </a:rPr>
              <a:t>not</a:t>
            </a:r>
            <a:r>
              <a:rPr lang="en-US" b="0" i="0" dirty="0">
                <a:solidFill>
                  <a:srgbClr val="333333"/>
                </a:solidFill>
                <a:effectLst/>
                <a:latin typeface="Verdana" panose="020B0604030504040204" pitchFamily="34" charset="0"/>
              </a:rPr>
              <a:t> Mutually Exclusive (you can study French AND Spanish).</a:t>
            </a:r>
            <a:endParaRPr lang="en-US" b="0" i="1" dirty="0">
              <a:solidFill>
                <a:srgbClr val="333333"/>
              </a:solidFill>
              <a:effectLst/>
              <a:latin typeface="Verdana" panose="020B0604030504040204" pitchFamily="34" charset="0"/>
            </a:endParaRPr>
          </a:p>
          <a:p>
            <a:pPr algn="l"/>
            <a:r>
              <a:rPr lang="en-US" b="0" i="0" dirty="0">
                <a:solidFill>
                  <a:srgbClr val="333333"/>
                </a:solidFill>
                <a:effectLst/>
                <a:latin typeface="Verdana" panose="020B0604030504040204" pitchFamily="34" charset="0"/>
              </a:rPr>
              <a:t>Let's say </a:t>
            </a:r>
            <a:r>
              <a:rPr lang="en-US" b="1" i="0" dirty="0">
                <a:solidFill>
                  <a:srgbClr val="333333"/>
                </a:solidFill>
                <a:effectLst/>
                <a:latin typeface="Verdana" panose="020B0604030504040204" pitchFamily="34" charset="0"/>
              </a:rPr>
              <a:t>b</a:t>
            </a:r>
            <a:r>
              <a:rPr lang="en-US" b="0" i="0" dirty="0">
                <a:solidFill>
                  <a:srgbClr val="333333"/>
                </a:solidFill>
                <a:effectLst/>
                <a:latin typeface="Verdana" panose="020B0604030504040204" pitchFamily="34" charset="0"/>
              </a:rPr>
              <a:t> is how many study both languages:</a:t>
            </a:r>
          </a:p>
          <a:p>
            <a:pPr lvl="1">
              <a:buFont typeface="Arial" panose="020B0604020202020204" pitchFamily="34" charset="0"/>
              <a:buChar char="•"/>
            </a:pPr>
            <a:r>
              <a:rPr lang="en-US" b="0" i="0" dirty="0">
                <a:solidFill>
                  <a:srgbClr val="333333"/>
                </a:solidFill>
                <a:effectLst/>
                <a:latin typeface="Verdana" panose="020B0604030504040204" pitchFamily="34" charset="0"/>
              </a:rPr>
              <a:t>people studying French Only must be 16-b</a:t>
            </a:r>
          </a:p>
          <a:p>
            <a:pPr lvl="1">
              <a:buFont typeface="Arial" panose="020B0604020202020204" pitchFamily="34" charset="0"/>
              <a:buChar char="•"/>
            </a:pPr>
            <a:r>
              <a:rPr lang="en-US" b="0" i="0" dirty="0">
                <a:solidFill>
                  <a:srgbClr val="333333"/>
                </a:solidFill>
                <a:effectLst/>
                <a:latin typeface="Verdana" panose="020B0604030504040204" pitchFamily="34" charset="0"/>
              </a:rPr>
              <a:t>people studying Spanish Only must be 21-b</a:t>
            </a:r>
          </a:p>
          <a:p>
            <a:r>
              <a:rPr lang="en-US" b="1" i="0" dirty="0">
                <a:solidFill>
                  <a:srgbClr val="296BC2"/>
                </a:solidFill>
                <a:effectLst/>
                <a:latin typeface="Verdana" panose="020B0604030504040204" pitchFamily="34" charset="0"/>
              </a:rPr>
              <a:t>And we get : </a:t>
            </a:r>
          </a:p>
          <a:p>
            <a:endParaRPr lang="en-US" dirty="0"/>
          </a:p>
        </p:txBody>
      </p:sp>
      <p:pic>
        <p:nvPicPr>
          <p:cNvPr id="5" name="Picture 4">
            <a:extLst>
              <a:ext uri="{FF2B5EF4-FFF2-40B4-BE49-F238E27FC236}">
                <a16:creationId xmlns:a16="http://schemas.microsoft.com/office/drawing/2014/main" id="{09BDB48C-2C80-4EBF-A09F-0ED942636CAE}"/>
              </a:ext>
            </a:extLst>
          </p:cNvPr>
          <p:cNvPicPr>
            <a:picLocks noChangeAspect="1"/>
          </p:cNvPicPr>
          <p:nvPr/>
        </p:nvPicPr>
        <p:blipFill>
          <a:blip r:embed="rId2"/>
          <a:stretch>
            <a:fillRect/>
          </a:stretch>
        </p:blipFill>
        <p:spPr>
          <a:xfrm>
            <a:off x="4118072" y="3152775"/>
            <a:ext cx="4286250" cy="1990725"/>
          </a:xfrm>
          <a:prstGeom prst="rect">
            <a:avLst/>
          </a:prstGeom>
        </p:spPr>
      </p:pic>
    </p:spTree>
    <p:extLst>
      <p:ext uri="{BB962C8B-B14F-4D97-AF65-F5344CB8AC3E}">
        <p14:creationId xmlns:p14="http://schemas.microsoft.com/office/powerpoint/2010/main" val="530449741"/>
      </p:ext>
    </p:extLst>
  </p:cSld>
  <p:clrMapOvr>
    <a:masterClrMapping/>
  </p:clrMapOvr>
  <p:transition spd="med">
    <p:wipe dir="r"/>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CFC882-A288-45FD-9593-6B2F8D5668BA}"/>
              </a:ext>
            </a:extLst>
          </p:cNvPr>
          <p:cNvSpPr>
            <a:spLocks noGrp="1"/>
          </p:cNvSpPr>
          <p:nvPr>
            <p:ph type="title"/>
          </p:nvPr>
        </p:nvSpPr>
        <p:spPr>
          <a:xfrm>
            <a:off x="0" y="0"/>
            <a:ext cx="8870950" cy="640080"/>
          </a:xfrm>
        </p:spPr>
        <p:txBody>
          <a:bodyPr/>
          <a:lstStyle/>
          <a:p>
            <a:r>
              <a:rPr lang="en-US" sz="2800" b="1" dirty="0"/>
              <a:t>When events are not Mutually exclusive – be careful in calculation !!</a:t>
            </a:r>
            <a:endParaRPr lang="en-US" dirty="0"/>
          </a:p>
        </p:txBody>
      </p:sp>
      <p:pic>
        <p:nvPicPr>
          <p:cNvPr id="5" name="Content Placeholder 4">
            <a:extLst>
              <a:ext uri="{FF2B5EF4-FFF2-40B4-BE49-F238E27FC236}">
                <a16:creationId xmlns:a16="http://schemas.microsoft.com/office/drawing/2014/main" id="{9518B9F0-73A4-45CF-AB04-F2591F776DA0}"/>
              </a:ext>
            </a:extLst>
          </p:cNvPr>
          <p:cNvPicPr>
            <a:picLocks noGrp="1" noChangeAspect="1"/>
          </p:cNvPicPr>
          <p:nvPr>
            <p:ph sz="half" idx="13"/>
          </p:nvPr>
        </p:nvPicPr>
        <p:blipFill>
          <a:blip r:embed="rId2"/>
          <a:stretch>
            <a:fillRect/>
          </a:stretch>
        </p:blipFill>
        <p:spPr>
          <a:xfrm>
            <a:off x="222202" y="1680156"/>
            <a:ext cx="4283075" cy="1673201"/>
          </a:xfrm>
        </p:spPr>
      </p:pic>
      <p:pic>
        <p:nvPicPr>
          <p:cNvPr id="6" name="Picture 5">
            <a:extLst>
              <a:ext uri="{FF2B5EF4-FFF2-40B4-BE49-F238E27FC236}">
                <a16:creationId xmlns:a16="http://schemas.microsoft.com/office/drawing/2014/main" id="{09BDB48C-2C80-4EBF-A09F-0ED942636CAE}"/>
              </a:ext>
            </a:extLst>
          </p:cNvPr>
          <p:cNvPicPr>
            <a:picLocks noChangeAspect="1"/>
          </p:cNvPicPr>
          <p:nvPr/>
        </p:nvPicPr>
        <p:blipFill>
          <a:blip r:embed="rId3"/>
          <a:stretch>
            <a:fillRect/>
          </a:stretch>
        </p:blipFill>
        <p:spPr>
          <a:xfrm>
            <a:off x="5319210" y="898548"/>
            <a:ext cx="3602588" cy="1673202"/>
          </a:xfrm>
          <a:prstGeom prst="rect">
            <a:avLst/>
          </a:prstGeom>
        </p:spPr>
      </p:pic>
      <p:pic>
        <p:nvPicPr>
          <p:cNvPr id="8" name="Picture 7">
            <a:extLst>
              <a:ext uri="{FF2B5EF4-FFF2-40B4-BE49-F238E27FC236}">
                <a16:creationId xmlns:a16="http://schemas.microsoft.com/office/drawing/2014/main" id="{642F7A70-E2DC-4B17-9983-FAE6C2260F81}"/>
              </a:ext>
            </a:extLst>
          </p:cNvPr>
          <p:cNvPicPr>
            <a:picLocks noChangeAspect="1"/>
          </p:cNvPicPr>
          <p:nvPr/>
        </p:nvPicPr>
        <p:blipFill>
          <a:blip r:embed="rId4"/>
          <a:stretch>
            <a:fillRect/>
          </a:stretch>
        </p:blipFill>
        <p:spPr>
          <a:xfrm>
            <a:off x="5319210" y="2830218"/>
            <a:ext cx="3327279" cy="2293699"/>
          </a:xfrm>
          <a:prstGeom prst="rect">
            <a:avLst/>
          </a:prstGeom>
        </p:spPr>
      </p:pic>
    </p:spTree>
    <p:extLst>
      <p:ext uri="{BB962C8B-B14F-4D97-AF65-F5344CB8AC3E}">
        <p14:creationId xmlns:p14="http://schemas.microsoft.com/office/powerpoint/2010/main" val="1439727634"/>
      </p:ext>
    </p:extLst>
  </p:cSld>
  <p:clrMapOvr>
    <a:masterClrMapping/>
  </p:clrMapOvr>
  <p:transition spd="med">
    <p:wipe dir="r"/>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58696-9149-47EB-8E43-B196679F66E4}"/>
              </a:ext>
            </a:extLst>
          </p:cNvPr>
          <p:cNvSpPr>
            <a:spLocks noGrp="1"/>
          </p:cNvSpPr>
          <p:nvPr>
            <p:ph type="title"/>
          </p:nvPr>
        </p:nvSpPr>
        <p:spPr>
          <a:xfrm>
            <a:off x="0" y="0"/>
            <a:ext cx="8403280" cy="640080"/>
          </a:xfrm>
        </p:spPr>
        <p:txBody>
          <a:bodyPr/>
          <a:lstStyle/>
          <a:p>
            <a:r>
              <a:rPr lang="en-US" dirty="0"/>
              <a:t>Conditional Probability </a:t>
            </a:r>
          </a:p>
        </p:txBody>
      </p:sp>
      <p:sp>
        <p:nvSpPr>
          <p:cNvPr id="3" name="Content Placeholder 2">
            <a:extLst>
              <a:ext uri="{FF2B5EF4-FFF2-40B4-BE49-F238E27FC236}">
                <a16:creationId xmlns:a16="http://schemas.microsoft.com/office/drawing/2014/main" id="{26AD090B-12C7-4967-A976-4F12D11DC926}"/>
              </a:ext>
            </a:extLst>
          </p:cNvPr>
          <p:cNvSpPr>
            <a:spLocks noGrp="1"/>
          </p:cNvSpPr>
          <p:nvPr>
            <p:ph sz="half" idx="13"/>
          </p:nvPr>
        </p:nvSpPr>
        <p:spPr>
          <a:xfrm>
            <a:off x="50955" y="755165"/>
            <a:ext cx="8403279" cy="3200400"/>
          </a:xfrm>
        </p:spPr>
        <p:txBody>
          <a:bodyPr>
            <a:normAutofit/>
          </a:bodyPr>
          <a:lstStyle/>
          <a:p>
            <a:pPr marL="0" indent="0">
              <a:buNone/>
            </a:pPr>
            <a:r>
              <a:rPr lang="en-US" dirty="0"/>
              <a:t>Conditional probability is defined as the likelihood of an event or outcome occurring, based on the occurrence of a previous event or outcome. </a:t>
            </a:r>
          </a:p>
          <a:p>
            <a:pPr marL="0" indent="0">
              <a:buNone/>
            </a:pPr>
            <a:r>
              <a:rPr lang="en-US" dirty="0"/>
              <a:t>Conditional probability is calculated by multiplying the probability of the preceding event by the updated probability of the succeeding, or conditional, event.</a:t>
            </a:r>
          </a:p>
          <a:p>
            <a:pPr marL="0" indent="0">
              <a:buNone/>
            </a:pPr>
            <a:r>
              <a:rPr lang="en-US" b="1" i="1" dirty="0"/>
              <a:t>For example 1:</a:t>
            </a:r>
          </a:p>
          <a:p>
            <a:r>
              <a:rPr lang="en-US" dirty="0"/>
              <a:t>Event A is that an individual applying for college will be accepted. There is an 80% chance that this individual will be accepted to college.</a:t>
            </a:r>
          </a:p>
          <a:p>
            <a:r>
              <a:rPr lang="en-US" dirty="0"/>
              <a:t>Event B is that this individual will be given dormitory housing. Dormitory housing will only be provided for 60% of all of the accepted students.</a:t>
            </a:r>
          </a:p>
          <a:p>
            <a:r>
              <a:rPr lang="en-US" dirty="0"/>
              <a:t>P (Accepted and dormitory housing) = P (Dormitory Housing | Accepted) P (Accepted) = (0.60)*(0.80) = 0.48.</a:t>
            </a:r>
          </a:p>
        </p:txBody>
      </p:sp>
    </p:spTree>
    <p:extLst>
      <p:ext uri="{BB962C8B-B14F-4D97-AF65-F5344CB8AC3E}">
        <p14:creationId xmlns:p14="http://schemas.microsoft.com/office/powerpoint/2010/main" val="4208994390"/>
      </p:ext>
    </p:extLst>
  </p:cSld>
  <p:clrMapOvr>
    <a:masterClrMapping/>
  </p:clrMapOvr>
  <p:transition spd="med">
    <p:wipe dir="r"/>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F9964-4109-42D4-96B6-0A1C7BEE0B40}"/>
              </a:ext>
            </a:extLst>
          </p:cNvPr>
          <p:cNvSpPr>
            <a:spLocks noGrp="1"/>
          </p:cNvSpPr>
          <p:nvPr>
            <p:ph type="title"/>
          </p:nvPr>
        </p:nvSpPr>
        <p:spPr>
          <a:xfrm>
            <a:off x="0" y="0"/>
            <a:ext cx="8480061" cy="640080"/>
          </a:xfrm>
        </p:spPr>
        <p:txBody>
          <a:bodyPr/>
          <a:lstStyle/>
          <a:p>
            <a:r>
              <a:rPr lang="en-US" dirty="0"/>
              <a:t>Conditional Probability – Example 2  </a:t>
            </a:r>
          </a:p>
        </p:txBody>
      </p:sp>
      <p:sp>
        <p:nvSpPr>
          <p:cNvPr id="3" name="Content Placeholder 2">
            <a:extLst>
              <a:ext uri="{FF2B5EF4-FFF2-40B4-BE49-F238E27FC236}">
                <a16:creationId xmlns:a16="http://schemas.microsoft.com/office/drawing/2014/main" id="{7DEBAB6C-F80A-4991-ADF3-C0346E2F5407}"/>
              </a:ext>
            </a:extLst>
          </p:cNvPr>
          <p:cNvSpPr>
            <a:spLocks noGrp="1"/>
          </p:cNvSpPr>
          <p:nvPr>
            <p:ph sz="half" idx="13"/>
          </p:nvPr>
        </p:nvSpPr>
        <p:spPr>
          <a:xfrm>
            <a:off x="169617" y="651510"/>
            <a:ext cx="7920379" cy="3840480"/>
          </a:xfrm>
        </p:spPr>
        <p:txBody>
          <a:bodyPr/>
          <a:lstStyle/>
          <a:p>
            <a:pPr algn="l"/>
            <a:r>
              <a:rPr lang="en-US" b="0" i="0" dirty="0">
                <a:solidFill>
                  <a:srgbClr val="333333"/>
                </a:solidFill>
                <a:effectLst/>
                <a:latin typeface="Verdana" panose="020B0604030504040204" pitchFamily="34" charset="0"/>
              </a:rPr>
              <a:t>Example: Drawing 2 Kings from a Deck</a:t>
            </a:r>
          </a:p>
          <a:p>
            <a:pPr algn="l"/>
            <a:r>
              <a:rPr lang="en-US" b="1" i="0" dirty="0">
                <a:solidFill>
                  <a:srgbClr val="333333"/>
                </a:solidFill>
                <a:effectLst/>
                <a:latin typeface="Verdana" panose="020B0604030504040204" pitchFamily="34" charset="0"/>
              </a:rPr>
              <a:t>Event A</a:t>
            </a:r>
            <a:r>
              <a:rPr lang="en-US" b="0" i="0" dirty="0">
                <a:solidFill>
                  <a:srgbClr val="333333"/>
                </a:solidFill>
                <a:effectLst/>
                <a:latin typeface="Verdana" panose="020B0604030504040204" pitchFamily="34" charset="0"/>
              </a:rPr>
              <a:t> is drawing a King first, and </a:t>
            </a:r>
            <a:r>
              <a:rPr lang="en-US" b="1" i="0" dirty="0">
                <a:solidFill>
                  <a:srgbClr val="333333"/>
                </a:solidFill>
                <a:effectLst/>
                <a:latin typeface="Verdana" panose="020B0604030504040204" pitchFamily="34" charset="0"/>
              </a:rPr>
              <a:t>Event B</a:t>
            </a:r>
            <a:r>
              <a:rPr lang="en-US" b="0" i="0" dirty="0">
                <a:solidFill>
                  <a:srgbClr val="333333"/>
                </a:solidFill>
                <a:effectLst/>
                <a:latin typeface="Verdana" panose="020B0604030504040204" pitchFamily="34" charset="0"/>
              </a:rPr>
              <a:t> is drawing a King second.</a:t>
            </a:r>
          </a:p>
          <a:p>
            <a:pPr algn="l"/>
            <a:r>
              <a:rPr lang="en-US" b="0" i="0" dirty="0">
                <a:solidFill>
                  <a:srgbClr val="333333"/>
                </a:solidFill>
                <a:effectLst/>
                <a:latin typeface="Verdana" panose="020B0604030504040204" pitchFamily="34" charset="0"/>
              </a:rPr>
              <a:t>For the first card the chance of drawing a King is 4 out of 52 (there are 4 Kings in a deck of 52 cards):</a:t>
            </a:r>
          </a:p>
          <a:p>
            <a:r>
              <a:rPr lang="en-US" dirty="0"/>
              <a:t>P(A)</a:t>
            </a:r>
          </a:p>
          <a:p>
            <a:endParaRPr lang="en-US" dirty="0"/>
          </a:p>
          <a:p>
            <a:r>
              <a:rPr lang="en-US" dirty="0"/>
              <a:t>P(B|A) </a:t>
            </a:r>
          </a:p>
          <a:p>
            <a:endParaRPr lang="en-US" dirty="0"/>
          </a:p>
          <a:p>
            <a:r>
              <a:rPr lang="en-US" dirty="0"/>
              <a:t>So P(A and B) = P(A) x P(B|A) = </a:t>
            </a:r>
          </a:p>
          <a:p>
            <a:endParaRPr lang="en-US" dirty="0"/>
          </a:p>
          <a:p>
            <a:r>
              <a:rPr lang="en-US" dirty="0"/>
              <a:t>So the chance of getting 2 kings is 1 in 221 or about 0.5%</a:t>
            </a:r>
          </a:p>
        </p:txBody>
      </p:sp>
    </p:spTree>
    <p:extLst>
      <p:ext uri="{BB962C8B-B14F-4D97-AF65-F5344CB8AC3E}">
        <p14:creationId xmlns:p14="http://schemas.microsoft.com/office/powerpoint/2010/main" val="1225009534"/>
      </p:ext>
    </p:extLst>
  </p:cSld>
  <p:clrMapOvr>
    <a:masterClrMapping/>
  </p:clrMapOvr>
  <p:transition spd="med">
    <p:wipe dir="r"/>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1E3D1-25CE-4C5A-B60B-A6104E3A7DE8}"/>
              </a:ext>
            </a:extLst>
          </p:cNvPr>
          <p:cNvSpPr>
            <a:spLocks noGrp="1"/>
          </p:cNvSpPr>
          <p:nvPr>
            <p:ph type="title"/>
          </p:nvPr>
        </p:nvSpPr>
        <p:spPr>
          <a:xfrm>
            <a:off x="0" y="0"/>
            <a:ext cx="6986309" cy="640080"/>
          </a:xfrm>
        </p:spPr>
        <p:txBody>
          <a:bodyPr/>
          <a:lstStyle/>
          <a:p>
            <a:r>
              <a:rPr lang="en-US" dirty="0"/>
              <a:t>Conditional Probability</a:t>
            </a:r>
          </a:p>
        </p:txBody>
      </p:sp>
      <p:sp>
        <p:nvSpPr>
          <p:cNvPr id="3" name="Content Placeholder 2">
            <a:extLst>
              <a:ext uri="{FF2B5EF4-FFF2-40B4-BE49-F238E27FC236}">
                <a16:creationId xmlns:a16="http://schemas.microsoft.com/office/drawing/2014/main" id="{842FE6C6-F76D-482F-B871-FE650489DF41}"/>
              </a:ext>
            </a:extLst>
          </p:cNvPr>
          <p:cNvSpPr>
            <a:spLocks noGrp="1"/>
          </p:cNvSpPr>
          <p:nvPr>
            <p:ph sz="half" idx="13"/>
          </p:nvPr>
        </p:nvSpPr>
        <p:spPr>
          <a:xfrm>
            <a:off x="141697" y="554224"/>
            <a:ext cx="8213546" cy="2565904"/>
          </a:xfrm>
        </p:spPr>
        <p:txBody>
          <a:bodyPr/>
          <a:lstStyle/>
          <a:p>
            <a:r>
              <a:rPr lang="en-US" dirty="0"/>
              <a:t>Using Algebra, we can also "change the subject" of the formula, like this:</a:t>
            </a:r>
          </a:p>
          <a:p>
            <a:pPr marL="0" indent="0">
              <a:buNone/>
            </a:pPr>
            <a:endParaRPr lang="en-US" dirty="0"/>
          </a:p>
          <a:p>
            <a:r>
              <a:rPr lang="en-US" dirty="0"/>
              <a:t>Start with:	 	P(A and B) = P(A) x P(B|A)</a:t>
            </a:r>
          </a:p>
          <a:p>
            <a:r>
              <a:rPr lang="en-US" dirty="0"/>
              <a:t>Swap sides:	 	P(A) x P(B|A) = P(A and B)</a:t>
            </a:r>
          </a:p>
          <a:p>
            <a:r>
              <a:rPr lang="en-US" dirty="0"/>
              <a:t>Divide by P(A):	 	P(B|A) = P(A and B) / P(A)</a:t>
            </a:r>
          </a:p>
          <a:p>
            <a:r>
              <a:rPr lang="en-US" dirty="0"/>
              <a:t>And we have another useful formula:</a:t>
            </a:r>
          </a:p>
        </p:txBody>
      </p:sp>
      <p:pic>
        <p:nvPicPr>
          <p:cNvPr id="9" name="Picture 8">
            <a:extLst>
              <a:ext uri="{FF2B5EF4-FFF2-40B4-BE49-F238E27FC236}">
                <a16:creationId xmlns:a16="http://schemas.microsoft.com/office/drawing/2014/main" id="{EC2A5FF6-041D-40AF-B60C-369C1F090A28}"/>
              </a:ext>
            </a:extLst>
          </p:cNvPr>
          <p:cNvPicPr>
            <a:picLocks noChangeAspect="1"/>
          </p:cNvPicPr>
          <p:nvPr/>
        </p:nvPicPr>
        <p:blipFill>
          <a:blip r:embed="rId2"/>
          <a:stretch>
            <a:fillRect/>
          </a:stretch>
        </p:blipFill>
        <p:spPr>
          <a:xfrm>
            <a:off x="2112150" y="2992994"/>
            <a:ext cx="4514850" cy="1209675"/>
          </a:xfrm>
          <a:prstGeom prst="rect">
            <a:avLst/>
          </a:prstGeom>
        </p:spPr>
      </p:pic>
    </p:spTree>
    <p:extLst>
      <p:ext uri="{BB962C8B-B14F-4D97-AF65-F5344CB8AC3E}">
        <p14:creationId xmlns:p14="http://schemas.microsoft.com/office/powerpoint/2010/main" val="3950949611"/>
      </p:ext>
    </p:extLst>
  </p:cSld>
  <p:clrMapOvr>
    <a:masterClrMapping/>
  </p:clrMapOvr>
  <p:transition spd="med">
    <p:wipe dir="r"/>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F179B-85F5-4BD9-9E6D-1DFAEDA053DA}"/>
              </a:ext>
            </a:extLst>
          </p:cNvPr>
          <p:cNvSpPr>
            <a:spLocks noGrp="1"/>
          </p:cNvSpPr>
          <p:nvPr>
            <p:ph type="title"/>
          </p:nvPr>
        </p:nvSpPr>
        <p:spPr>
          <a:xfrm>
            <a:off x="0" y="22860"/>
            <a:ext cx="4295219" cy="640080"/>
          </a:xfrm>
        </p:spPr>
        <p:txBody>
          <a:bodyPr/>
          <a:lstStyle/>
          <a:p>
            <a:r>
              <a:rPr lang="en-US" dirty="0"/>
              <a:t>Conditional Probability</a:t>
            </a:r>
          </a:p>
        </p:txBody>
      </p:sp>
      <p:sp>
        <p:nvSpPr>
          <p:cNvPr id="3" name="Content Placeholder 2">
            <a:extLst>
              <a:ext uri="{FF2B5EF4-FFF2-40B4-BE49-F238E27FC236}">
                <a16:creationId xmlns:a16="http://schemas.microsoft.com/office/drawing/2014/main" id="{608194AB-29D1-44FC-B8C1-7D368129B071}"/>
              </a:ext>
            </a:extLst>
          </p:cNvPr>
          <p:cNvSpPr>
            <a:spLocks noGrp="1"/>
          </p:cNvSpPr>
          <p:nvPr>
            <p:ph sz="half" idx="13"/>
          </p:nvPr>
        </p:nvSpPr>
        <p:spPr>
          <a:xfrm>
            <a:off x="204517" y="889272"/>
            <a:ext cx="8534633" cy="3200400"/>
          </a:xfrm>
        </p:spPr>
        <p:txBody>
          <a:bodyPr/>
          <a:lstStyle/>
          <a:p>
            <a:pPr algn="l"/>
            <a:r>
              <a:rPr lang="en-US" b="0" i="0" dirty="0">
                <a:solidFill>
                  <a:srgbClr val="333333"/>
                </a:solidFill>
                <a:effectLst/>
                <a:latin typeface="Verdana" panose="020B0604030504040204" pitchFamily="34" charset="0"/>
              </a:rPr>
              <a:t>Example: Ice Cream</a:t>
            </a:r>
          </a:p>
          <a:p>
            <a:pPr algn="l"/>
            <a:r>
              <a:rPr lang="en-US" b="0" i="0" dirty="0">
                <a:solidFill>
                  <a:srgbClr val="333333"/>
                </a:solidFill>
                <a:effectLst/>
                <a:latin typeface="Verdana" panose="020B0604030504040204" pitchFamily="34" charset="0"/>
              </a:rPr>
              <a:t>70% of your friends like Chocolate, and 35% like Chocolate AND like Strawberry.</a:t>
            </a:r>
          </a:p>
          <a:p>
            <a:pPr algn="l"/>
            <a:r>
              <a:rPr lang="en-US" b="0" i="0" dirty="0">
                <a:solidFill>
                  <a:srgbClr val="333333"/>
                </a:solidFill>
                <a:effectLst/>
                <a:latin typeface="Verdana" panose="020B0604030504040204" pitchFamily="34" charset="0"/>
              </a:rPr>
              <a:t>What percent of those who like Chocolate also like Strawberry?</a:t>
            </a:r>
          </a:p>
          <a:p>
            <a:pPr algn="l"/>
            <a:r>
              <a:rPr lang="en-US" b="0" i="0" dirty="0">
                <a:effectLst/>
                <a:latin typeface="Verdana" panose="020B0604030504040204" pitchFamily="34" charset="0"/>
              </a:rPr>
              <a:t>P(</a:t>
            </a:r>
            <a:r>
              <a:rPr lang="en-US" b="0" i="0" dirty="0" err="1">
                <a:effectLst/>
                <a:latin typeface="Verdana" panose="020B0604030504040204" pitchFamily="34" charset="0"/>
              </a:rPr>
              <a:t>Strawberry|Chocolate</a:t>
            </a:r>
            <a:r>
              <a:rPr lang="en-US" b="0" i="0" dirty="0">
                <a:effectLst/>
                <a:latin typeface="Verdana" panose="020B0604030504040204" pitchFamily="34" charset="0"/>
              </a:rPr>
              <a:t>) = P(Chocolate and Strawberry) / P(Chocolate)</a:t>
            </a:r>
          </a:p>
          <a:p>
            <a:pPr algn="l"/>
            <a:endParaRPr lang="en-US" b="0" i="0" dirty="0">
              <a:solidFill>
                <a:srgbClr val="333333"/>
              </a:solidFill>
              <a:effectLst/>
              <a:latin typeface="Verdana" panose="020B0604030504040204" pitchFamily="34" charset="0"/>
            </a:endParaRPr>
          </a:p>
          <a:p>
            <a:pPr algn="l"/>
            <a:endParaRPr lang="en-US" dirty="0">
              <a:solidFill>
                <a:srgbClr val="333333"/>
              </a:solidFill>
              <a:latin typeface="Verdana" panose="020B0604030504040204" pitchFamily="34" charset="0"/>
            </a:endParaRPr>
          </a:p>
          <a:p>
            <a:endParaRPr lang="en-US" dirty="0"/>
          </a:p>
        </p:txBody>
      </p:sp>
    </p:spTree>
    <p:extLst>
      <p:ext uri="{BB962C8B-B14F-4D97-AF65-F5344CB8AC3E}">
        <p14:creationId xmlns:p14="http://schemas.microsoft.com/office/powerpoint/2010/main" val="982626990"/>
      </p:ext>
    </p:extLst>
  </p:cSld>
  <p:clrMapOvr>
    <a:masterClrMapping/>
  </p:clrMapOvr>
  <p:transition spd="med">
    <p:wipe dir="r"/>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EF96E-90B7-46D2-AD75-2CC0774C8934}"/>
              </a:ext>
            </a:extLst>
          </p:cNvPr>
          <p:cNvSpPr>
            <a:spLocks noGrp="1"/>
          </p:cNvSpPr>
          <p:nvPr>
            <p:ph type="title"/>
          </p:nvPr>
        </p:nvSpPr>
        <p:spPr>
          <a:xfrm>
            <a:off x="0" y="22860"/>
            <a:ext cx="7175597" cy="640080"/>
          </a:xfrm>
        </p:spPr>
        <p:txBody>
          <a:bodyPr/>
          <a:lstStyle/>
          <a:p>
            <a:r>
              <a:rPr lang="en-US" dirty="0"/>
              <a:t>Confusion Matrix</a:t>
            </a:r>
          </a:p>
        </p:txBody>
      </p:sp>
      <p:pic>
        <p:nvPicPr>
          <p:cNvPr id="5" name="Content Placeholder 4">
            <a:extLst>
              <a:ext uri="{FF2B5EF4-FFF2-40B4-BE49-F238E27FC236}">
                <a16:creationId xmlns:a16="http://schemas.microsoft.com/office/drawing/2014/main" id="{9920DD8A-BA59-42B7-893A-BAF94EE63290}"/>
              </a:ext>
            </a:extLst>
          </p:cNvPr>
          <p:cNvPicPr>
            <a:picLocks noGrp="1" noChangeAspect="1"/>
          </p:cNvPicPr>
          <p:nvPr>
            <p:ph sz="half" idx="13"/>
          </p:nvPr>
        </p:nvPicPr>
        <p:blipFill>
          <a:blip r:embed="rId2"/>
          <a:stretch>
            <a:fillRect/>
          </a:stretch>
        </p:blipFill>
        <p:spPr>
          <a:xfrm>
            <a:off x="0" y="648872"/>
            <a:ext cx="3741464" cy="1922878"/>
          </a:xfrm>
        </p:spPr>
      </p:pic>
      <p:sp>
        <p:nvSpPr>
          <p:cNvPr id="6" name="TextBox 5">
            <a:extLst>
              <a:ext uri="{FF2B5EF4-FFF2-40B4-BE49-F238E27FC236}">
                <a16:creationId xmlns:a16="http://schemas.microsoft.com/office/drawing/2014/main" id="{2D500167-F1FB-4EED-92FC-77B5F19207F7}"/>
              </a:ext>
            </a:extLst>
          </p:cNvPr>
          <p:cNvSpPr txBox="1"/>
          <p:nvPr/>
        </p:nvSpPr>
        <p:spPr>
          <a:xfrm>
            <a:off x="3915864" y="662940"/>
            <a:ext cx="5109523" cy="861774"/>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200" b="0" i="0" dirty="0">
                <a:solidFill>
                  <a:srgbClr val="444444"/>
                </a:solidFill>
                <a:effectLst/>
                <a:latin typeface="Open Sans" panose="020B0606030504020204" pitchFamily="34" charset="0"/>
              </a:rPr>
              <a:t>A confusion matrix is a table that is often used to </a:t>
            </a:r>
            <a:r>
              <a:rPr lang="en-US" sz="1200" b="1" i="0" dirty="0">
                <a:solidFill>
                  <a:srgbClr val="444444"/>
                </a:solidFill>
                <a:effectLst/>
                <a:latin typeface="Open Sans" panose="020B0606030504020204" pitchFamily="34" charset="0"/>
              </a:rPr>
              <a:t>describe the performance of a classification model</a:t>
            </a:r>
            <a:r>
              <a:rPr lang="en-US" sz="1200" b="0" i="0" dirty="0">
                <a:solidFill>
                  <a:srgbClr val="444444"/>
                </a:solidFill>
                <a:effectLst/>
                <a:latin typeface="Open Sans" panose="020B0606030504020204" pitchFamily="34" charset="0"/>
              </a:rPr>
              <a:t> (or "classifier") on a set of test data for which the true values are known.</a:t>
            </a:r>
          </a:p>
          <a:p>
            <a:pPr marL="171450" indent="-1714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p:txBody>
      </p:sp>
      <p:sp>
        <p:nvSpPr>
          <p:cNvPr id="7" name="TextBox 6">
            <a:extLst>
              <a:ext uri="{FF2B5EF4-FFF2-40B4-BE49-F238E27FC236}">
                <a16:creationId xmlns:a16="http://schemas.microsoft.com/office/drawing/2014/main" id="{D6E5CE8C-21A6-4A4C-BE62-D7D0F505810D}"/>
              </a:ext>
            </a:extLst>
          </p:cNvPr>
          <p:cNvSpPr txBox="1"/>
          <p:nvPr/>
        </p:nvSpPr>
        <p:spPr>
          <a:xfrm>
            <a:off x="3975196" y="1668256"/>
            <a:ext cx="4990861" cy="2893100"/>
          </a:xfrm>
          <a:prstGeom prst="rect">
            <a:avLst/>
          </a:prstGeom>
          <a:noFill/>
        </p:spPr>
        <p:txBody>
          <a:bodyPr wrap="square" rtlCol="0">
            <a:spAutoFit/>
          </a:bodyPr>
          <a:lstStyle/>
          <a:p>
            <a:pPr algn="l"/>
            <a:r>
              <a:rPr lang="en-US" sz="1200" b="0" i="0" dirty="0">
                <a:solidFill>
                  <a:srgbClr val="444444"/>
                </a:solidFill>
                <a:effectLst/>
                <a:latin typeface="Open Sans" panose="020B0606030504020204" pitchFamily="34" charset="0"/>
              </a:rPr>
              <a:t>Let's now define the most basic terms, which are whole numbers (not rates):</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true positives (TP):</a:t>
            </a:r>
            <a:r>
              <a:rPr lang="en-US" sz="1200" b="0" i="0" dirty="0">
                <a:solidFill>
                  <a:srgbClr val="444444"/>
                </a:solidFill>
                <a:effectLst/>
                <a:latin typeface="Open Sans" panose="020B0606030504020204" pitchFamily="34" charset="0"/>
              </a:rPr>
              <a:t> These are cases in which we predicted yes (they have the disease), and they do have the disease.</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true negatives (TN):</a:t>
            </a:r>
            <a:r>
              <a:rPr lang="en-US" sz="1200" b="0" i="0" dirty="0">
                <a:solidFill>
                  <a:srgbClr val="444444"/>
                </a:solidFill>
                <a:effectLst/>
                <a:latin typeface="Open Sans" panose="020B0606030504020204" pitchFamily="34" charset="0"/>
              </a:rPr>
              <a:t> We predicted no, and they don't have the disease.</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false positives (FP):</a:t>
            </a:r>
            <a:r>
              <a:rPr lang="en-US" sz="1200" b="0" i="0" dirty="0">
                <a:solidFill>
                  <a:srgbClr val="444444"/>
                </a:solidFill>
                <a:effectLst/>
                <a:latin typeface="Open Sans" panose="020B0606030504020204" pitchFamily="34" charset="0"/>
              </a:rPr>
              <a:t> We predicted yes, but they don't actually have the disease. (Also known as a "Type I error.")</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false negatives (FN):</a:t>
            </a:r>
            <a:r>
              <a:rPr lang="en-US" sz="1200" b="0" i="0" dirty="0">
                <a:solidFill>
                  <a:srgbClr val="444444"/>
                </a:solidFill>
                <a:effectLst/>
                <a:latin typeface="Open Sans" panose="020B0606030504020204" pitchFamily="34" charset="0"/>
              </a:rPr>
              <a:t> We predicted no, but they actually do have the disease. (Also known as a "Type II error.")</a:t>
            </a:r>
          </a:p>
          <a:p>
            <a:pPr>
              <a:spcBef>
                <a:spcPts val="0"/>
              </a:spcBef>
              <a:spcAft>
                <a:spcPts val="0"/>
              </a:spcAft>
              <a:buClr>
                <a:schemeClr val="bg1"/>
              </a:buClr>
            </a:pPr>
            <a:endParaRPr lang="en-US" sz="1400" dirty="0" err="1">
              <a:solidFill>
                <a:schemeClr val="bg2"/>
              </a:solidFill>
              <a:latin typeface="+mn-lt"/>
            </a:endParaRPr>
          </a:p>
        </p:txBody>
      </p:sp>
      <p:pic>
        <p:nvPicPr>
          <p:cNvPr id="9" name="Picture 8">
            <a:extLst>
              <a:ext uri="{FF2B5EF4-FFF2-40B4-BE49-F238E27FC236}">
                <a16:creationId xmlns:a16="http://schemas.microsoft.com/office/drawing/2014/main" id="{EC78D233-E406-4593-8D1F-864240CA86A8}"/>
              </a:ext>
            </a:extLst>
          </p:cNvPr>
          <p:cNvPicPr>
            <a:picLocks noChangeAspect="1"/>
          </p:cNvPicPr>
          <p:nvPr/>
        </p:nvPicPr>
        <p:blipFill>
          <a:blip r:embed="rId3"/>
          <a:stretch>
            <a:fillRect/>
          </a:stretch>
        </p:blipFill>
        <p:spPr>
          <a:xfrm>
            <a:off x="177942" y="2571749"/>
            <a:ext cx="3486637" cy="1774711"/>
          </a:xfrm>
          <a:prstGeom prst="rect">
            <a:avLst/>
          </a:prstGeom>
        </p:spPr>
      </p:pic>
    </p:spTree>
    <p:extLst>
      <p:ext uri="{BB962C8B-B14F-4D97-AF65-F5344CB8AC3E}">
        <p14:creationId xmlns:p14="http://schemas.microsoft.com/office/powerpoint/2010/main" val="2910173245"/>
      </p:ext>
    </p:extLst>
  </p:cSld>
  <p:clrMapOvr>
    <a:masterClrMapping/>
  </p:clrMapOvr>
  <p:transition spd="med">
    <p:wipe dir="r"/>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60434-E852-455D-ACA9-15F50D092100}"/>
              </a:ext>
            </a:extLst>
          </p:cNvPr>
          <p:cNvSpPr>
            <a:spLocks noGrp="1"/>
          </p:cNvSpPr>
          <p:nvPr>
            <p:ph type="title"/>
          </p:nvPr>
        </p:nvSpPr>
        <p:spPr>
          <a:xfrm>
            <a:off x="0" y="0"/>
            <a:ext cx="4295219" cy="640080"/>
          </a:xfrm>
        </p:spPr>
        <p:txBody>
          <a:bodyPr/>
          <a:lstStyle/>
          <a:p>
            <a:r>
              <a:rPr lang="en-US" dirty="0"/>
              <a:t>Confusion Matrix</a:t>
            </a:r>
          </a:p>
        </p:txBody>
      </p:sp>
      <p:sp>
        <p:nvSpPr>
          <p:cNvPr id="3" name="Content Placeholder 2">
            <a:extLst>
              <a:ext uri="{FF2B5EF4-FFF2-40B4-BE49-F238E27FC236}">
                <a16:creationId xmlns:a16="http://schemas.microsoft.com/office/drawing/2014/main" id="{BAFDD8EE-05F2-465F-9896-1600B846F7B9}"/>
              </a:ext>
            </a:extLst>
          </p:cNvPr>
          <p:cNvSpPr>
            <a:spLocks noGrp="1"/>
          </p:cNvSpPr>
          <p:nvPr>
            <p:ph sz="half" idx="13"/>
          </p:nvPr>
        </p:nvSpPr>
        <p:spPr>
          <a:xfrm>
            <a:off x="97722" y="742688"/>
            <a:ext cx="8662369" cy="3200400"/>
          </a:xfrm>
        </p:spPr>
        <p:txBody>
          <a:bodyPr>
            <a:normAutofit fontScale="92500" lnSpcReduction="10000"/>
          </a:bodyPr>
          <a:lstStyle/>
          <a:p>
            <a:pPr marL="0" indent="0">
              <a:buNone/>
            </a:pPr>
            <a:r>
              <a:rPr lang="en-US" sz="1800" b="1" dirty="0"/>
              <a:t>Some examples of “False Positives”</a:t>
            </a:r>
          </a:p>
          <a:p>
            <a:pPr algn="l" fontAlgn="base">
              <a:buFont typeface="Arial" panose="020B0604020202020204" pitchFamily="34" charset="0"/>
              <a:buChar char="•"/>
            </a:pPr>
            <a:r>
              <a:rPr lang="en-US" sz="2400" b="0" i="0" dirty="0">
                <a:solidFill>
                  <a:srgbClr val="777777"/>
                </a:solidFill>
                <a:effectLst/>
                <a:latin typeface="inherit"/>
              </a:rPr>
              <a:t>A pregnancy test is positive, when in fact you aren’t pregnant.</a:t>
            </a:r>
          </a:p>
          <a:p>
            <a:pPr algn="l" fontAlgn="base">
              <a:buFont typeface="Arial" panose="020B0604020202020204" pitchFamily="34" charset="0"/>
              <a:buChar char="•"/>
            </a:pPr>
            <a:r>
              <a:rPr lang="en-US" sz="2400" b="0" i="0" dirty="0">
                <a:solidFill>
                  <a:srgbClr val="777777"/>
                </a:solidFill>
                <a:effectLst/>
                <a:latin typeface="inherit"/>
              </a:rPr>
              <a:t>A cancer screening test comes back positive, but you don’t have the disease.</a:t>
            </a:r>
          </a:p>
          <a:p>
            <a:pPr algn="l" fontAlgn="base">
              <a:buFont typeface="Arial" panose="020B0604020202020204" pitchFamily="34" charset="0"/>
              <a:buChar char="•"/>
            </a:pPr>
            <a:r>
              <a:rPr lang="en-US" sz="2400" b="0" i="0" dirty="0">
                <a:solidFill>
                  <a:srgbClr val="777777"/>
                </a:solidFill>
                <a:effectLst/>
                <a:latin typeface="inherit"/>
              </a:rPr>
              <a:t>A prenatal test comes back positive for Down’s Syndrome, when your fetus does not have the disorder.</a:t>
            </a:r>
          </a:p>
          <a:p>
            <a:pPr algn="l" fontAlgn="base">
              <a:buFont typeface="Arial" panose="020B0604020202020204" pitchFamily="34" charset="0"/>
              <a:buChar char="•"/>
            </a:pPr>
            <a:r>
              <a:rPr lang="en-US" sz="2400" b="0" i="0" dirty="0">
                <a:solidFill>
                  <a:srgbClr val="777777"/>
                </a:solidFill>
                <a:effectLst/>
                <a:latin typeface="inherit"/>
              </a:rPr>
              <a:t>Virus software on your computer incorrectly identifies a harmless program as a malicious one.</a:t>
            </a:r>
          </a:p>
          <a:p>
            <a:endParaRPr lang="en-US" dirty="0"/>
          </a:p>
          <a:p>
            <a:endParaRPr lang="en-US" dirty="0"/>
          </a:p>
        </p:txBody>
      </p:sp>
    </p:spTree>
    <p:extLst>
      <p:ext uri="{BB962C8B-B14F-4D97-AF65-F5344CB8AC3E}">
        <p14:creationId xmlns:p14="http://schemas.microsoft.com/office/powerpoint/2010/main" val="3860074758"/>
      </p:ext>
    </p:extLst>
  </p:cSld>
  <p:clrMapOvr>
    <a:masterClrMapping/>
  </p:clrMapOvr>
  <p:transition spd="med">
    <p:wipe dir="r"/>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60434-E852-455D-ACA9-15F50D092100}"/>
              </a:ext>
            </a:extLst>
          </p:cNvPr>
          <p:cNvSpPr>
            <a:spLocks noGrp="1"/>
          </p:cNvSpPr>
          <p:nvPr>
            <p:ph type="title"/>
          </p:nvPr>
        </p:nvSpPr>
        <p:spPr>
          <a:xfrm>
            <a:off x="0" y="0"/>
            <a:ext cx="4295219" cy="640080"/>
          </a:xfrm>
        </p:spPr>
        <p:txBody>
          <a:bodyPr/>
          <a:lstStyle/>
          <a:p>
            <a:r>
              <a:rPr lang="en-US" dirty="0"/>
              <a:t>Confusion Matrix</a:t>
            </a:r>
          </a:p>
        </p:txBody>
      </p:sp>
      <p:sp>
        <p:nvSpPr>
          <p:cNvPr id="3" name="Content Placeholder 2">
            <a:extLst>
              <a:ext uri="{FF2B5EF4-FFF2-40B4-BE49-F238E27FC236}">
                <a16:creationId xmlns:a16="http://schemas.microsoft.com/office/drawing/2014/main" id="{BAFDD8EE-05F2-465F-9896-1600B846F7B9}"/>
              </a:ext>
            </a:extLst>
          </p:cNvPr>
          <p:cNvSpPr>
            <a:spLocks noGrp="1"/>
          </p:cNvSpPr>
          <p:nvPr>
            <p:ph sz="half" idx="13"/>
          </p:nvPr>
        </p:nvSpPr>
        <p:spPr>
          <a:xfrm>
            <a:off x="97722" y="742688"/>
            <a:ext cx="8662369" cy="3822332"/>
          </a:xfrm>
        </p:spPr>
        <p:txBody>
          <a:bodyPr>
            <a:normAutofit/>
          </a:bodyPr>
          <a:lstStyle/>
          <a:p>
            <a:pPr marL="0" indent="0">
              <a:buNone/>
            </a:pPr>
            <a:r>
              <a:rPr lang="en-US" sz="1800" b="1" dirty="0"/>
              <a:t>Some examples of “False Negatives”</a:t>
            </a:r>
          </a:p>
          <a:p>
            <a:pPr algn="l" fontAlgn="base">
              <a:buFont typeface="Arial" panose="020B0604020202020204" pitchFamily="34" charset="0"/>
              <a:buChar char="•"/>
            </a:pPr>
            <a:r>
              <a:rPr lang="en-US" sz="2000" b="0" i="0" dirty="0">
                <a:solidFill>
                  <a:srgbClr val="777777"/>
                </a:solidFill>
                <a:effectLst/>
                <a:latin typeface="inherit"/>
              </a:rPr>
              <a:t>In </a:t>
            </a:r>
            <a:r>
              <a:rPr lang="en-US" sz="2000" b="1" i="0" dirty="0">
                <a:solidFill>
                  <a:srgbClr val="777777"/>
                </a:solidFill>
                <a:effectLst/>
                <a:latin typeface="inherit"/>
              </a:rPr>
              <a:t>software testing</a:t>
            </a:r>
            <a:r>
              <a:rPr lang="en-US" sz="2000" b="0" i="0" dirty="0">
                <a:solidFill>
                  <a:srgbClr val="777777"/>
                </a:solidFill>
                <a:effectLst/>
                <a:latin typeface="inherit"/>
              </a:rPr>
              <a:t>, a false negative would mean that a test designed to catch something (i.e. a virus) has failed.</a:t>
            </a:r>
          </a:p>
          <a:p>
            <a:pPr algn="l" fontAlgn="base">
              <a:buFont typeface="Arial" panose="020B0604020202020204" pitchFamily="34" charset="0"/>
              <a:buChar char="•"/>
            </a:pPr>
            <a:r>
              <a:rPr lang="en-US" sz="2000" b="0" i="0" dirty="0">
                <a:solidFill>
                  <a:srgbClr val="777777"/>
                </a:solidFill>
                <a:effectLst/>
                <a:latin typeface="inherit"/>
              </a:rPr>
              <a:t>In the </a:t>
            </a:r>
            <a:r>
              <a:rPr lang="en-US" sz="2000" b="1" i="0" dirty="0">
                <a:solidFill>
                  <a:srgbClr val="777777"/>
                </a:solidFill>
                <a:effectLst/>
                <a:latin typeface="inherit"/>
              </a:rPr>
              <a:t>Justice System</a:t>
            </a:r>
            <a:r>
              <a:rPr lang="en-US" sz="2000" b="0" i="0" dirty="0">
                <a:solidFill>
                  <a:srgbClr val="777777"/>
                </a:solidFill>
                <a:effectLst/>
                <a:latin typeface="inherit"/>
              </a:rPr>
              <a:t>, a false negative occurs when a guilty suspect is found “Not Guilty” and allowed to walk free.</a:t>
            </a:r>
          </a:p>
          <a:p>
            <a:pPr marL="0" indent="0">
              <a:buNone/>
            </a:pPr>
            <a:endParaRPr lang="en-US" dirty="0"/>
          </a:p>
          <a:p>
            <a:endParaRPr lang="en-US" dirty="0"/>
          </a:p>
        </p:txBody>
      </p:sp>
    </p:spTree>
    <p:extLst>
      <p:ext uri="{BB962C8B-B14F-4D97-AF65-F5344CB8AC3E}">
        <p14:creationId xmlns:p14="http://schemas.microsoft.com/office/powerpoint/2010/main" val="2405493443"/>
      </p:ext>
    </p:extLst>
  </p:cSld>
  <p:clrMapOvr>
    <a:masterClrMapping/>
  </p:clrMapOvr>
  <p:transition spd="med">
    <p:wipe dir="r"/>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7488E-8B76-4070-9124-EB3B7EE8E2C7}"/>
              </a:ext>
            </a:extLst>
          </p:cNvPr>
          <p:cNvSpPr>
            <a:spLocks noGrp="1"/>
          </p:cNvSpPr>
          <p:nvPr>
            <p:ph type="title"/>
          </p:nvPr>
        </p:nvSpPr>
        <p:spPr>
          <a:xfrm>
            <a:off x="1" y="113029"/>
            <a:ext cx="8914791" cy="640080"/>
          </a:xfrm>
        </p:spPr>
        <p:txBody>
          <a:bodyPr/>
          <a:lstStyle/>
          <a:p>
            <a:r>
              <a:rPr lang="en-US" dirty="0"/>
              <a:t>Example : Allergy or Not ? </a:t>
            </a:r>
          </a:p>
        </p:txBody>
      </p:sp>
      <p:pic>
        <p:nvPicPr>
          <p:cNvPr id="5" name="Content Placeholder 4" descr="A cat lying on a blanket&#10;&#10;Description automatically generated with medium confidence">
            <a:extLst>
              <a:ext uri="{FF2B5EF4-FFF2-40B4-BE49-F238E27FC236}">
                <a16:creationId xmlns:a16="http://schemas.microsoft.com/office/drawing/2014/main" id="{E162F585-2F27-4E01-AB27-7C8FA2C2A2EA}"/>
              </a:ext>
            </a:extLst>
          </p:cNvPr>
          <p:cNvPicPr>
            <a:picLocks noGrp="1" noChangeAspect="1"/>
          </p:cNvPicPr>
          <p:nvPr>
            <p:ph sz="half" idx="13"/>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338456" y="851339"/>
            <a:ext cx="2576336" cy="2058116"/>
          </a:xfrm>
        </p:spPr>
      </p:pic>
      <p:sp>
        <p:nvSpPr>
          <p:cNvPr id="7" name="TextBox 6">
            <a:extLst>
              <a:ext uri="{FF2B5EF4-FFF2-40B4-BE49-F238E27FC236}">
                <a16:creationId xmlns:a16="http://schemas.microsoft.com/office/drawing/2014/main" id="{134A7D84-DB8B-4044-84C0-9D7670045B52}"/>
              </a:ext>
            </a:extLst>
          </p:cNvPr>
          <p:cNvSpPr txBox="1"/>
          <p:nvPr/>
        </p:nvSpPr>
        <p:spPr>
          <a:xfrm>
            <a:off x="305339" y="976599"/>
            <a:ext cx="5326085" cy="1661993"/>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Hunter says she is itchy. There is a test for Allergy to Cats, but this test is not always right:</a:t>
            </a:r>
          </a:p>
          <a:p>
            <a:pPr algn="l"/>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For people that </a:t>
            </a:r>
            <a:r>
              <a:rPr lang="en-US" sz="1100" b="1" i="0" dirty="0">
                <a:solidFill>
                  <a:srgbClr val="333333"/>
                </a:solidFill>
                <a:effectLst/>
                <a:latin typeface="Verdana" panose="020B0604030504040204" pitchFamily="34" charset="0"/>
              </a:rPr>
              <a:t>really do</a:t>
            </a:r>
            <a:r>
              <a:rPr lang="en-US" sz="1100" b="0" i="0" dirty="0">
                <a:solidFill>
                  <a:srgbClr val="333333"/>
                </a:solidFill>
                <a:effectLst/>
                <a:latin typeface="Verdana" panose="020B0604030504040204" pitchFamily="34" charset="0"/>
              </a:rPr>
              <a:t> have the allergy, the test says "Yes" </a:t>
            </a:r>
            <a:r>
              <a:rPr lang="en-US" sz="1100" b="1" i="0" dirty="0">
                <a:solidFill>
                  <a:srgbClr val="333333"/>
                </a:solidFill>
                <a:effectLst/>
                <a:latin typeface="Verdana" panose="020B0604030504040204" pitchFamily="34" charset="0"/>
              </a:rPr>
              <a:t>80%</a:t>
            </a:r>
            <a:r>
              <a:rPr lang="en-US" sz="1100" b="0" i="0" dirty="0">
                <a:solidFill>
                  <a:srgbClr val="333333"/>
                </a:solidFill>
                <a:effectLst/>
                <a:latin typeface="Verdana" panose="020B0604030504040204" pitchFamily="34" charset="0"/>
              </a:rPr>
              <a:t> of the time</a:t>
            </a:r>
          </a:p>
          <a:p>
            <a:pPr marL="171450" indent="-171450" algn="l">
              <a:buFont typeface="Arial" panose="020B0604020202020204" pitchFamily="34" charset="0"/>
              <a:buChar char="•"/>
            </a:pPr>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For people that </a:t>
            </a:r>
            <a:r>
              <a:rPr lang="en-US" sz="1100" b="1" i="0" dirty="0">
                <a:solidFill>
                  <a:srgbClr val="333333"/>
                </a:solidFill>
                <a:effectLst/>
                <a:latin typeface="Verdana" panose="020B0604030504040204" pitchFamily="34" charset="0"/>
              </a:rPr>
              <a:t>do not</a:t>
            </a:r>
            <a:r>
              <a:rPr lang="en-US" sz="1100" b="0" i="0" dirty="0">
                <a:solidFill>
                  <a:srgbClr val="333333"/>
                </a:solidFill>
                <a:effectLst/>
                <a:latin typeface="Verdana" panose="020B0604030504040204" pitchFamily="34" charset="0"/>
              </a:rPr>
              <a:t> have the allergy, the test says "Yes" </a:t>
            </a:r>
            <a:r>
              <a:rPr lang="en-US" sz="1100" b="1" i="0" dirty="0">
                <a:solidFill>
                  <a:srgbClr val="333333"/>
                </a:solidFill>
                <a:effectLst/>
                <a:latin typeface="Verdana" panose="020B0604030504040204" pitchFamily="34" charset="0"/>
              </a:rPr>
              <a:t>10%</a:t>
            </a:r>
            <a:r>
              <a:rPr lang="en-US" sz="1100" b="0" i="0" dirty="0">
                <a:solidFill>
                  <a:srgbClr val="333333"/>
                </a:solidFill>
                <a:effectLst/>
                <a:latin typeface="Verdana" panose="020B0604030504040204" pitchFamily="34" charset="0"/>
              </a:rPr>
              <a:t> of the time ("false positive")</a:t>
            </a:r>
          </a:p>
          <a:p>
            <a:pPr>
              <a:spcBef>
                <a:spcPts val="0"/>
              </a:spcBef>
              <a:spcAft>
                <a:spcPts val="0"/>
              </a:spcAft>
              <a:buClr>
                <a:schemeClr val="bg1"/>
              </a:buClr>
            </a:pPr>
            <a:endParaRPr lang="en-US" sz="1400" dirty="0" err="1">
              <a:solidFill>
                <a:schemeClr val="bg2"/>
              </a:solidFill>
              <a:latin typeface="+mn-lt"/>
            </a:endParaRPr>
          </a:p>
        </p:txBody>
      </p:sp>
      <p:pic>
        <p:nvPicPr>
          <p:cNvPr id="9" name="Picture 8">
            <a:extLst>
              <a:ext uri="{FF2B5EF4-FFF2-40B4-BE49-F238E27FC236}">
                <a16:creationId xmlns:a16="http://schemas.microsoft.com/office/drawing/2014/main" id="{5A985D4C-E60E-4201-8BBE-8E238B61E08B}"/>
              </a:ext>
            </a:extLst>
          </p:cNvPr>
          <p:cNvPicPr>
            <a:picLocks noChangeAspect="1"/>
          </p:cNvPicPr>
          <p:nvPr/>
        </p:nvPicPr>
        <p:blipFill>
          <a:blip r:embed="rId4"/>
          <a:stretch>
            <a:fillRect/>
          </a:stretch>
        </p:blipFill>
        <p:spPr>
          <a:xfrm>
            <a:off x="260524" y="2975111"/>
            <a:ext cx="5639236" cy="1324311"/>
          </a:xfrm>
          <a:prstGeom prst="rect">
            <a:avLst/>
          </a:prstGeom>
        </p:spPr>
      </p:pic>
      <p:sp>
        <p:nvSpPr>
          <p:cNvPr id="10" name="TextBox 9">
            <a:extLst>
              <a:ext uri="{FF2B5EF4-FFF2-40B4-BE49-F238E27FC236}">
                <a16:creationId xmlns:a16="http://schemas.microsoft.com/office/drawing/2014/main" id="{FBEFB2C8-1750-4B8C-8485-879C100EC5F9}"/>
              </a:ext>
            </a:extLst>
          </p:cNvPr>
          <p:cNvSpPr txBox="1"/>
          <p:nvPr/>
        </p:nvSpPr>
        <p:spPr>
          <a:xfrm>
            <a:off x="106183" y="2778650"/>
            <a:ext cx="2862198" cy="261610"/>
          </a:xfrm>
          <a:prstGeom prst="rect">
            <a:avLst/>
          </a:prstGeom>
          <a:noFill/>
        </p:spPr>
        <p:txBody>
          <a:bodyPr wrap="square" rtlCol="0">
            <a:spAutoFit/>
          </a:bodyPr>
          <a:lstStyle/>
          <a:p>
            <a:pPr>
              <a:spcBef>
                <a:spcPts val="0"/>
              </a:spcBef>
              <a:spcAft>
                <a:spcPts val="0"/>
              </a:spcAft>
              <a:buClr>
                <a:schemeClr val="bg1"/>
              </a:buClr>
            </a:pPr>
            <a:r>
              <a:rPr lang="en-US" sz="1100" b="1" i="1" dirty="0">
                <a:solidFill>
                  <a:srgbClr val="333333"/>
                </a:solidFill>
                <a:latin typeface="Verdana" panose="020B0604030504040204" pitchFamily="34" charset="0"/>
              </a:rPr>
              <a:t>Here is the table : </a:t>
            </a:r>
          </a:p>
        </p:txBody>
      </p:sp>
    </p:spTree>
    <p:extLst>
      <p:ext uri="{BB962C8B-B14F-4D97-AF65-F5344CB8AC3E}">
        <p14:creationId xmlns:p14="http://schemas.microsoft.com/office/powerpoint/2010/main" val="3596897327"/>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FD079F-47A3-45E3-A49E-72DE938F0F45}"/>
              </a:ext>
            </a:extLst>
          </p:cNvPr>
          <p:cNvSpPr>
            <a:spLocks noGrp="1"/>
          </p:cNvSpPr>
          <p:nvPr>
            <p:ph sz="half" idx="1"/>
          </p:nvPr>
        </p:nvSpPr>
        <p:spPr>
          <a:xfrm>
            <a:off x="174111" y="703961"/>
            <a:ext cx="8694316" cy="3774093"/>
          </a:xfrm>
        </p:spPr>
        <p:txBody>
          <a:bodyPr>
            <a:normAutofit/>
          </a:bodyPr>
          <a:lstStyle/>
          <a:p>
            <a:pPr marL="0" indent="0">
              <a:buNone/>
            </a:pPr>
            <a:r>
              <a:rPr lang="en-US" sz="44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fter understanding Population and Sample it opens the gate to understand what is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I</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nferential</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and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D</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escriptive</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statistics. </a:t>
            </a:r>
          </a:p>
          <a:p>
            <a:endParaRPr lang="en-US" dirty="0"/>
          </a:p>
        </p:txBody>
      </p:sp>
    </p:spTree>
    <p:extLst>
      <p:ext uri="{BB962C8B-B14F-4D97-AF65-F5344CB8AC3E}">
        <p14:creationId xmlns:p14="http://schemas.microsoft.com/office/powerpoint/2010/main" val="2499727815"/>
      </p:ext>
    </p:extLst>
  </p:cSld>
  <p:clrMapOvr>
    <a:masterClrMapping/>
  </p:clrMapOvr>
  <p:transition spd="med">
    <p:wipe dir="r"/>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04040-41EE-4244-A027-A4BBE5A176EB}"/>
              </a:ext>
            </a:extLst>
          </p:cNvPr>
          <p:cNvSpPr>
            <a:spLocks noGrp="1"/>
          </p:cNvSpPr>
          <p:nvPr>
            <p:ph type="title"/>
          </p:nvPr>
        </p:nvSpPr>
        <p:spPr>
          <a:xfrm>
            <a:off x="0" y="256784"/>
            <a:ext cx="4295219" cy="640080"/>
          </a:xfrm>
        </p:spPr>
        <p:txBody>
          <a:bodyPr/>
          <a:lstStyle/>
          <a:p>
            <a:r>
              <a:rPr lang="en-US" dirty="0"/>
              <a:t>Question :  </a:t>
            </a:r>
          </a:p>
        </p:txBody>
      </p:sp>
      <p:sp>
        <p:nvSpPr>
          <p:cNvPr id="3" name="Content Placeholder 2">
            <a:extLst>
              <a:ext uri="{FF2B5EF4-FFF2-40B4-BE49-F238E27FC236}">
                <a16:creationId xmlns:a16="http://schemas.microsoft.com/office/drawing/2014/main" id="{CAF3CC83-1E6B-4293-B4C2-AC02D7CDEE08}"/>
              </a:ext>
            </a:extLst>
          </p:cNvPr>
          <p:cNvSpPr>
            <a:spLocks noGrp="1"/>
          </p:cNvSpPr>
          <p:nvPr>
            <p:ph sz="half" idx="13"/>
          </p:nvPr>
        </p:nvSpPr>
        <p:spPr>
          <a:xfrm>
            <a:off x="62630" y="797908"/>
            <a:ext cx="8807049" cy="3200400"/>
          </a:xfrm>
        </p:spPr>
        <p:txBody>
          <a:bodyPr/>
          <a:lstStyle/>
          <a:p>
            <a:endParaRPr lang="en-US" b="0" i="0" dirty="0">
              <a:solidFill>
                <a:schemeClr val="bg2">
                  <a:lumMod val="50000"/>
                  <a:lumOff val="50000"/>
                </a:schemeClr>
              </a:solidFill>
              <a:effectLst/>
              <a:latin typeface="Verdana" panose="020B0604030504040204" pitchFamily="34" charset="0"/>
            </a:endParaRPr>
          </a:p>
          <a:p>
            <a:pPr marL="0" indent="0">
              <a:buNone/>
            </a:pPr>
            <a:r>
              <a:rPr lang="en-US" sz="2000" b="0" i="0" dirty="0">
                <a:solidFill>
                  <a:schemeClr val="bg2">
                    <a:lumMod val="50000"/>
                    <a:lumOff val="50000"/>
                  </a:schemeClr>
                </a:solidFill>
                <a:effectLst/>
                <a:latin typeface="Verdana" panose="020B0604030504040204" pitchFamily="34" charset="0"/>
              </a:rPr>
              <a:t>If 1% of the population have the allergy, and </a:t>
            </a:r>
            <a:r>
              <a:rPr lang="en-US" sz="2000" b="1" i="0" dirty="0">
                <a:solidFill>
                  <a:schemeClr val="bg2">
                    <a:lumMod val="50000"/>
                    <a:lumOff val="50000"/>
                  </a:schemeClr>
                </a:solidFill>
                <a:effectLst/>
                <a:latin typeface="Verdana" panose="020B0604030504040204" pitchFamily="34" charset="0"/>
              </a:rPr>
              <a:t>Hunter's test says "Yes"</a:t>
            </a:r>
            <a:r>
              <a:rPr lang="en-US" sz="2000" b="0" i="0" dirty="0">
                <a:solidFill>
                  <a:schemeClr val="bg2">
                    <a:lumMod val="50000"/>
                    <a:lumOff val="50000"/>
                  </a:schemeClr>
                </a:solidFill>
                <a:effectLst/>
                <a:latin typeface="Verdana" panose="020B0604030504040204" pitchFamily="34" charset="0"/>
              </a:rPr>
              <a:t>, what are the chances that Hunter really has the allergy?</a:t>
            </a:r>
          </a:p>
          <a:p>
            <a:pPr marL="0" indent="0">
              <a:buNone/>
            </a:pPr>
            <a:endParaRPr lang="en-US" b="0" i="0" dirty="0">
              <a:solidFill>
                <a:schemeClr val="bg2">
                  <a:lumMod val="50000"/>
                  <a:lumOff val="50000"/>
                </a:schemeClr>
              </a:solidFill>
              <a:effectLst/>
              <a:latin typeface="Verdana" panose="020B0604030504040204" pitchFamily="34" charset="0"/>
            </a:endParaRPr>
          </a:p>
          <a:p>
            <a:r>
              <a:rPr lang="en-US" dirty="0">
                <a:solidFill>
                  <a:schemeClr val="bg2">
                    <a:lumMod val="50000"/>
                    <a:lumOff val="50000"/>
                  </a:schemeClr>
                </a:solidFill>
              </a:rPr>
              <a:t>There are three different ways to solve this:</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Imagine a 1000",</a:t>
            </a:r>
          </a:p>
          <a:p>
            <a:pPr marL="342900" lvl="1" indent="0">
              <a:buNone/>
            </a:pPr>
            <a:endParaRPr lang="en-US" dirty="0">
              <a:solidFill>
                <a:schemeClr val="bg2">
                  <a:lumMod val="50000"/>
                  <a:lumOff val="50000"/>
                </a:schemeClr>
              </a:solidFill>
            </a:endParaRPr>
          </a:p>
          <a:p>
            <a:pPr lvl="1"/>
            <a:r>
              <a:rPr lang="en-US" dirty="0">
                <a:solidFill>
                  <a:schemeClr val="bg2">
                    <a:lumMod val="50000"/>
                    <a:lumOff val="50000"/>
                  </a:schemeClr>
                </a:solidFill>
              </a:rPr>
              <a:t>"Tree Diagrams" </a:t>
            </a:r>
          </a:p>
          <a:p>
            <a:pPr marL="342900" lvl="1" indent="0">
              <a:buNone/>
            </a:pPr>
            <a:endParaRPr lang="en-US" dirty="0">
              <a:solidFill>
                <a:schemeClr val="bg2">
                  <a:lumMod val="50000"/>
                  <a:lumOff val="50000"/>
                </a:schemeClr>
              </a:solidFill>
            </a:endParaRPr>
          </a:p>
          <a:p>
            <a:pPr lvl="1"/>
            <a:r>
              <a:rPr lang="en-US" dirty="0">
                <a:solidFill>
                  <a:schemeClr val="bg2">
                    <a:lumMod val="50000"/>
                    <a:lumOff val="50000"/>
                  </a:schemeClr>
                </a:solidFill>
              </a:rPr>
              <a:t>"Bayes' Theorem",</a:t>
            </a:r>
          </a:p>
        </p:txBody>
      </p:sp>
    </p:spTree>
    <p:extLst>
      <p:ext uri="{BB962C8B-B14F-4D97-AF65-F5344CB8AC3E}">
        <p14:creationId xmlns:p14="http://schemas.microsoft.com/office/powerpoint/2010/main" val="1190503812"/>
      </p:ext>
    </p:extLst>
  </p:cSld>
  <p:clrMapOvr>
    <a:masterClrMapping/>
  </p:clrMapOvr>
  <p:transition spd="med">
    <p:wipe dir="r"/>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15AEE-CB56-4AEE-87EC-192943000399}"/>
              </a:ext>
            </a:extLst>
          </p:cNvPr>
          <p:cNvSpPr>
            <a:spLocks noGrp="1"/>
          </p:cNvSpPr>
          <p:nvPr>
            <p:ph type="title"/>
          </p:nvPr>
        </p:nvSpPr>
        <p:spPr>
          <a:xfrm>
            <a:off x="0" y="0"/>
            <a:ext cx="7718555" cy="640080"/>
          </a:xfrm>
        </p:spPr>
        <p:txBody>
          <a:bodyPr/>
          <a:lstStyle/>
          <a:p>
            <a:r>
              <a:rPr lang="en-US" dirty="0"/>
              <a:t>Solution 1 : Imagine a thousand people</a:t>
            </a:r>
          </a:p>
        </p:txBody>
      </p:sp>
      <p:pic>
        <p:nvPicPr>
          <p:cNvPr id="5" name="Content Placeholder 4">
            <a:extLst>
              <a:ext uri="{FF2B5EF4-FFF2-40B4-BE49-F238E27FC236}">
                <a16:creationId xmlns:a16="http://schemas.microsoft.com/office/drawing/2014/main" id="{B8929DDE-659B-458B-B433-3A6D3FF33843}"/>
              </a:ext>
            </a:extLst>
          </p:cNvPr>
          <p:cNvPicPr>
            <a:picLocks noGrp="1" noChangeAspect="1"/>
          </p:cNvPicPr>
          <p:nvPr>
            <p:ph sz="half" idx="13"/>
          </p:nvPr>
        </p:nvPicPr>
        <p:blipFill>
          <a:blip r:embed="rId2"/>
          <a:stretch>
            <a:fillRect/>
          </a:stretch>
        </p:blipFill>
        <p:spPr>
          <a:xfrm>
            <a:off x="819019" y="635518"/>
            <a:ext cx="6502443" cy="1269288"/>
          </a:xfrm>
        </p:spPr>
      </p:pic>
      <p:sp>
        <p:nvSpPr>
          <p:cNvPr id="6" name="TextBox 5">
            <a:extLst>
              <a:ext uri="{FF2B5EF4-FFF2-40B4-BE49-F238E27FC236}">
                <a16:creationId xmlns:a16="http://schemas.microsoft.com/office/drawing/2014/main" id="{4C09B935-BFE9-4B1E-AABB-2C5E8905F073}"/>
              </a:ext>
            </a:extLst>
          </p:cNvPr>
          <p:cNvSpPr txBox="1"/>
          <p:nvPr/>
        </p:nvSpPr>
        <p:spPr>
          <a:xfrm>
            <a:off x="966779" y="2338157"/>
            <a:ext cx="7718555" cy="2169825"/>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So, 107 people get a "Yes" but only 8 of those really have the allergy:</a:t>
            </a:r>
          </a:p>
          <a:p>
            <a:pPr algn="l"/>
            <a:endParaRPr lang="en-US" sz="1100" b="0" i="0" dirty="0">
              <a:solidFill>
                <a:srgbClr val="333333"/>
              </a:solidFill>
              <a:effectLst/>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ctr"/>
            <a:r>
              <a:rPr lang="en-US" sz="1100" b="0" i="0" dirty="0">
                <a:effectLst/>
                <a:latin typeface="Verdana" panose="020B0604030504040204" pitchFamily="34" charset="0"/>
              </a:rPr>
              <a:t>8 / 107 = about 7%</a:t>
            </a:r>
          </a:p>
          <a:p>
            <a:pPr algn="ctr"/>
            <a:endParaRPr lang="en-US" sz="1100" b="0" i="0" dirty="0">
              <a:effectLst/>
              <a:latin typeface="Verdana" panose="020B0604030504040204" pitchFamily="34" charset="0"/>
            </a:endParaRPr>
          </a:p>
          <a:p>
            <a:pPr algn="ctr"/>
            <a:endParaRPr lang="en-US" sz="1100" b="0" i="0" dirty="0">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So, even though Hunter's test said "Yes", it is still only </a:t>
            </a:r>
            <a:r>
              <a:rPr lang="en-US" sz="1100" b="1" i="0" dirty="0">
                <a:solidFill>
                  <a:srgbClr val="333333"/>
                </a:solidFill>
                <a:effectLst/>
                <a:latin typeface="Verdana" panose="020B0604030504040204" pitchFamily="34" charset="0"/>
              </a:rPr>
              <a:t>7% likely</a:t>
            </a:r>
            <a:r>
              <a:rPr lang="en-US" sz="1100" b="0" i="0" dirty="0">
                <a:solidFill>
                  <a:srgbClr val="333333"/>
                </a:solidFill>
                <a:effectLst/>
                <a:latin typeface="Verdana" panose="020B0604030504040204" pitchFamily="34" charset="0"/>
              </a:rPr>
              <a:t> that Hunter has a Cat Allergy.</a:t>
            </a: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Why so small? Well, the allergy is so rare that those who actually have it are greatly </a:t>
            </a:r>
            <a:r>
              <a:rPr lang="en-US" sz="1100" b="1" i="0" dirty="0">
                <a:solidFill>
                  <a:srgbClr val="333333"/>
                </a:solidFill>
                <a:effectLst/>
                <a:latin typeface="Verdana" panose="020B0604030504040204" pitchFamily="34" charset="0"/>
              </a:rPr>
              <a:t>outnumbered</a:t>
            </a:r>
            <a:r>
              <a:rPr lang="en-US" sz="1100" b="0" i="0" dirty="0">
                <a:solidFill>
                  <a:srgbClr val="333333"/>
                </a:solidFill>
                <a:effectLst/>
                <a:latin typeface="Verdana" panose="020B0604030504040204" pitchFamily="34" charset="0"/>
              </a:rPr>
              <a:t> by those with a false positiv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832576474"/>
      </p:ext>
    </p:extLst>
  </p:cSld>
  <p:clrMapOvr>
    <a:masterClrMapping/>
  </p:clrMapOvr>
  <p:transition spd="med">
    <p:wipe dir="r"/>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B4989-CA75-4E36-B717-BC31C8DEBCF6}"/>
              </a:ext>
            </a:extLst>
          </p:cNvPr>
          <p:cNvSpPr>
            <a:spLocks noGrp="1"/>
          </p:cNvSpPr>
          <p:nvPr>
            <p:ph type="title"/>
          </p:nvPr>
        </p:nvSpPr>
        <p:spPr>
          <a:xfrm>
            <a:off x="0" y="22860"/>
            <a:ext cx="4295219" cy="640080"/>
          </a:xfrm>
        </p:spPr>
        <p:txBody>
          <a:bodyPr/>
          <a:lstStyle/>
          <a:p>
            <a:r>
              <a:rPr lang="en-US" dirty="0"/>
              <a:t>Solution 2 : Tree Diagram </a:t>
            </a:r>
          </a:p>
        </p:txBody>
      </p:sp>
      <p:pic>
        <p:nvPicPr>
          <p:cNvPr id="5" name="Content Placeholder 4">
            <a:extLst>
              <a:ext uri="{FF2B5EF4-FFF2-40B4-BE49-F238E27FC236}">
                <a16:creationId xmlns:a16="http://schemas.microsoft.com/office/drawing/2014/main" id="{EE0EC353-F20B-4BA1-8A7B-1D29B7E36C38}"/>
              </a:ext>
            </a:extLst>
          </p:cNvPr>
          <p:cNvPicPr>
            <a:picLocks noGrp="1" noChangeAspect="1"/>
          </p:cNvPicPr>
          <p:nvPr>
            <p:ph sz="half" idx="13"/>
          </p:nvPr>
        </p:nvPicPr>
        <p:blipFill>
          <a:blip r:embed="rId2"/>
          <a:stretch>
            <a:fillRect/>
          </a:stretch>
        </p:blipFill>
        <p:spPr>
          <a:xfrm>
            <a:off x="1214090" y="581520"/>
            <a:ext cx="5681488" cy="1898381"/>
          </a:xfrm>
        </p:spPr>
      </p:pic>
      <p:sp>
        <p:nvSpPr>
          <p:cNvPr id="6" name="TextBox 5">
            <a:extLst>
              <a:ext uri="{FF2B5EF4-FFF2-40B4-BE49-F238E27FC236}">
                <a16:creationId xmlns:a16="http://schemas.microsoft.com/office/drawing/2014/main" id="{6B9D5C1D-650F-4FA4-9532-929A463528B3}"/>
              </a:ext>
            </a:extLst>
          </p:cNvPr>
          <p:cNvSpPr txBox="1"/>
          <p:nvPr/>
        </p:nvSpPr>
        <p:spPr>
          <a:xfrm>
            <a:off x="325677" y="2523995"/>
            <a:ext cx="6851737" cy="2169825"/>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First, let's check that all the percentages add up:</a:t>
            </a: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ctr"/>
            <a:r>
              <a:rPr lang="en-US" sz="1100" b="0" i="0" dirty="0">
                <a:solidFill>
                  <a:srgbClr val="333333"/>
                </a:solidFill>
                <a:effectLst/>
                <a:latin typeface="Verdana" panose="020B0604030504040204" pitchFamily="34" charset="0"/>
              </a:rPr>
              <a:t>0.8% + 0.2% + 9.9% + 89.1% = </a:t>
            </a:r>
            <a:r>
              <a:rPr lang="en-US" sz="1100" b="1" i="0" dirty="0">
                <a:solidFill>
                  <a:srgbClr val="333333"/>
                </a:solidFill>
                <a:effectLst/>
                <a:latin typeface="Verdana" panose="020B0604030504040204" pitchFamily="34" charset="0"/>
              </a:rPr>
              <a:t>100%</a:t>
            </a:r>
            <a:r>
              <a:rPr lang="en-US" sz="1100" b="0" i="0" dirty="0">
                <a:solidFill>
                  <a:srgbClr val="333333"/>
                </a:solidFill>
                <a:effectLst/>
                <a:latin typeface="Verdana" panose="020B0604030504040204" pitchFamily="34" charset="0"/>
              </a:rPr>
              <a:t> (good!)</a:t>
            </a:r>
          </a:p>
          <a:p>
            <a:pPr algn="ctr"/>
            <a:endParaRPr lang="en-US" sz="1100" dirty="0">
              <a:solidFill>
                <a:srgbClr val="333333"/>
              </a:solidFill>
              <a:latin typeface="Verdana" panose="020B0604030504040204" pitchFamily="34" charset="0"/>
            </a:endParaRPr>
          </a:p>
          <a:p>
            <a:pPr algn="ctr"/>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And the two "Yes" answers add up to 0.8% + 9.9% = </a:t>
            </a:r>
            <a:r>
              <a:rPr lang="en-US" sz="1100" b="1" i="0" dirty="0">
                <a:solidFill>
                  <a:srgbClr val="333333"/>
                </a:solidFill>
                <a:effectLst/>
                <a:latin typeface="Verdana" panose="020B0604030504040204" pitchFamily="34" charset="0"/>
              </a:rPr>
              <a:t>10.7%</a:t>
            </a:r>
            <a:r>
              <a:rPr lang="en-US" sz="1100" b="0" i="0" dirty="0">
                <a:solidFill>
                  <a:srgbClr val="333333"/>
                </a:solidFill>
                <a:effectLst/>
                <a:latin typeface="Verdana" panose="020B0604030504040204" pitchFamily="34" charset="0"/>
              </a:rPr>
              <a:t>, but only 0.8% are correct.</a:t>
            </a: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ctr"/>
            <a:r>
              <a:rPr lang="en-US" sz="1100" b="0" i="0" dirty="0">
                <a:solidFill>
                  <a:srgbClr val="333333"/>
                </a:solidFill>
                <a:effectLst/>
                <a:latin typeface="Verdana" panose="020B0604030504040204" pitchFamily="34" charset="0"/>
              </a:rPr>
              <a:t>0.8/10.7 = </a:t>
            </a:r>
            <a:r>
              <a:rPr lang="en-US" sz="1100" b="1" i="0" dirty="0">
                <a:solidFill>
                  <a:srgbClr val="333333"/>
                </a:solidFill>
                <a:effectLst/>
                <a:latin typeface="Verdana" panose="020B0604030504040204" pitchFamily="34" charset="0"/>
              </a:rPr>
              <a:t>7%</a:t>
            </a:r>
            <a:r>
              <a:rPr lang="en-US" sz="1100" b="0" i="0" dirty="0">
                <a:solidFill>
                  <a:srgbClr val="333333"/>
                </a:solidFill>
                <a:effectLst/>
                <a:latin typeface="Verdana" panose="020B0604030504040204" pitchFamily="34" charset="0"/>
              </a:rPr>
              <a:t> (same answer as above)</a:t>
            </a:r>
          </a:p>
          <a:p>
            <a:pPr algn="ctr"/>
            <a:r>
              <a:rPr lang="en-US" sz="1100" b="0" i="0" dirty="0">
                <a:solidFill>
                  <a:srgbClr val="333333"/>
                </a:solidFill>
                <a:effectLst/>
                <a:latin typeface="Verdana" panose="020B0604030504040204" pitchFamily="34" charset="0"/>
              </a:rPr>
              <a:t> </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3531776241"/>
      </p:ext>
    </p:extLst>
  </p:cSld>
  <p:clrMapOvr>
    <a:masterClrMapping/>
  </p:clrMapOvr>
  <p:transition spd="med">
    <p:wipe dir="r"/>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1BDF1-3031-402A-82E9-14EE471DEE72}"/>
              </a:ext>
            </a:extLst>
          </p:cNvPr>
          <p:cNvSpPr>
            <a:spLocks noGrp="1"/>
          </p:cNvSpPr>
          <p:nvPr>
            <p:ph type="title"/>
          </p:nvPr>
        </p:nvSpPr>
        <p:spPr>
          <a:xfrm>
            <a:off x="0" y="0"/>
            <a:ext cx="4295219" cy="640080"/>
          </a:xfrm>
        </p:spPr>
        <p:txBody>
          <a:bodyPr/>
          <a:lstStyle/>
          <a:p>
            <a:r>
              <a:rPr lang="en-US" dirty="0"/>
              <a:t>Bayes theorem</a:t>
            </a:r>
          </a:p>
        </p:txBody>
      </p:sp>
      <p:sp>
        <p:nvSpPr>
          <p:cNvPr id="6" name="TextBox 5">
            <a:extLst>
              <a:ext uri="{FF2B5EF4-FFF2-40B4-BE49-F238E27FC236}">
                <a16:creationId xmlns:a16="http://schemas.microsoft.com/office/drawing/2014/main" id="{7DF8D651-CBEB-4571-BE27-D8DC9E893C53}"/>
              </a:ext>
            </a:extLst>
          </p:cNvPr>
          <p:cNvSpPr txBox="1"/>
          <p:nvPr/>
        </p:nvSpPr>
        <p:spPr>
          <a:xfrm>
            <a:off x="0" y="640080"/>
            <a:ext cx="8983457" cy="1815882"/>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In Probability theory and statistics, Bayes theorem (alternatively Bayes law or Bayes rule) describe the probability of an event, based on conditions that might be related to the event </a:t>
            </a:r>
          </a:p>
        </p:txBody>
      </p:sp>
      <p:pic>
        <p:nvPicPr>
          <p:cNvPr id="10" name="Picture 9">
            <a:extLst>
              <a:ext uri="{FF2B5EF4-FFF2-40B4-BE49-F238E27FC236}">
                <a16:creationId xmlns:a16="http://schemas.microsoft.com/office/drawing/2014/main" id="{3D2C4696-8262-4E4D-8358-2DFE889B585B}"/>
              </a:ext>
            </a:extLst>
          </p:cNvPr>
          <p:cNvPicPr>
            <a:picLocks noChangeAspect="1"/>
          </p:cNvPicPr>
          <p:nvPr/>
        </p:nvPicPr>
        <p:blipFill>
          <a:blip r:embed="rId2"/>
          <a:stretch>
            <a:fillRect/>
          </a:stretch>
        </p:blipFill>
        <p:spPr>
          <a:xfrm>
            <a:off x="1713944" y="2687539"/>
            <a:ext cx="5162550" cy="1819275"/>
          </a:xfrm>
          <a:prstGeom prst="rect">
            <a:avLst/>
          </a:prstGeom>
        </p:spPr>
      </p:pic>
      <p:sp>
        <p:nvSpPr>
          <p:cNvPr id="11" name="TextBox 10">
            <a:extLst>
              <a:ext uri="{FF2B5EF4-FFF2-40B4-BE49-F238E27FC236}">
                <a16:creationId xmlns:a16="http://schemas.microsoft.com/office/drawing/2014/main" id="{7CA9157D-06A5-4AB9-8909-4A3C6AC7C89E}"/>
              </a:ext>
            </a:extLst>
          </p:cNvPr>
          <p:cNvSpPr txBox="1"/>
          <p:nvPr/>
        </p:nvSpPr>
        <p:spPr>
          <a:xfrm>
            <a:off x="1990725" y="4701903"/>
            <a:ext cx="5954071" cy="461665"/>
          </a:xfrm>
          <a:prstGeom prst="rect">
            <a:avLst/>
          </a:prstGeom>
          <a:noFill/>
        </p:spPr>
        <p:txBody>
          <a:bodyPr wrap="square" rtlCol="0">
            <a:spAutoFit/>
          </a:bodyPr>
          <a:lstStyle/>
          <a:p>
            <a:pPr>
              <a:spcBef>
                <a:spcPts val="0"/>
              </a:spcBef>
              <a:spcAft>
                <a:spcPts val="0"/>
              </a:spcAft>
              <a:buClr>
                <a:schemeClr val="bg1"/>
              </a:buClr>
            </a:pPr>
            <a:r>
              <a:rPr lang="en-US" sz="1000" dirty="0"/>
              <a:t>The bayes theorem was developed and name for Thomas Bayes (1702 – 1761)</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2210167574"/>
      </p:ext>
    </p:extLst>
  </p:cSld>
  <p:clrMapOvr>
    <a:masterClrMapping/>
  </p:clrMapOvr>
  <p:transition spd="med">
    <p:wipe dir="r"/>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42682-AF4E-4F0D-BA1C-384E4E1E6823}"/>
              </a:ext>
            </a:extLst>
          </p:cNvPr>
          <p:cNvSpPr>
            <a:spLocks noGrp="1"/>
          </p:cNvSpPr>
          <p:nvPr>
            <p:ph type="title"/>
          </p:nvPr>
        </p:nvSpPr>
        <p:spPr>
          <a:xfrm>
            <a:off x="0" y="0"/>
            <a:ext cx="7831731" cy="640080"/>
          </a:xfrm>
        </p:spPr>
        <p:txBody>
          <a:bodyPr/>
          <a:lstStyle/>
          <a:p>
            <a:r>
              <a:rPr lang="en-US" dirty="0"/>
              <a:t>Bayes Theorem – When to apply ? </a:t>
            </a:r>
          </a:p>
        </p:txBody>
      </p:sp>
      <p:sp>
        <p:nvSpPr>
          <p:cNvPr id="3" name="Content Placeholder 2">
            <a:extLst>
              <a:ext uri="{FF2B5EF4-FFF2-40B4-BE49-F238E27FC236}">
                <a16:creationId xmlns:a16="http://schemas.microsoft.com/office/drawing/2014/main" id="{BF60AA7F-1175-41AB-AA9A-828D1C867EFB}"/>
              </a:ext>
            </a:extLst>
          </p:cNvPr>
          <p:cNvSpPr>
            <a:spLocks noGrp="1"/>
          </p:cNvSpPr>
          <p:nvPr>
            <p:ph sz="half" idx="13"/>
          </p:nvPr>
        </p:nvSpPr>
        <p:spPr>
          <a:xfrm>
            <a:off x="153563" y="640080"/>
            <a:ext cx="8480885" cy="3840480"/>
          </a:xfrm>
        </p:spPr>
        <p:txBody>
          <a:bodyPr>
            <a:normAutofit/>
          </a:bodyPr>
          <a:lstStyle/>
          <a:p>
            <a:r>
              <a:rPr lang="en-US" sz="2000" dirty="0"/>
              <a:t>Part of the challenge in applying Bayes theorem involves recognizing the types of problems that warrant its use. You should consider Bayes theorem when the following conditions exit.</a:t>
            </a:r>
          </a:p>
          <a:p>
            <a:endParaRPr lang="en-US" sz="2000" dirty="0"/>
          </a:p>
          <a:p>
            <a:pPr lvl="1"/>
            <a:r>
              <a:rPr lang="en-US" sz="1800" dirty="0"/>
              <a:t>Within the sample space, there exists an event B, for which P(B) &gt; 0</a:t>
            </a:r>
          </a:p>
          <a:p>
            <a:pPr lvl="1"/>
            <a:r>
              <a:rPr lang="en-US" sz="1800" dirty="0"/>
              <a:t>The analytical goal is to compute a conditional probability of the form :           P (A | B)</a:t>
            </a:r>
          </a:p>
          <a:p>
            <a:pPr lvl="1"/>
            <a:r>
              <a:rPr lang="en-US" sz="1800" dirty="0"/>
              <a:t>You know at least one of the two set of probabilities described below :</a:t>
            </a:r>
          </a:p>
          <a:p>
            <a:pPr lvl="1"/>
            <a:endParaRPr lang="en-US" sz="1800" dirty="0"/>
          </a:p>
          <a:p>
            <a:pPr lvl="2"/>
            <a:r>
              <a:rPr lang="en-US" sz="1200" dirty="0"/>
              <a:t>P ( A n B) for each A</a:t>
            </a:r>
          </a:p>
          <a:p>
            <a:pPr lvl="2"/>
            <a:r>
              <a:rPr lang="en-US" sz="1200" dirty="0"/>
              <a:t>P (A) and P (B | A) for each A</a:t>
            </a:r>
          </a:p>
        </p:txBody>
      </p:sp>
    </p:spTree>
    <p:extLst>
      <p:ext uri="{BB962C8B-B14F-4D97-AF65-F5344CB8AC3E}">
        <p14:creationId xmlns:p14="http://schemas.microsoft.com/office/powerpoint/2010/main" val="533771919"/>
      </p:ext>
    </p:extLst>
  </p:cSld>
  <p:clrMapOvr>
    <a:masterClrMapping/>
  </p:clrMapOvr>
  <p:transition spd="med">
    <p:wipe dir="r"/>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55A3F-A47C-4BF4-90D5-E884D6E8945B}"/>
              </a:ext>
            </a:extLst>
          </p:cNvPr>
          <p:cNvSpPr>
            <a:spLocks noGrp="1"/>
          </p:cNvSpPr>
          <p:nvPr>
            <p:ph type="title"/>
          </p:nvPr>
        </p:nvSpPr>
        <p:spPr>
          <a:xfrm>
            <a:off x="0" y="22860"/>
            <a:ext cx="4295219" cy="640080"/>
          </a:xfrm>
        </p:spPr>
        <p:txBody>
          <a:bodyPr/>
          <a:lstStyle/>
          <a:p>
            <a:r>
              <a:rPr lang="en-US" dirty="0"/>
              <a:t>Bayes theorem - continued</a:t>
            </a:r>
          </a:p>
        </p:txBody>
      </p:sp>
      <p:sp>
        <p:nvSpPr>
          <p:cNvPr id="3" name="Content Placeholder 2">
            <a:extLst>
              <a:ext uri="{FF2B5EF4-FFF2-40B4-BE49-F238E27FC236}">
                <a16:creationId xmlns:a16="http://schemas.microsoft.com/office/drawing/2014/main" id="{8C07FA60-EC69-4D57-9740-31C1A9ED291B}"/>
              </a:ext>
            </a:extLst>
          </p:cNvPr>
          <p:cNvSpPr>
            <a:spLocks noGrp="1"/>
          </p:cNvSpPr>
          <p:nvPr>
            <p:ph sz="half" idx="13"/>
          </p:nvPr>
        </p:nvSpPr>
        <p:spPr>
          <a:xfrm>
            <a:off x="141696" y="1021894"/>
            <a:ext cx="8541613" cy="3200400"/>
          </a:xfrm>
        </p:spPr>
        <p:txBody>
          <a:bodyPr>
            <a:normAutofit/>
          </a:bodyPr>
          <a:lstStyle/>
          <a:p>
            <a:r>
              <a:rPr lang="en-US" sz="2400" dirty="0"/>
              <a:t>Where A and B are events: </a:t>
            </a:r>
          </a:p>
          <a:p>
            <a:pPr lvl="1"/>
            <a:endParaRPr lang="en-US" sz="2000" dirty="0"/>
          </a:p>
          <a:p>
            <a:pPr lvl="1"/>
            <a:r>
              <a:rPr lang="en-US" sz="2000" dirty="0"/>
              <a:t>P(A) and P(B) are the probabilities of A and B without regard to each other</a:t>
            </a:r>
          </a:p>
          <a:p>
            <a:pPr lvl="1"/>
            <a:endParaRPr lang="en-US" sz="2000" dirty="0"/>
          </a:p>
          <a:p>
            <a:pPr lvl="1"/>
            <a:r>
              <a:rPr lang="en-US" sz="2000" dirty="0"/>
              <a:t>P (A | B) : a conditional probability is the probability of observing event A given the B is true.</a:t>
            </a:r>
          </a:p>
          <a:p>
            <a:pPr lvl="1"/>
            <a:endParaRPr lang="en-US" sz="2000" dirty="0"/>
          </a:p>
          <a:p>
            <a:pPr lvl="1"/>
            <a:r>
              <a:rPr lang="en-US" sz="2000" dirty="0"/>
              <a:t>P(B | A) is the probability of observing event B given that A is true. </a:t>
            </a:r>
          </a:p>
        </p:txBody>
      </p:sp>
    </p:spTree>
    <p:extLst>
      <p:ext uri="{BB962C8B-B14F-4D97-AF65-F5344CB8AC3E}">
        <p14:creationId xmlns:p14="http://schemas.microsoft.com/office/powerpoint/2010/main" val="2648337320"/>
      </p:ext>
    </p:extLst>
  </p:cSld>
  <p:clrMapOvr>
    <a:masterClrMapping/>
  </p:clrMapOvr>
  <p:transition spd="med">
    <p:wipe dir="r"/>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3A54D-1685-4F78-961F-8E9376E96703}"/>
              </a:ext>
            </a:extLst>
          </p:cNvPr>
          <p:cNvSpPr>
            <a:spLocks noGrp="1"/>
          </p:cNvSpPr>
          <p:nvPr>
            <p:ph type="title"/>
          </p:nvPr>
        </p:nvSpPr>
        <p:spPr>
          <a:xfrm>
            <a:off x="0" y="0"/>
            <a:ext cx="8186895" cy="640080"/>
          </a:xfrm>
        </p:spPr>
        <p:txBody>
          <a:bodyPr/>
          <a:lstStyle/>
          <a:p>
            <a:r>
              <a:rPr lang="en-US" dirty="0"/>
              <a:t>Bayes theorem – Example 1 </a:t>
            </a:r>
          </a:p>
        </p:txBody>
      </p:sp>
      <p:sp>
        <p:nvSpPr>
          <p:cNvPr id="10" name="Rectangle 9">
            <a:extLst>
              <a:ext uri="{FF2B5EF4-FFF2-40B4-BE49-F238E27FC236}">
                <a16:creationId xmlns:a16="http://schemas.microsoft.com/office/drawing/2014/main" id="{87FED99B-1138-44B7-ACD0-9AFB1963DDBB}"/>
              </a:ext>
            </a:extLst>
          </p:cNvPr>
          <p:cNvSpPr/>
          <p:nvPr/>
        </p:nvSpPr>
        <p:spPr>
          <a:xfrm>
            <a:off x="279206" y="826528"/>
            <a:ext cx="486394" cy="3267075"/>
          </a:xfrm>
          <a:prstGeom prst="rect">
            <a:avLst/>
          </a:prstGeom>
          <a:solidFill>
            <a:schemeClr val="tx1">
              <a:lumMod val="40000"/>
              <a:lumOff val="60000"/>
            </a:schemeClr>
          </a:solidFill>
          <a:ln w="12700" cmpd="sng">
            <a:solidFill>
              <a:schemeClr val="bg2">
                <a:lumMod val="50000"/>
                <a:lumOff val="50000"/>
              </a:schemeClr>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12" name="Picture 11">
            <a:extLst>
              <a:ext uri="{FF2B5EF4-FFF2-40B4-BE49-F238E27FC236}">
                <a16:creationId xmlns:a16="http://schemas.microsoft.com/office/drawing/2014/main" id="{90A5448B-748B-47A9-BEBA-BF2C060EC263}"/>
              </a:ext>
            </a:extLst>
          </p:cNvPr>
          <p:cNvPicPr>
            <a:picLocks noChangeAspect="1"/>
          </p:cNvPicPr>
          <p:nvPr/>
        </p:nvPicPr>
        <p:blipFill>
          <a:blip r:embed="rId2"/>
          <a:stretch>
            <a:fillRect/>
          </a:stretch>
        </p:blipFill>
        <p:spPr>
          <a:xfrm>
            <a:off x="765600" y="831290"/>
            <a:ext cx="7296150" cy="3257550"/>
          </a:xfrm>
          <a:prstGeom prst="rect">
            <a:avLst/>
          </a:prstGeom>
        </p:spPr>
      </p:pic>
    </p:spTree>
    <p:extLst>
      <p:ext uri="{BB962C8B-B14F-4D97-AF65-F5344CB8AC3E}">
        <p14:creationId xmlns:p14="http://schemas.microsoft.com/office/powerpoint/2010/main" val="3403247477"/>
      </p:ext>
    </p:extLst>
  </p:cSld>
  <p:clrMapOvr>
    <a:masterClrMapping/>
  </p:clrMapOvr>
  <p:transition spd="med">
    <p:wipe dir="r"/>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8FF3D8-143E-41B0-9971-ECB21407DADF}"/>
              </a:ext>
            </a:extLst>
          </p:cNvPr>
          <p:cNvSpPr>
            <a:spLocks noGrp="1"/>
          </p:cNvSpPr>
          <p:nvPr>
            <p:ph type="title"/>
          </p:nvPr>
        </p:nvSpPr>
        <p:spPr>
          <a:xfrm>
            <a:off x="274319" y="271886"/>
            <a:ext cx="7955280" cy="640080"/>
          </a:xfrm>
        </p:spPr>
        <p:txBody>
          <a:bodyPr/>
          <a:lstStyle/>
          <a:p>
            <a:r>
              <a:rPr lang="en-US" dirty="0"/>
              <a:t>Bayes theorem – Example 1 </a:t>
            </a:r>
          </a:p>
        </p:txBody>
      </p:sp>
      <p:pic>
        <p:nvPicPr>
          <p:cNvPr id="5" name="Picture 4" descr="Text&#10;&#10;Description automatically generated">
            <a:extLst>
              <a:ext uri="{FF2B5EF4-FFF2-40B4-BE49-F238E27FC236}">
                <a16:creationId xmlns:a16="http://schemas.microsoft.com/office/drawing/2014/main" id="{A829A4B6-AC89-40CE-A6DE-D500F6A10890}"/>
              </a:ext>
            </a:extLst>
          </p:cNvPr>
          <p:cNvPicPr>
            <a:picLocks noChangeAspect="1"/>
          </p:cNvPicPr>
          <p:nvPr/>
        </p:nvPicPr>
        <p:blipFill>
          <a:blip r:embed="rId2"/>
          <a:stretch>
            <a:fillRect/>
          </a:stretch>
        </p:blipFill>
        <p:spPr>
          <a:xfrm>
            <a:off x="1003232" y="1273180"/>
            <a:ext cx="5740627" cy="3200400"/>
          </a:xfrm>
          <a:prstGeom prst="rect">
            <a:avLst/>
          </a:prstGeom>
          <a:noFill/>
        </p:spPr>
      </p:pic>
    </p:spTree>
    <p:extLst>
      <p:ext uri="{BB962C8B-B14F-4D97-AF65-F5344CB8AC3E}">
        <p14:creationId xmlns:p14="http://schemas.microsoft.com/office/powerpoint/2010/main" val="58607925"/>
      </p:ext>
    </p:extLst>
  </p:cSld>
  <p:clrMapOvr>
    <a:masterClrMapping/>
  </p:clrMapOvr>
  <p:transition spd="med">
    <p:wipe dir="r"/>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68A0D-803B-4E5A-90FF-3AD3879ADAA3}"/>
              </a:ext>
            </a:extLst>
          </p:cNvPr>
          <p:cNvSpPr>
            <a:spLocks noGrp="1"/>
          </p:cNvSpPr>
          <p:nvPr>
            <p:ph type="title"/>
          </p:nvPr>
        </p:nvSpPr>
        <p:spPr>
          <a:xfrm>
            <a:off x="0" y="0"/>
            <a:ext cx="7955280" cy="640080"/>
          </a:xfrm>
        </p:spPr>
        <p:txBody>
          <a:bodyPr/>
          <a:lstStyle/>
          <a:p>
            <a:r>
              <a:rPr lang="en-US" dirty="0"/>
              <a:t>Bayes theorem – Example 1 </a:t>
            </a:r>
          </a:p>
        </p:txBody>
      </p:sp>
      <p:pic>
        <p:nvPicPr>
          <p:cNvPr id="5" name="Picture 4">
            <a:extLst>
              <a:ext uri="{FF2B5EF4-FFF2-40B4-BE49-F238E27FC236}">
                <a16:creationId xmlns:a16="http://schemas.microsoft.com/office/drawing/2014/main" id="{F0D53095-B16A-4541-A27A-5779EEB0824F}"/>
              </a:ext>
            </a:extLst>
          </p:cNvPr>
          <p:cNvPicPr>
            <a:picLocks noChangeAspect="1"/>
          </p:cNvPicPr>
          <p:nvPr/>
        </p:nvPicPr>
        <p:blipFill>
          <a:blip r:embed="rId2"/>
          <a:stretch>
            <a:fillRect/>
          </a:stretch>
        </p:blipFill>
        <p:spPr>
          <a:xfrm>
            <a:off x="571500" y="924268"/>
            <a:ext cx="7008946" cy="3838232"/>
          </a:xfrm>
          <a:prstGeom prst="rect">
            <a:avLst/>
          </a:prstGeom>
        </p:spPr>
      </p:pic>
    </p:spTree>
    <p:extLst>
      <p:ext uri="{BB962C8B-B14F-4D97-AF65-F5344CB8AC3E}">
        <p14:creationId xmlns:p14="http://schemas.microsoft.com/office/powerpoint/2010/main" val="1832144962"/>
      </p:ext>
    </p:extLst>
  </p:cSld>
  <p:clrMapOvr>
    <a:masterClrMapping/>
  </p:clrMapOvr>
  <p:transition spd="med">
    <p:wipe dir="r"/>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16FFD-114F-4F2A-AAFC-EDC3C3B33B69}"/>
              </a:ext>
            </a:extLst>
          </p:cNvPr>
          <p:cNvSpPr>
            <a:spLocks noGrp="1"/>
          </p:cNvSpPr>
          <p:nvPr>
            <p:ph type="title"/>
          </p:nvPr>
        </p:nvSpPr>
        <p:spPr>
          <a:xfrm>
            <a:off x="0" y="-5628"/>
            <a:ext cx="7955280" cy="640080"/>
          </a:xfrm>
        </p:spPr>
        <p:txBody>
          <a:bodyPr/>
          <a:lstStyle/>
          <a:p>
            <a:r>
              <a:rPr lang="en-US" dirty="0"/>
              <a:t>Bayes theorem – Example 1 </a:t>
            </a:r>
          </a:p>
        </p:txBody>
      </p:sp>
      <p:sp>
        <p:nvSpPr>
          <p:cNvPr id="6" name="TextBox 5">
            <a:extLst>
              <a:ext uri="{FF2B5EF4-FFF2-40B4-BE49-F238E27FC236}">
                <a16:creationId xmlns:a16="http://schemas.microsoft.com/office/drawing/2014/main" id="{5A5B0A8A-D4B8-4CD1-B8F0-4886A59A0A41}"/>
              </a:ext>
            </a:extLst>
          </p:cNvPr>
          <p:cNvSpPr txBox="1"/>
          <p:nvPr/>
        </p:nvSpPr>
        <p:spPr>
          <a:xfrm>
            <a:off x="606829" y="1421476"/>
            <a:ext cx="7240386"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want to know P (A1 | B). The probability it will rain on the day of Marie’s wedding, given the forecast for rain by the weatherman. The answer can be determined from Bayes Theorem</a:t>
            </a:r>
          </a:p>
        </p:txBody>
      </p:sp>
      <p:pic>
        <p:nvPicPr>
          <p:cNvPr id="8" name="Picture 7">
            <a:extLst>
              <a:ext uri="{FF2B5EF4-FFF2-40B4-BE49-F238E27FC236}">
                <a16:creationId xmlns:a16="http://schemas.microsoft.com/office/drawing/2014/main" id="{012FACDC-2A82-4E64-8F2B-9A0E4AD07DB9}"/>
              </a:ext>
            </a:extLst>
          </p:cNvPr>
          <p:cNvPicPr>
            <a:picLocks noChangeAspect="1"/>
          </p:cNvPicPr>
          <p:nvPr/>
        </p:nvPicPr>
        <p:blipFill>
          <a:blip r:embed="rId2"/>
          <a:stretch>
            <a:fillRect/>
          </a:stretch>
        </p:blipFill>
        <p:spPr>
          <a:xfrm>
            <a:off x="771525" y="2346873"/>
            <a:ext cx="7600950" cy="2162175"/>
          </a:xfrm>
          <a:prstGeom prst="rect">
            <a:avLst/>
          </a:prstGeom>
        </p:spPr>
      </p:pic>
    </p:spTree>
    <p:extLst>
      <p:ext uri="{BB962C8B-B14F-4D97-AF65-F5344CB8AC3E}">
        <p14:creationId xmlns:p14="http://schemas.microsoft.com/office/powerpoint/2010/main" val="110866991"/>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F6363-8571-4CA8-BD5B-4BCEDCED9AA5}"/>
              </a:ext>
            </a:extLst>
          </p:cNvPr>
          <p:cNvSpPr>
            <a:spLocks noGrp="1"/>
          </p:cNvSpPr>
          <p:nvPr>
            <p:ph type="title"/>
          </p:nvPr>
        </p:nvSpPr>
        <p:spPr>
          <a:xfrm>
            <a:off x="274319" y="271886"/>
            <a:ext cx="7955280" cy="640080"/>
          </a:xfrm>
        </p:spPr>
        <p:txBody>
          <a:bodyPr>
            <a:normAutofit/>
          </a:bodyPr>
          <a:lstStyle/>
          <a:p>
            <a:r>
              <a:rPr lang="en-US" dirty="0"/>
              <a:t>Inferential Statistics</a:t>
            </a:r>
          </a:p>
        </p:txBody>
      </p:sp>
      <p:pic>
        <p:nvPicPr>
          <p:cNvPr id="4" name="Picture 3" descr="Diagram&#10;&#10;Description automatically generated">
            <a:extLst>
              <a:ext uri="{FF2B5EF4-FFF2-40B4-BE49-F238E27FC236}">
                <a16:creationId xmlns:a16="http://schemas.microsoft.com/office/drawing/2014/main" id="{A23D665F-D2CC-432A-AED2-8E451589AF69}"/>
              </a:ext>
            </a:extLst>
          </p:cNvPr>
          <p:cNvPicPr>
            <a:picLocks noChangeAspect="1"/>
          </p:cNvPicPr>
          <p:nvPr/>
        </p:nvPicPr>
        <p:blipFill>
          <a:blip r:embed="rId2"/>
          <a:stretch>
            <a:fillRect/>
          </a:stretch>
        </p:blipFill>
        <p:spPr>
          <a:xfrm>
            <a:off x="274319" y="1515618"/>
            <a:ext cx="3840480" cy="2112263"/>
          </a:xfrm>
          <a:prstGeom prst="rect">
            <a:avLst/>
          </a:prstGeom>
          <a:noFill/>
        </p:spPr>
      </p:pic>
      <p:sp>
        <p:nvSpPr>
          <p:cNvPr id="3" name="Content Placeholder 2">
            <a:extLst>
              <a:ext uri="{FF2B5EF4-FFF2-40B4-BE49-F238E27FC236}">
                <a16:creationId xmlns:a16="http://schemas.microsoft.com/office/drawing/2014/main" id="{96CA5976-21EA-4CB3-8846-6F15841EE927}"/>
              </a:ext>
            </a:extLst>
          </p:cNvPr>
          <p:cNvSpPr>
            <a:spLocks noGrp="1"/>
          </p:cNvSpPr>
          <p:nvPr>
            <p:ph sz="half" idx="14"/>
          </p:nvPr>
        </p:nvSpPr>
        <p:spPr>
          <a:xfrm>
            <a:off x="4389118" y="911966"/>
            <a:ext cx="4410415" cy="3810346"/>
          </a:xfrm>
          <a:prstGeom prst="rect">
            <a:avLst/>
          </a:prstGeom>
        </p:spPr>
        <p:txBody>
          <a:bodyPr wrap="square">
            <a:normAutofit/>
          </a:bodyPr>
          <a:lstStyle/>
          <a:p>
            <a:r>
              <a:rPr lang="en-US" dirty="0">
                <a:solidFill>
                  <a:schemeClr val="bg2">
                    <a:lumMod val="50000"/>
                    <a:lumOff val="50000"/>
                  </a:schemeClr>
                </a:solidFill>
              </a:rPr>
              <a:t>T</a:t>
            </a:r>
            <a:r>
              <a:rPr lang="en-US" dirty="0">
                <a:solidFill>
                  <a:schemeClr val="bg2">
                    <a:lumMod val="50000"/>
                    <a:lumOff val="50000"/>
                  </a:schemeClr>
                </a:solidFill>
                <a:effectLst/>
              </a:rPr>
              <a:t>he methods used to determine something about a population on the basics of a sample.</a:t>
            </a:r>
          </a:p>
          <a:p>
            <a:r>
              <a:rPr lang="en-US" dirty="0">
                <a:solidFill>
                  <a:schemeClr val="accent1"/>
                </a:solidFill>
              </a:rPr>
              <a:t>Inferential statistics </a:t>
            </a:r>
            <a:r>
              <a:rPr lang="en-US" dirty="0">
                <a:solidFill>
                  <a:schemeClr val="bg2">
                    <a:lumMod val="50000"/>
                    <a:lumOff val="50000"/>
                  </a:schemeClr>
                </a:solidFill>
              </a:rPr>
              <a:t>allow you to test a hypothesis or assess whether your data is generalizable to the broader population.</a:t>
            </a: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r>
              <a:rPr lang="en-US" dirty="0">
                <a:solidFill>
                  <a:schemeClr val="bg2">
                    <a:lumMod val="50000"/>
                    <a:lumOff val="50000"/>
                  </a:schemeClr>
                </a:solidFill>
              </a:rPr>
              <a:t>We often hear the assumption that female students tend to have higher mathematical values than men. Is that right?</a:t>
            </a:r>
          </a:p>
        </p:txBody>
      </p:sp>
    </p:spTree>
    <p:extLst>
      <p:ext uri="{BB962C8B-B14F-4D97-AF65-F5344CB8AC3E}">
        <p14:creationId xmlns:p14="http://schemas.microsoft.com/office/powerpoint/2010/main" val="592860241"/>
      </p:ext>
    </p:extLst>
  </p:cSld>
  <p:clrMapOvr>
    <a:masterClrMapping/>
  </p:clrMapOvr>
  <p:transition spd="med">
    <p:wipe dir="r"/>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3A54D-1685-4F78-961F-8E9376E96703}"/>
              </a:ext>
            </a:extLst>
          </p:cNvPr>
          <p:cNvSpPr>
            <a:spLocks noGrp="1"/>
          </p:cNvSpPr>
          <p:nvPr>
            <p:ph type="title"/>
          </p:nvPr>
        </p:nvSpPr>
        <p:spPr>
          <a:xfrm>
            <a:off x="0" y="0"/>
            <a:ext cx="8186895" cy="640080"/>
          </a:xfrm>
        </p:spPr>
        <p:txBody>
          <a:bodyPr/>
          <a:lstStyle/>
          <a:p>
            <a:r>
              <a:rPr lang="en-US" dirty="0"/>
              <a:t>Bayes theorem – Example 2 </a:t>
            </a:r>
          </a:p>
        </p:txBody>
      </p:sp>
      <p:sp>
        <p:nvSpPr>
          <p:cNvPr id="5" name="Content Placeholder 4">
            <a:extLst>
              <a:ext uri="{FF2B5EF4-FFF2-40B4-BE49-F238E27FC236}">
                <a16:creationId xmlns:a16="http://schemas.microsoft.com/office/drawing/2014/main" id="{BA291E01-D420-4356-9228-7F04F940A10F}"/>
              </a:ext>
            </a:extLst>
          </p:cNvPr>
          <p:cNvSpPr>
            <a:spLocks noGrp="1"/>
          </p:cNvSpPr>
          <p:nvPr>
            <p:ph sz="half" idx="13"/>
          </p:nvPr>
        </p:nvSpPr>
        <p:spPr>
          <a:xfrm>
            <a:off x="113776" y="640080"/>
            <a:ext cx="8499732" cy="3200400"/>
          </a:xfrm>
        </p:spPr>
        <p:txBody>
          <a:bodyPr/>
          <a:lstStyle/>
          <a:p>
            <a:pPr marL="0" indent="0">
              <a:buNone/>
            </a:pPr>
            <a:r>
              <a:rPr lang="en-US" b="0" i="0" dirty="0">
                <a:solidFill>
                  <a:srgbClr val="373D3F"/>
                </a:solidFill>
                <a:effectLst/>
                <a:latin typeface="proxima-nova"/>
              </a:rPr>
              <a:t>Suppose someone told you they had a nice conversation with someone on the train. Not knowing anything else about this conversation, the probability that they were speaking to a woman is 50%. Now suppose they also told you that this person had long hair. It is now more likely they were speaking to a woman, since women in in this city are more likely to have long hair than men. Bayes theorem can be used to calculate the probability that the person is a woman.</a:t>
            </a:r>
            <a:endParaRPr lang="en-US" dirty="0"/>
          </a:p>
        </p:txBody>
      </p:sp>
    </p:spTree>
    <p:extLst>
      <p:ext uri="{BB962C8B-B14F-4D97-AF65-F5344CB8AC3E}">
        <p14:creationId xmlns:p14="http://schemas.microsoft.com/office/powerpoint/2010/main" val="1946313221"/>
      </p:ext>
    </p:extLst>
  </p:cSld>
  <p:clrMapOvr>
    <a:masterClrMapping/>
  </p:clrMapOvr>
  <p:transition spd="med">
    <p:wipe dir="r"/>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73231-42A7-4FCF-9943-7C634BD3AF5F}"/>
              </a:ext>
            </a:extLst>
          </p:cNvPr>
          <p:cNvSpPr>
            <a:spLocks noGrp="1"/>
          </p:cNvSpPr>
          <p:nvPr>
            <p:ph type="title"/>
          </p:nvPr>
        </p:nvSpPr>
        <p:spPr>
          <a:xfrm>
            <a:off x="0" y="0"/>
            <a:ext cx="6710210" cy="640080"/>
          </a:xfrm>
        </p:spPr>
        <p:txBody>
          <a:bodyPr/>
          <a:lstStyle/>
          <a:p>
            <a:r>
              <a:rPr lang="en-US" dirty="0"/>
              <a:t>Solution 3: Hunter’s test &gt; Bayes Theorem</a:t>
            </a:r>
          </a:p>
        </p:txBody>
      </p:sp>
      <p:sp>
        <p:nvSpPr>
          <p:cNvPr id="3" name="Content Placeholder 2">
            <a:extLst>
              <a:ext uri="{FF2B5EF4-FFF2-40B4-BE49-F238E27FC236}">
                <a16:creationId xmlns:a16="http://schemas.microsoft.com/office/drawing/2014/main" id="{F3773CD6-14F8-4F51-A62F-68C9F4F6C075}"/>
              </a:ext>
            </a:extLst>
          </p:cNvPr>
          <p:cNvSpPr>
            <a:spLocks noGrp="1"/>
          </p:cNvSpPr>
          <p:nvPr>
            <p:ph sz="half" idx="13"/>
          </p:nvPr>
        </p:nvSpPr>
        <p:spPr>
          <a:xfrm>
            <a:off x="117745" y="321293"/>
            <a:ext cx="8644212" cy="3229210"/>
          </a:xfrm>
        </p:spPr>
        <p:txBody>
          <a:bodyPr/>
          <a:lstStyle/>
          <a:p>
            <a:endParaRPr lang="en-US" dirty="0"/>
          </a:p>
          <a:p>
            <a:endParaRPr lang="en-US" dirty="0"/>
          </a:p>
          <a:p>
            <a:r>
              <a:rPr lang="en-US" dirty="0"/>
              <a:t>Bayes' Theorem has a special formula for this kind of thing:</a:t>
            </a:r>
          </a:p>
        </p:txBody>
      </p:sp>
      <p:pic>
        <p:nvPicPr>
          <p:cNvPr id="5" name="Picture 4">
            <a:extLst>
              <a:ext uri="{FF2B5EF4-FFF2-40B4-BE49-F238E27FC236}">
                <a16:creationId xmlns:a16="http://schemas.microsoft.com/office/drawing/2014/main" id="{BCF99EB0-DD8A-422E-9CBF-BFFB72C0B053}"/>
              </a:ext>
            </a:extLst>
          </p:cNvPr>
          <p:cNvPicPr>
            <a:picLocks noChangeAspect="1"/>
          </p:cNvPicPr>
          <p:nvPr/>
        </p:nvPicPr>
        <p:blipFill>
          <a:blip r:embed="rId2"/>
          <a:stretch>
            <a:fillRect/>
          </a:stretch>
        </p:blipFill>
        <p:spPr>
          <a:xfrm>
            <a:off x="675999" y="1780133"/>
            <a:ext cx="6652531" cy="2601108"/>
          </a:xfrm>
          <a:prstGeom prst="rect">
            <a:avLst/>
          </a:prstGeom>
        </p:spPr>
      </p:pic>
    </p:spTree>
    <p:extLst>
      <p:ext uri="{BB962C8B-B14F-4D97-AF65-F5344CB8AC3E}">
        <p14:creationId xmlns:p14="http://schemas.microsoft.com/office/powerpoint/2010/main" val="1293524733"/>
      </p:ext>
    </p:extLst>
  </p:cSld>
  <p:clrMapOvr>
    <a:masterClrMapping/>
  </p:clrMapOvr>
  <p:transition spd="med">
    <p:wipe dir="r"/>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F33B3-9B3A-4B8D-BBBE-41290548FF50}"/>
              </a:ext>
            </a:extLst>
          </p:cNvPr>
          <p:cNvSpPr>
            <a:spLocks noGrp="1"/>
          </p:cNvSpPr>
          <p:nvPr>
            <p:ph type="title"/>
          </p:nvPr>
        </p:nvSpPr>
        <p:spPr>
          <a:xfrm>
            <a:off x="0" y="22860"/>
            <a:ext cx="6503531" cy="640080"/>
          </a:xfrm>
        </p:spPr>
        <p:txBody>
          <a:bodyPr/>
          <a:lstStyle/>
          <a:p>
            <a:r>
              <a:rPr lang="en-US" dirty="0"/>
              <a:t>Solution 3 : Bayes Theorem</a:t>
            </a:r>
          </a:p>
        </p:txBody>
      </p:sp>
      <p:sp>
        <p:nvSpPr>
          <p:cNvPr id="3" name="Content Placeholder 2">
            <a:extLst>
              <a:ext uri="{FF2B5EF4-FFF2-40B4-BE49-F238E27FC236}">
                <a16:creationId xmlns:a16="http://schemas.microsoft.com/office/drawing/2014/main" id="{9BBA02B3-EC48-4383-8C2B-381F173A5F2B}"/>
              </a:ext>
            </a:extLst>
          </p:cNvPr>
          <p:cNvSpPr>
            <a:spLocks noGrp="1"/>
          </p:cNvSpPr>
          <p:nvPr>
            <p:ph sz="half" idx="13"/>
          </p:nvPr>
        </p:nvSpPr>
        <p:spPr>
          <a:xfrm>
            <a:off x="130269" y="923168"/>
            <a:ext cx="8243379" cy="3200400"/>
          </a:xfrm>
        </p:spPr>
        <p:txBody>
          <a:bodyPr/>
          <a:lstStyle/>
          <a:p>
            <a:r>
              <a:rPr lang="en-US" b="0" i="0" dirty="0">
                <a:solidFill>
                  <a:srgbClr val="333333"/>
                </a:solidFill>
                <a:effectLst/>
                <a:latin typeface="Verdana" panose="020B0604030504040204" pitchFamily="34" charset="0"/>
              </a:rPr>
              <a:t>To be clearer, let's change A to </a:t>
            </a:r>
            <a:r>
              <a:rPr lang="en-US" b="1" i="0" dirty="0">
                <a:solidFill>
                  <a:srgbClr val="333333"/>
                </a:solidFill>
                <a:effectLst/>
                <a:latin typeface="Verdana" panose="020B0604030504040204" pitchFamily="34" charset="0"/>
              </a:rPr>
              <a:t>has</a:t>
            </a:r>
            <a:r>
              <a:rPr lang="en-US" b="0" i="0" dirty="0">
                <a:solidFill>
                  <a:srgbClr val="333333"/>
                </a:solidFill>
                <a:effectLst/>
                <a:latin typeface="Verdana" panose="020B0604030504040204" pitchFamily="34" charset="0"/>
              </a:rPr>
              <a:t> (actually has allergy) and B to </a:t>
            </a:r>
            <a:r>
              <a:rPr lang="en-US" b="1" i="0" dirty="0">
                <a:solidFill>
                  <a:srgbClr val="333333"/>
                </a:solidFill>
                <a:effectLst/>
                <a:latin typeface="Verdana" panose="020B0604030504040204" pitchFamily="34" charset="0"/>
              </a:rPr>
              <a:t>Yes</a:t>
            </a:r>
            <a:r>
              <a:rPr lang="en-US" b="0" i="0" dirty="0">
                <a:solidFill>
                  <a:srgbClr val="333333"/>
                </a:solidFill>
                <a:effectLst/>
                <a:latin typeface="Verdana" panose="020B0604030504040204" pitchFamily="34" charset="0"/>
              </a:rPr>
              <a:t> (test says yes):</a:t>
            </a:r>
            <a:endParaRPr lang="en-US" dirty="0"/>
          </a:p>
        </p:txBody>
      </p:sp>
      <p:pic>
        <p:nvPicPr>
          <p:cNvPr id="5" name="Picture 4">
            <a:extLst>
              <a:ext uri="{FF2B5EF4-FFF2-40B4-BE49-F238E27FC236}">
                <a16:creationId xmlns:a16="http://schemas.microsoft.com/office/drawing/2014/main" id="{FA3029F4-C309-4934-9FCA-0794F7AE6BAA}"/>
              </a:ext>
            </a:extLst>
          </p:cNvPr>
          <p:cNvPicPr>
            <a:picLocks noChangeAspect="1"/>
          </p:cNvPicPr>
          <p:nvPr/>
        </p:nvPicPr>
        <p:blipFill>
          <a:blip r:embed="rId2"/>
          <a:stretch>
            <a:fillRect/>
          </a:stretch>
        </p:blipFill>
        <p:spPr>
          <a:xfrm>
            <a:off x="256783" y="1428242"/>
            <a:ext cx="7615825" cy="1894369"/>
          </a:xfrm>
          <a:prstGeom prst="rect">
            <a:avLst/>
          </a:prstGeom>
        </p:spPr>
      </p:pic>
      <p:sp>
        <p:nvSpPr>
          <p:cNvPr id="6" name="TextBox 5">
            <a:extLst>
              <a:ext uri="{FF2B5EF4-FFF2-40B4-BE49-F238E27FC236}">
                <a16:creationId xmlns:a16="http://schemas.microsoft.com/office/drawing/2014/main" id="{E8F15BDB-9867-4E7B-9387-B67555A69FC9}"/>
              </a:ext>
            </a:extLst>
          </p:cNvPr>
          <p:cNvSpPr txBox="1"/>
          <p:nvPr/>
        </p:nvSpPr>
        <p:spPr>
          <a:xfrm>
            <a:off x="394569" y="3961227"/>
            <a:ext cx="4528159"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Which is about </a:t>
            </a:r>
            <a:r>
              <a:rPr lang="en-US" sz="1100" b="1" i="0" dirty="0">
                <a:solidFill>
                  <a:srgbClr val="333333"/>
                </a:solidFill>
                <a:effectLst/>
                <a:latin typeface="Verdana" panose="020B0604030504040204" pitchFamily="34" charset="0"/>
              </a:rPr>
              <a:t>7%</a:t>
            </a:r>
            <a:endParaRPr lang="en-US" sz="1400" dirty="0">
              <a:solidFill>
                <a:schemeClr val="bg2"/>
              </a:solidFill>
              <a:latin typeface="+mn-lt"/>
            </a:endParaRPr>
          </a:p>
        </p:txBody>
      </p:sp>
      <p:pic>
        <p:nvPicPr>
          <p:cNvPr id="7" name="Picture 6">
            <a:extLst>
              <a:ext uri="{FF2B5EF4-FFF2-40B4-BE49-F238E27FC236}">
                <a16:creationId xmlns:a16="http://schemas.microsoft.com/office/drawing/2014/main" id="{2AAC618C-0748-49F7-804E-8BE6FB003D43}"/>
              </a:ext>
            </a:extLst>
          </p:cNvPr>
          <p:cNvPicPr>
            <a:picLocks noChangeAspect="1"/>
          </p:cNvPicPr>
          <p:nvPr/>
        </p:nvPicPr>
        <p:blipFill>
          <a:blip r:embed="rId3"/>
          <a:stretch>
            <a:fillRect/>
          </a:stretch>
        </p:blipFill>
        <p:spPr>
          <a:xfrm>
            <a:off x="4789431" y="157866"/>
            <a:ext cx="3982314" cy="505074"/>
          </a:xfrm>
          <a:prstGeom prst="rect">
            <a:avLst/>
          </a:prstGeom>
        </p:spPr>
      </p:pic>
    </p:spTree>
    <p:extLst>
      <p:ext uri="{BB962C8B-B14F-4D97-AF65-F5344CB8AC3E}">
        <p14:creationId xmlns:p14="http://schemas.microsoft.com/office/powerpoint/2010/main" val="1273406365"/>
      </p:ext>
    </p:extLst>
  </p:cSld>
  <p:clrMapOvr>
    <a:masterClrMapping/>
  </p:clrMapOvr>
  <p:transition spd="med">
    <p:wipe dir="r"/>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8CBC5-2437-4054-8F86-4F31AD8304CB}"/>
              </a:ext>
            </a:extLst>
          </p:cNvPr>
          <p:cNvSpPr>
            <a:spLocks noGrp="1"/>
          </p:cNvSpPr>
          <p:nvPr>
            <p:ph type="title"/>
          </p:nvPr>
        </p:nvSpPr>
        <p:spPr>
          <a:xfrm>
            <a:off x="0" y="0"/>
            <a:ext cx="4295219" cy="640080"/>
          </a:xfrm>
        </p:spPr>
        <p:txBody>
          <a:bodyPr/>
          <a:lstStyle/>
          <a:p>
            <a:r>
              <a:rPr lang="en-US" dirty="0"/>
              <a:t>Random Variable</a:t>
            </a:r>
          </a:p>
        </p:txBody>
      </p:sp>
      <p:sp>
        <p:nvSpPr>
          <p:cNvPr id="3" name="Content Placeholder 2">
            <a:extLst>
              <a:ext uri="{FF2B5EF4-FFF2-40B4-BE49-F238E27FC236}">
                <a16:creationId xmlns:a16="http://schemas.microsoft.com/office/drawing/2014/main" id="{CED66632-0F03-4190-ABBA-037F4DD70FC9}"/>
              </a:ext>
            </a:extLst>
          </p:cNvPr>
          <p:cNvSpPr>
            <a:spLocks noGrp="1"/>
          </p:cNvSpPr>
          <p:nvPr>
            <p:ph sz="half" idx="13"/>
          </p:nvPr>
        </p:nvSpPr>
        <p:spPr>
          <a:xfrm>
            <a:off x="67641" y="741541"/>
            <a:ext cx="7178666" cy="3200400"/>
          </a:xfrm>
        </p:spPr>
        <p:txBody>
          <a:bodyPr/>
          <a:lstStyle/>
          <a:p>
            <a:r>
              <a:rPr lang="en-US" b="0" i="0" dirty="0">
                <a:solidFill>
                  <a:srgbClr val="333333"/>
                </a:solidFill>
                <a:effectLst/>
                <a:latin typeface="Verdana" panose="020B0604030504040204" pitchFamily="34" charset="0"/>
              </a:rPr>
              <a:t>A Random Variable is a set of </a:t>
            </a:r>
            <a:r>
              <a:rPr lang="en-US" b="1" i="0" dirty="0">
                <a:solidFill>
                  <a:srgbClr val="333333"/>
                </a:solidFill>
                <a:effectLst/>
                <a:latin typeface="Verdana" panose="020B0604030504040204" pitchFamily="34" charset="0"/>
              </a:rPr>
              <a:t>possible values</a:t>
            </a:r>
            <a:r>
              <a:rPr lang="en-US" b="0" i="0" dirty="0">
                <a:solidFill>
                  <a:srgbClr val="333333"/>
                </a:solidFill>
                <a:effectLst/>
                <a:latin typeface="Verdana" panose="020B0604030504040204" pitchFamily="34" charset="0"/>
              </a:rPr>
              <a:t> from a random experiment.</a:t>
            </a:r>
            <a:endParaRPr lang="en-US" dirty="0">
              <a:solidFill>
                <a:srgbClr val="333333"/>
              </a:solidFill>
              <a:latin typeface="Verdana" panose="020B0604030504040204" pitchFamily="34" charset="0"/>
            </a:endParaRPr>
          </a:p>
          <a:p>
            <a:pPr marL="0" indent="0">
              <a:buNone/>
            </a:pPr>
            <a:r>
              <a:rPr lang="en-US" b="0" i="0" dirty="0">
                <a:solidFill>
                  <a:srgbClr val="333333"/>
                </a:solidFill>
                <a:effectLst/>
                <a:latin typeface="Verdana" panose="020B0604030504040204" pitchFamily="34" charset="0"/>
              </a:rPr>
              <a:t>Example: Tossing a coin: we could get Heads or Tails.</a:t>
            </a:r>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Let's give them the values </a:t>
            </a:r>
            <a:r>
              <a:rPr lang="en-US" b="1" i="0" dirty="0">
                <a:solidFill>
                  <a:srgbClr val="333333"/>
                </a:solidFill>
                <a:effectLst/>
                <a:latin typeface="Verdana" panose="020B0604030504040204" pitchFamily="34" charset="0"/>
              </a:rPr>
              <a:t>Heads=0</a:t>
            </a:r>
            <a:r>
              <a:rPr lang="en-US" b="0" i="0" dirty="0">
                <a:solidFill>
                  <a:srgbClr val="333333"/>
                </a:solidFill>
                <a:effectLst/>
                <a:latin typeface="Verdana" panose="020B0604030504040204" pitchFamily="34" charset="0"/>
              </a:rPr>
              <a:t> and </a:t>
            </a:r>
            <a:r>
              <a:rPr lang="en-US" b="1" i="0" dirty="0">
                <a:solidFill>
                  <a:srgbClr val="333333"/>
                </a:solidFill>
                <a:effectLst/>
                <a:latin typeface="Verdana" panose="020B0604030504040204" pitchFamily="34" charset="0"/>
              </a:rPr>
              <a:t>Tails=1</a:t>
            </a:r>
            <a:r>
              <a:rPr lang="en-US" b="0" i="0" dirty="0">
                <a:solidFill>
                  <a:srgbClr val="333333"/>
                </a:solidFill>
                <a:effectLst/>
                <a:latin typeface="Verdana" panose="020B0604030504040204" pitchFamily="34" charset="0"/>
              </a:rPr>
              <a:t> and we have a Random Variable "X":</a:t>
            </a:r>
          </a:p>
        </p:txBody>
      </p:sp>
      <p:pic>
        <p:nvPicPr>
          <p:cNvPr id="5" name="Picture 4">
            <a:extLst>
              <a:ext uri="{FF2B5EF4-FFF2-40B4-BE49-F238E27FC236}">
                <a16:creationId xmlns:a16="http://schemas.microsoft.com/office/drawing/2014/main" id="{F86CBFC3-2AC5-4330-B4E0-E9E11E206B1A}"/>
              </a:ext>
            </a:extLst>
          </p:cNvPr>
          <p:cNvPicPr>
            <a:picLocks noChangeAspect="1"/>
          </p:cNvPicPr>
          <p:nvPr/>
        </p:nvPicPr>
        <p:blipFill>
          <a:blip r:embed="rId2"/>
          <a:stretch>
            <a:fillRect/>
          </a:stretch>
        </p:blipFill>
        <p:spPr>
          <a:xfrm>
            <a:off x="2084566" y="2079217"/>
            <a:ext cx="3101209" cy="1501042"/>
          </a:xfrm>
          <a:prstGeom prst="rect">
            <a:avLst/>
          </a:prstGeom>
        </p:spPr>
      </p:pic>
      <p:sp>
        <p:nvSpPr>
          <p:cNvPr id="6" name="TextBox 5">
            <a:extLst>
              <a:ext uri="{FF2B5EF4-FFF2-40B4-BE49-F238E27FC236}">
                <a16:creationId xmlns:a16="http://schemas.microsoft.com/office/drawing/2014/main" id="{FAB17ED0-9FA2-48E5-9A36-4FD3B8813D7C}"/>
              </a:ext>
            </a:extLst>
          </p:cNvPr>
          <p:cNvSpPr txBox="1"/>
          <p:nvPr/>
        </p:nvSpPr>
        <p:spPr>
          <a:xfrm>
            <a:off x="295615" y="3860522"/>
            <a:ext cx="4546947" cy="646331"/>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In short:</a:t>
            </a:r>
          </a:p>
          <a:p>
            <a:pPr algn="ctr"/>
            <a:r>
              <a:rPr lang="en-US" sz="1100" b="0" i="0" dirty="0">
                <a:effectLst/>
                <a:latin typeface="Verdana" panose="020B0604030504040204" pitchFamily="34" charset="0"/>
              </a:rPr>
              <a:t>X = {0, 1}</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2464802808"/>
      </p:ext>
    </p:extLst>
  </p:cSld>
  <p:clrMapOvr>
    <a:masterClrMapping/>
  </p:clrMapOvr>
  <p:transition spd="med">
    <p:wipe dir="r"/>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B2FAE-9231-47DC-BDE6-8E6025E68C53}"/>
              </a:ext>
            </a:extLst>
          </p:cNvPr>
          <p:cNvSpPr>
            <a:spLocks noGrp="1"/>
          </p:cNvSpPr>
          <p:nvPr>
            <p:ph type="title"/>
          </p:nvPr>
        </p:nvSpPr>
        <p:spPr>
          <a:xfrm>
            <a:off x="0" y="0"/>
            <a:ext cx="4295219" cy="640080"/>
          </a:xfrm>
        </p:spPr>
        <p:txBody>
          <a:bodyPr/>
          <a:lstStyle/>
          <a:p>
            <a:r>
              <a:rPr lang="en-US" dirty="0"/>
              <a:t>Random Variable</a:t>
            </a:r>
          </a:p>
        </p:txBody>
      </p:sp>
      <p:sp>
        <p:nvSpPr>
          <p:cNvPr id="3" name="Content Placeholder 2">
            <a:extLst>
              <a:ext uri="{FF2B5EF4-FFF2-40B4-BE49-F238E27FC236}">
                <a16:creationId xmlns:a16="http://schemas.microsoft.com/office/drawing/2014/main" id="{0F90162C-0BDB-4A97-A976-5E709F850FC7}"/>
              </a:ext>
            </a:extLst>
          </p:cNvPr>
          <p:cNvSpPr>
            <a:spLocks noGrp="1"/>
          </p:cNvSpPr>
          <p:nvPr>
            <p:ph sz="half" idx="13"/>
          </p:nvPr>
        </p:nvSpPr>
        <p:spPr>
          <a:xfrm>
            <a:off x="117744" y="754067"/>
            <a:ext cx="7592025" cy="3200400"/>
          </a:xfrm>
        </p:spPr>
        <p:txBody>
          <a:bodyPr/>
          <a:lstStyle/>
          <a:p>
            <a:pPr marL="0" indent="0">
              <a:buNone/>
            </a:pPr>
            <a:r>
              <a:rPr lang="en-US" b="1" dirty="0">
                <a:solidFill>
                  <a:srgbClr val="FF0000"/>
                </a:solidFill>
                <a:effectLst/>
                <a:latin typeface="champ"/>
              </a:rPr>
              <a:t>Not Like an Algebra Variable</a:t>
            </a:r>
          </a:p>
          <a:p>
            <a:r>
              <a:rPr lang="en-US" b="0" i="0" dirty="0">
                <a:solidFill>
                  <a:srgbClr val="333333"/>
                </a:solidFill>
                <a:effectLst/>
                <a:latin typeface="Verdana" panose="020B0604030504040204" pitchFamily="34" charset="0"/>
              </a:rPr>
              <a:t>In </a:t>
            </a:r>
            <a:r>
              <a:rPr lang="en-US" b="0" i="0" dirty="0">
                <a:effectLst/>
                <a:latin typeface="Verdana" panose="020B0604030504040204" pitchFamily="34" charset="0"/>
                <a:hlinkClick r:id="rId2"/>
              </a:rPr>
              <a:t>Algebra</a:t>
            </a:r>
            <a:r>
              <a:rPr lang="en-US" b="0" i="0" dirty="0">
                <a:solidFill>
                  <a:srgbClr val="333333"/>
                </a:solidFill>
                <a:effectLst/>
                <a:latin typeface="Verdana" panose="020B0604030504040204" pitchFamily="34" charset="0"/>
              </a:rPr>
              <a:t> a variable, like </a:t>
            </a:r>
            <a:r>
              <a:rPr lang="en-US" b="1" i="0" dirty="0">
                <a:solidFill>
                  <a:srgbClr val="333333"/>
                </a:solidFill>
                <a:effectLst/>
                <a:latin typeface="Verdana" panose="020B0604030504040204" pitchFamily="34" charset="0"/>
              </a:rPr>
              <a:t>x,</a:t>
            </a:r>
            <a:r>
              <a:rPr lang="en-US" b="0" i="0" dirty="0">
                <a:solidFill>
                  <a:srgbClr val="333333"/>
                </a:solidFill>
                <a:effectLst/>
                <a:latin typeface="Verdana" panose="020B0604030504040204" pitchFamily="34" charset="0"/>
              </a:rPr>
              <a:t> is an unknown value</a:t>
            </a:r>
          </a:p>
          <a:p>
            <a:pPr marL="0" indent="0">
              <a:buNone/>
            </a:pPr>
            <a:endParaRPr lang="en-US" b="0" i="0" dirty="0">
              <a:solidFill>
                <a:srgbClr val="333333"/>
              </a:solidFill>
              <a:effectLst/>
              <a:latin typeface="Verdana" panose="020B0604030504040204" pitchFamily="34" charset="0"/>
            </a:endParaRPr>
          </a:p>
          <a:p>
            <a:pPr lvl="1"/>
            <a:r>
              <a:rPr lang="en-US" dirty="0">
                <a:solidFill>
                  <a:srgbClr val="333333"/>
                </a:solidFill>
                <a:latin typeface="Verdana" panose="020B0604030504040204" pitchFamily="34" charset="0"/>
              </a:rPr>
              <a:t>Example: x + 2 = 6</a:t>
            </a:r>
          </a:p>
          <a:p>
            <a:pPr lvl="2"/>
            <a:r>
              <a:rPr lang="en-US" b="0" i="0" dirty="0">
                <a:solidFill>
                  <a:srgbClr val="333333"/>
                </a:solidFill>
                <a:effectLst/>
                <a:latin typeface="Verdana" panose="020B0604030504040204" pitchFamily="34" charset="0"/>
              </a:rPr>
              <a:t>In this case we can find that x=4</a:t>
            </a:r>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But a Random Variable is different ...</a:t>
            </a:r>
          </a:p>
          <a:p>
            <a:pPr lvl="1"/>
            <a:r>
              <a:rPr lang="en-US" b="0" i="0" dirty="0">
                <a:solidFill>
                  <a:srgbClr val="333333"/>
                </a:solidFill>
                <a:effectLst/>
                <a:latin typeface="Verdana" panose="020B0604030504040204" pitchFamily="34" charset="0"/>
              </a:rPr>
              <a:t>A Random Variable has a whole set of values and it could take on any of those values, randomly.</a:t>
            </a:r>
          </a:p>
          <a:p>
            <a:pPr marL="342900" lvl="1" indent="0">
              <a:buNone/>
            </a:pPr>
            <a:endParaRPr lang="en-US" b="0" i="0" dirty="0">
              <a:solidFill>
                <a:srgbClr val="333333"/>
              </a:solidFill>
              <a:effectLst/>
              <a:latin typeface="Verdana" panose="020B0604030504040204" pitchFamily="34" charset="0"/>
            </a:endParaRPr>
          </a:p>
          <a:p>
            <a:pPr lvl="1"/>
            <a:r>
              <a:rPr lang="en-US" b="0" i="0" dirty="0">
                <a:solidFill>
                  <a:srgbClr val="333333"/>
                </a:solidFill>
                <a:effectLst/>
                <a:latin typeface="Verdana" panose="020B0604030504040204" pitchFamily="34" charset="0"/>
              </a:rPr>
              <a:t>Example: X = {0, 1, 2, 3}</a:t>
            </a:r>
          </a:p>
          <a:p>
            <a:pPr lvl="2"/>
            <a:r>
              <a:rPr lang="en-US" b="0" i="0" dirty="0">
                <a:solidFill>
                  <a:srgbClr val="333333"/>
                </a:solidFill>
                <a:effectLst/>
                <a:latin typeface="Verdana" panose="020B0604030504040204" pitchFamily="34" charset="0"/>
              </a:rPr>
              <a:t>X could be 0, 1, 2, or 3 randomly.</a:t>
            </a:r>
          </a:p>
          <a:p>
            <a:pPr lvl="2"/>
            <a:r>
              <a:rPr lang="en-US" b="0" i="0" dirty="0">
                <a:solidFill>
                  <a:srgbClr val="333333"/>
                </a:solidFill>
                <a:effectLst/>
                <a:latin typeface="Verdana" panose="020B0604030504040204" pitchFamily="34" charset="0"/>
              </a:rPr>
              <a:t>And they might each have a different probability.</a:t>
            </a:r>
          </a:p>
          <a:p>
            <a:pPr lvl="1"/>
            <a:endParaRPr lang="en-US" dirty="0">
              <a:solidFill>
                <a:srgbClr val="333333"/>
              </a:solidFill>
              <a:latin typeface="Verdana" panose="020B0604030504040204" pitchFamily="34" charset="0"/>
            </a:endParaRPr>
          </a:p>
          <a:p>
            <a:pPr lvl="1"/>
            <a:endParaRPr lang="en-US" dirty="0">
              <a:solidFill>
                <a:srgbClr val="333333"/>
              </a:solidFill>
              <a:latin typeface="Verdana" panose="020B0604030504040204" pitchFamily="34" charset="0"/>
            </a:endParaRPr>
          </a:p>
          <a:p>
            <a:pPr lvl="1"/>
            <a:endParaRPr lang="en-US" dirty="0">
              <a:solidFill>
                <a:srgbClr val="333333"/>
              </a:solidFill>
              <a:latin typeface="Verdana" panose="020B0604030504040204" pitchFamily="34" charset="0"/>
            </a:endParaRPr>
          </a:p>
          <a:p>
            <a:pPr lvl="1"/>
            <a:endParaRPr lang="en-US" dirty="0"/>
          </a:p>
        </p:txBody>
      </p:sp>
    </p:spTree>
    <p:extLst>
      <p:ext uri="{BB962C8B-B14F-4D97-AF65-F5344CB8AC3E}">
        <p14:creationId xmlns:p14="http://schemas.microsoft.com/office/powerpoint/2010/main" val="3190387872"/>
      </p:ext>
    </p:extLst>
  </p:cSld>
  <p:clrMapOvr>
    <a:masterClrMapping/>
  </p:clrMapOvr>
  <p:transition spd="med">
    <p:wipe dir="r"/>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0C0C86-6EF2-42D9-AD35-A59BE45030B1}"/>
              </a:ext>
            </a:extLst>
          </p:cNvPr>
          <p:cNvSpPr>
            <a:spLocks noGrp="1"/>
          </p:cNvSpPr>
          <p:nvPr>
            <p:ph type="title"/>
          </p:nvPr>
        </p:nvSpPr>
        <p:spPr>
          <a:xfrm>
            <a:off x="0" y="0"/>
            <a:ext cx="4295219" cy="640080"/>
          </a:xfrm>
        </p:spPr>
        <p:txBody>
          <a:bodyPr/>
          <a:lstStyle/>
          <a:p>
            <a:r>
              <a:rPr lang="en-US" dirty="0"/>
              <a:t>Sample Space</a:t>
            </a:r>
          </a:p>
        </p:txBody>
      </p:sp>
      <p:sp>
        <p:nvSpPr>
          <p:cNvPr id="3" name="Content Placeholder 2">
            <a:extLst>
              <a:ext uri="{FF2B5EF4-FFF2-40B4-BE49-F238E27FC236}">
                <a16:creationId xmlns:a16="http://schemas.microsoft.com/office/drawing/2014/main" id="{D509752D-5C17-4DF1-8520-6E7BAEE564B0}"/>
              </a:ext>
            </a:extLst>
          </p:cNvPr>
          <p:cNvSpPr>
            <a:spLocks noGrp="1"/>
          </p:cNvSpPr>
          <p:nvPr>
            <p:ph sz="half" idx="13"/>
          </p:nvPr>
        </p:nvSpPr>
        <p:spPr>
          <a:xfrm>
            <a:off x="124007" y="791645"/>
            <a:ext cx="8431269" cy="3200400"/>
          </a:xfrm>
        </p:spPr>
        <p:txBody>
          <a:bodyPr/>
          <a:lstStyle/>
          <a:p>
            <a:r>
              <a:rPr lang="en-US" dirty="0"/>
              <a:t>A Random Variable's set of values is the Sample Space.</a:t>
            </a:r>
          </a:p>
          <a:p>
            <a:r>
              <a:rPr lang="en-US" dirty="0"/>
              <a:t>Ex : Throw a dice once</a:t>
            </a:r>
          </a:p>
          <a:p>
            <a:pPr marL="0" indent="0">
              <a:buNone/>
            </a:pPr>
            <a:endParaRPr lang="en-US" dirty="0"/>
          </a:p>
          <a:p>
            <a:pPr lvl="1"/>
            <a:r>
              <a:rPr lang="en-US" b="0" i="0" dirty="0">
                <a:solidFill>
                  <a:srgbClr val="333333"/>
                </a:solidFill>
                <a:effectLst/>
                <a:latin typeface="Verdana" panose="020B0604030504040204" pitchFamily="34" charset="0"/>
              </a:rPr>
              <a:t>Random Variable </a:t>
            </a:r>
            <a:r>
              <a:rPr lang="en-US" b="1" i="0" dirty="0">
                <a:solidFill>
                  <a:srgbClr val="333333"/>
                </a:solidFill>
                <a:effectLst/>
                <a:latin typeface="Verdana" panose="020B0604030504040204" pitchFamily="34" charset="0"/>
              </a:rPr>
              <a:t>X</a:t>
            </a:r>
            <a:r>
              <a:rPr lang="en-US" b="0" i="0" dirty="0">
                <a:solidFill>
                  <a:srgbClr val="333333"/>
                </a:solidFill>
                <a:effectLst/>
                <a:latin typeface="Verdana" panose="020B0604030504040204" pitchFamily="34" charset="0"/>
              </a:rPr>
              <a:t> = </a:t>
            </a:r>
            <a:endParaRPr lang="en-US" dirty="0"/>
          </a:p>
        </p:txBody>
      </p:sp>
      <p:pic>
        <p:nvPicPr>
          <p:cNvPr id="5" name="Picture 4" descr="A close up of a dice&#10;&#10;Description automatically generated with medium confidence">
            <a:extLst>
              <a:ext uri="{FF2B5EF4-FFF2-40B4-BE49-F238E27FC236}">
                <a16:creationId xmlns:a16="http://schemas.microsoft.com/office/drawing/2014/main" id="{DF364605-096B-46EF-AB6B-C408064A0382}"/>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893144" y="1504139"/>
            <a:ext cx="3723380" cy="2786026"/>
          </a:xfrm>
          <a:prstGeom prst="rect">
            <a:avLst/>
          </a:prstGeom>
        </p:spPr>
      </p:pic>
    </p:spTree>
    <p:extLst>
      <p:ext uri="{BB962C8B-B14F-4D97-AF65-F5344CB8AC3E}">
        <p14:creationId xmlns:p14="http://schemas.microsoft.com/office/powerpoint/2010/main" val="3826745495"/>
      </p:ext>
    </p:extLst>
  </p:cSld>
  <p:clrMapOvr>
    <a:masterClrMapping/>
  </p:clrMapOvr>
  <p:transition spd="med">
    <p:wipe dir="r"/>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69546-9706-4A9D-85B4-721535D7ED74}"/>
              </a:ext>
            </a:extLst>
          </p:cNvPr>
          <p:cNvSpPr>
            <a:spLocks noGrp="1"/>
          </p:cNvSpPr>
          <p:nvPr>
            <p:ph type="title"/>
          </p:nvPr>
        </p:nvSpPr>
        <p:spPr>
          <a:xfrm>
            <a:off x="0" y="0"/>
            <a:ext cx="4295219" cy="640080"/>
          </a:xfrm>
        </p:spPr>
        <p:txBody>
          <a:bodyPr/>
          <a:lstStyle/>
          <a:p>
            <a:r>
              <a:rPr lang="en-US" dirty="0"/>
              <a:t>Probability</a:t>
            </a:r>
          </a:p>
        </p:txBody>
      </p:sp>
      <p:sp>
        <p:nvSpPr>
          <p:cNvPr id="3" name="Content Placeholder 2">
            <a:extLst>
              <a:ext uri="{FF2B5EF4-FFF2-40B4-BE49-F238E27FC236}">
                <a16:creationId xmlns:a16="http://schemas.microsoft.com/office/drawing/2014/main" id="{36C30D74-4857-4A22-A1F4-C5BD94F32E85}"/>
              </a:ext>
            </a:extLst>
          </p:cNvPr>
          <p:cNvSpPr>
            <a:spLocks noGrp="1"/>
          </p:cNvSpPr>
          <p:nvPr>
            <p:ph sz="half" idx="13"/>
          </p:nvPr>
        </p:nvSpPr>
        <p:spPr>
          <a:xfrm>
            <a:off x="105219" y="665891"/>
            <a:ext cx="7723548" cy="930684"/>
          </a:xfrm>
        </p:spPr>
        <p:txBody>
          <a:bodyPr/>
          <a:lstStyle/>
          <a:p>
            <a:pPr algn="l"/>
            <a:r>
              <a:rPr lang="en-US" b="0" i="0" dirty="0">
                <a:solidFill>
                  <a:srgbClr val="333333"/>
                </a:solidFill>
                <a:effectLst/>
                <a:latin typeface="Verdana" panose="020B0604030504040204" pitchFamily="34" charset="0"/>
              </a:rPr>
              <a:t>We can show the probability of any one value using this style:</a:t>
            </a:r>
          </a:p>
          <a:p>
            <a:pPr lvl="3"/>
            <a:endParaRPr lang="en-US" dirty="0">
              <a:solidFill>
                <a:srgbClr val="333333"/>
              </a:solidFill>
              <a:latin typeface="Verdana" panose="020B0604030504040204" pitchFamily="34" charset="0"/>
            </a:endParaRPr>
          </a:p>
          <a:p>
            <a:pPr marL="1371600" lvl="4" indent="0">
              <a:buNone/>
            </a:pPr>
            <a:r>
              <a:rPr lang="en-US" sz="1400" dirty="0">
                <a:solidFill>
                  <a:schemeClr val="bg1"/>
                </a:solidFill>
                <a:latin typeface="Verdana" panose="020B0604030504040204" pitchFamily="34" charset="0"/>
                <a:cs typeface="Arial" panose="020B0604020202020204" pitchFamily="34" charset="0"/>
              </a:rPr>
              <a:t>P(X = value) = probability of that value</a:t>
            </a:r>
          </a:p>
          <a:p>
            <a:pPr marL="1371600" lvl="4" indent="0">
              <a:buNone/>
            </a:pPr>
            <a:endParaRPr lang="en-US" dirty="0">
              <a:latin typeface="Verdana" panose="020B0604030504040204" pitchFamily="34" charset="0"/>
            </a:endParaRPr>
          </a:p>
          <a:p>
            <a:pPr marL="1371600" lvl="4" indent="0">
              <a:buNone/>
            </a:pPr>
            <a:endParaRPr lang="en-US" b="0" i="0" dirty="0">
              <a:effectLst/>
              <a:latin typeface="Verdana" panose="020B0604030504040204" pitchFamily="34" charset="0"/>
            </a:endParaRPr>
          </a:p>
          <a:p>
            <a:pPr marL="1371600" lvl="4" indent="0">
              <a:buNone/>
            </a:pPr>
            <a:endParaRPr lang="en-US" b="0" i="0" dirty="0">
              <a:effectLst/>
              <a:latin typeface="Verdana" panose="020B0604030504040204" pitchFamily="34" charset="0"/>
            </a:endParaRPr>
          </a:p>
          <a:p>
            <a:endParaRPr lang="en-US" dirty="0"/>
          </a:p>
        </p:txBody>
      </p:sp>
      <p:sp>
        <p:nvSpPr>
          <p:cNvPr id="4" name="TextBox 3">
            <a:extLst>
              <a:ext uri="{FF2B5EF4-FFF2-40B4-BE49-F238E27FC236}">
                <a16:creationId xmlns:a16="http://schemas.microsoft.com/office/drawing/2014/main" id="{7B05C952-4CFC-4F44-A4A8-14749D9EE107}"/>
              </a:ext>
            </a:extLst>
          </p:cNvPr>
          <p:cNvSpPr txBox="1"/>
          <p:nvPr/>
        </p:nvSpPr>
        <p:spPr>
          <a:xfrm>
            <a:off x="105219" y="1572016"/>
            <a:ext cx="7141088" cy="523220"/>
          </a:xfrm>
          <a:prstGeom prst="rect">
            <a:avLst/>
          </a:prstGeom>
          <a:noFill/>
        </p:spPr>
        <p:txBody>
          <a:bodyPr wrap="square" rtlCol="0">
            <a:spAutoFit/>
          </a:bodyPr>
          <a:lstStyle/>
          <a:p>
            <a:pPr>
              <a:spcBef>
                <a:spcPts val="0"/>
              </a:spcBef>
              <a:spcAft>
                <a:spcPts val="0"/>
              </a:spcAft>
              <a:buClr>
                <a:schemeClr val="bg1"/>
              </a:buClr>
            </a:pPr>
            <a:r>
              <a:rPr lang="en-US" sz="1400" b="1" i="0" dirty="0">
                <a:solidFill>
                  <a:srgbClr val="333333"/>
                </a:solidFill>
                <a:effectLst/>
                <a:latin typeface="Verdana" panose="020B0604030504040204" pitchFamily="34" charset="0"/>
              </a:rPr>
              <a:t>Example (continued): Throw a die once</a:t>
            </a:r>
          </a:p>
          <a:p>
            <a:pPr>
              <a:spcBef>
                <a:spcPts val="0"/>
              </a:spcBef>
              <a:spcAft>
                <a:spcPts val="0"/>
              </a:spcAft>
              <a:buClr>
                <a:schemeClr val="bg1"/>
              </a:buClr>
            </a:pPr>
            <a:endParaRPr lang="en-US" sz="1400" dirty="0" err="1">
              <a:solidFill>
                <a:schemeClr val="bg2"/>
              </a:solidFill>
              <a:latin typeface="+mn-lt"/>
            </a:endParaRPr>
          </a:p>
        </p:txBody>
      </p:sp>
      <p:sp>
        <p:nvSpPr>
          <p:cNvPr id="5" name="TextBox 4">
            <a:extLst>
              <a:ext uri="{FF2B5EF4-FFF2-40B4-BE49-F238E27FC236}">
                <a16:creationId xmlns:a16="http://schemas.microsoft.com/office/drawing/2014/main" id="{CF6C7415-39BF-48B3-A331-D80E7925995E}"/>
              </a:ext>
            </a:extLst>
          </p:cNvPr>
          <p:cNvSpPr txBox="1"/>
          <p:nvPr/>
        </p:nvSpPr>
        <p:spPr>
          <a:xfrm>
            <a:off x="244257" y="1962828"/>
            <a:ext cx="5661765" cy="2339102"/>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X = {1, 2, 3, 4, 5, 6}</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In this case they are all equally likely, so the probability of any one is 1/6</a:t>
            </a:r>
          </a:p>
          <a:p>
            <a:pPr algn="l"/>
            <a:endParaRPr lang="en-US" sz="1100" b="0" i="0" dirty="0">
              <a:solidFill>
                <a:srgbClr val="333333"/>
              </a:solidFill>
              <a:effectLst/>
              <a:latin typeface="Verdana" panose="020B0604030504040204" pitchFamily="34" charset="0"/>
            </a:endParaRP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1)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2)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3)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4)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5) = 1/6</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P(X = 6) = 1/6</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Note that the sum of the probabilities = </a:t>
            </a:r>
            <a:r>
              <a:rPr lang="en-US" sz="1100" b="1" i="0" dirty="0">
                <a:solidFill>
                  <a:srgbClr val="333333"/>
                </a:solidFill>
                <a:effectLst/>
                <a:latin typeface="Verdana" panose="020B0604030504040204" pitchFamily="34" charset="0"/>
              </a:rPr>
              <a:t>1</a:t>
            </a:r>
            <a:r>
              <a:rPr lang="en-US" sz="1100" b="0" i="0" dirty="0">
                <a:solidFill>
                  <a:srgbClr val="333333"/>
                </a:solidFill>
                <a:effectLst/>
                <a:latin typeface="Verdana" panose="020B0604030504040204" pitchFamily="34" charset="0"/>
              </a:rPr>
              <a:t>, as it should be.</a:t>
            </a:r>
          </a:p>
          <a:p>
            <a:pPr>
              <a:spcBef>
                <a:spcPts val="0"/>
              </a:spcBef>
              <a:spcAft>
                <a:spcPts val="0"/>
              </a:spcAft>
              <a:buClr>
                <a:schemeClr val="bg1"/>
              </a:buClr>
            </a:pPr>
            <a:endParaRPr lang="en-US" sz="1400" dirty="0" err="1">
              <a:solidFill>
                <a:schemeClr val="bg2"/>
              </a:solidFill>
              <a:latin typeface="+mn-lt"/>
            </a:endParaRPr>
          </a:p>
        </p:txBody>
      </p:sp>
      <p:pic>
        <p:nvPicPr>
          <p:cNvPr id="7" name="Picture 6" descr="A close up of a dice&#10;&#10;Description automatically generated with medium confidence">
            <a:extLst>
              <a:ext uri="{FF2B5EF4-FFF2-40B4-BE49-F238E27FC236}">
                <a16:creationId xmlns:a16="http://schemas.microsoft.com/office/drawing/2014/main" id="{793A5AAE-7B73-4D34-A2B8-6AC4751C2E6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6022" y="2384899"/>
            <a:ext cx="2174893" cy="1627368"/>
          </a:xfrm>
          <a:prstGeom prst="rect">
            <a:avLst/>
          </a:prstGeom>
        </p:spPr>
      </p:pic>
    </p:spTree>
    <p:extLst>
      <p:ext uri="{BB962C8B-B14F-4D97-AF65-F5344CB8AC3E}">
        <p14:creationId xmlns:p14="http://schemas.microsoft.com/office/powerpoint/2010/main" val="3651491739"/>
      </p:ext>
    </p:extLst>
  </p:cSld>
  <p:clrMapOvr>
    <a:masterClrMapping/>
  </p:clrMapOvr>
  <p:transition spd="med">
    <p:wipe dir="r"/>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F1C428-BF25-4414-957E-3C43A94B1691}"/>
              </a:ext>
            </a:extLst>
          </p:cNvPr>
          <p:cNvSpPr>
            <a:spLocks noGrp="1"/>
          </p:cNvSpPr>
          <p:nvPr>
            <p:ph type="title"/>
          </p:nvPr>
        </p:nvSpPr>
        <p:spPr>
          <a:xfrm>
            <a:off x="0" y="22860"/>
            <a:ext cx="8000391" cy="640080"/>
          </a:xfrm>
        </p:spPr>
        <p:txBody>
          <a:bodyPr/>
          <a:lstStyle/>
          <a:p>
            <a:r>
              <a:rPr lang="en-US" dirty="0"/>
              <a:t>Probability - Continued</a:t>
            </a:r>
          </a:p>
        </p:txBody>
      </p:sp>
      <p:sp>
        <p:nvSpPr>
          <p:cNvPr id="3" name="Content Placeholder 2">
            <a:extLst>
              <a:ext uri="{FF2B5EF4-FFF2-40B4-BE49-F238E27FC236}">
                <a16:creationId xmlns:a16="http://schemas.microsoft.com/office/drawing/2014/main" id="{35EADB4C-D732-46A9-988C-E85EDAE7DC34}"/>
              </a:ext>
            </a:extLst>
          </p:cNvPr>
          <p:cNvSpPr>
            <a:spLocks noGrp="1"/>
          </p:cNvSpPr>
          <p:nvPr>
            <p:ph sz="half" idx="13"/>
          </p:nvPr>
        </p:nvSpPr>
        <p:spPr>
          <a:xfrm>
            <a:off x="48851" y="662940"/>
            <a:ext cx="5306026" cy="3200400"/>
          </a:xfrm>
        </p:spPr>
        <p:txBody>
          <a:bodyPr>
            <a:normAutofit/>
          </a:bodyPr>
          <a:lstStyle/>
          <a:p>
            <a:pPr marL="0" indent="0">
              <a:buNone/>
            </a:pPr>
            <a:r>
              <a:rPr lang="en-US" b="1" dirty="0"/>
              <a:t>Example: How many heads when we toss 3 coins?</a:t>
            </a:r>
          </a:p>
          <a:p>
            <a:r>
              <a:rPr lang="en-US" dirty="0"/>
              <a:t>X = "The number of Heads" is the Random Variable.</a:t>
            </a:r>
          </a:p>
          <a:p>
            <a:r>
              <a:rPr lang="en-US" dirty="0"/>
              <a:t>In this case, there could be 0 Heads (if all the coins land Tails up), 1 Head, 2 Heads or 3 Heads.</a:t>
            </a:r>
          </a:p>
          <a:p>
            <a:r>
              <a:rPr lang="en-US" dirty="0"/>
              <a:t>So, the Sample Space = {0, 1, 2, 3}</a:t>
            </a:r>
          </a:p>
          <a:p>
            <a:r>
              <a:rPr lang="en-US" dirty="0"/>
              <a:t>But this time the outcomes are NOT all equally likely.</a:t>
            </a:r>
          </a:p>
          <a:p>
            <a:r>
              <a:rPr lang="en-US" dirty="0"/>
              <a:t>The three coins can land in eight possible ways:</a:t>
            </a:r>
          </a:p>
        </p:txBody>
      </p:sp>
      <p:pic>
        <p:nvPicPr>
          <p:cNvPr id="7" name="Picture 6">
            <a:extLst>
              <a:ext uri="{FF2B5EF4-FFF2-40B4-BE49-F238E27FC236}">
                <a16:creationId xmlns:a16="http://schemas.microsoft.com/office/drawing/2014/main" id="{584268B2-2C9B-4B7F-8809-62912C5FA4D4}"/>
              </a:ext>
            </a:extLst>
          </p:cNvPr>
          <p:cNvPicPr>
            <a:picLocks noChangeAspect="1"/>
          </p:cNvPicPr>
          <p:nvPr/>
        </p:nvPicPr>
        <p:blipFill>
          <a:blip r:embed="rId2"/>
          <a:stretch>
            <a:fillRect/>
          </a:stretch>
        </p:blipFill>
        <p:spPr>
          <a:xfrm>
            <a:off x="6461254" y="1258866"/>
            <a:ext cx="1905327" cy="3861774"/>
          </a:xfrm>
          <a:prstGeom prst="rect">
            <a:avLst/>
          </a:prstGeom>
        </p:spPr>
      </p:pic>
      <p:sp>
        <p:nvSpPr>
          <p:cNvPr id="8" name="TextBox 7">
            <a:extLst>
              <a:ext uri="{FF2B5EF4-FFF2-40B4-BE49-F238E27FC236}">
                <a16:creationId xmlns:a16="http://schemas.microsoft.com/office/drawing/2014/main" id="{20E2614F-18E1-47BF-9F2E-8FDCA666A8BB}"/>
              </a:ext>
            </a:extLst>
          </p:cNvPr>
          <p:cNvSpPr txBox="1"/>
          <p:nvPr/>
        </p:nvSpPr>
        <p:spPr>
          <a:xfrm>
            <a:off x="6237962" y="853704"/>
            <a:ext cx="2210843"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296BC2"/>
                </a:solidFill>
                <a:effectLst/>
                <a:latin typeface="Verdana" panose="020B0604030504040204" pitchFamily="34" charset="0"/>
              </a:rPr>
              <a:t>X =  "Number of Heads"</a:t>
            </a:r>
            <a:endParaRPr lang="en-US" sz="1400" dirty="0">
              <a:solidFill>
                <a:schemeClr val="bg2"/>
              </a:solidFill>
              <a:latin typeface="+mn-lt"/>
            </a:endParaRPr>
          </a:p>
        </p:txBody>
      </p:sp>
      <p:sp>
        <p:nvSpPr>
          <p:cNvPr id="9" name="Arrow: Right 8">
            <a:extLst>
              <a:ext uri="{FF2B5EF4-FFF2-40B4-BE49-F238E27FC236}">
                <a16:creationId xmlns:a16="http://schemas.microsoft.com/office/drawing/2014/main" id="{10FDD0E1-2586-4A27-9BD3-DE6F123F9AC5}"/>
              </a:ext>
            </a:extLst>
          </p:cNvPr>
          <p:cNvSpPr/>
          <p:nvPr/>
        </p:nvSpPr>
        <p:spPr>
          <a:xfrm>
            <a:off x="4208745" y="2698184"/>
            <a:ext cx="2116899" cy="252869"/>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0D29ABF0-EE4C-4814-8AAE-C67AFCE43760}"/>
              </a:ext>
            </a:extLst>
          </p:cNvPr>
          <p:cNvSpPr txBox="1"/>
          <p:nvPr/>
        </p:nvSpPr>
        <p:spPr>
          <a:xfrm>
            <a:off x="156574" y="3377882"/>
            <a:ext cx="6169069" cy="1492716"/>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Looking at the table we see just 1 case of Three Heads, but 3 cases of Two Heads, 3 cases of One Head, and 1 case of Zero Heads. So:.</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P(X = 3) = 1/8</a:t>
            </a:r>
          </a:p>
          <a:p>
            <a:pPr algn="l"/>
            <a:r>
              <a:rPr lang="en-US" sz="1100" b="0" i="0" dirty="0">
                <a:solidFill>
                  <a:srgbClr val="333333"/>
                </a:solidFill>
                <a:effectLst/>
                <a:latin typeface="Verdana" panose="020B0604030504040204" pitchFamily="34" charset="0"/>
              </a:rPr>
              <a:t>P(X = 2) = 3/8</a:t>
            </a:r>
          </a:p>
          <a:p>
            <a:pPr algn="l"/>
            <a:r>
              <a:rPr lang="en-US" sz="1100" b="0" i="0" dirty="0">
                <a:solidFill>
                  <a:srgbClr val="333333"/>
                </a:solidFill>
                <a:effectLst/>
                <a:latin typeface="Verdana" panose="020B0604030504040204" pitchFamily="34" charset="0"/>
              </a:rPr>
              <a:t>P(X = 1) = 3/8</a:t>
            </a:r>
          </a:p>
          <a:p>
            <a:pPr algn="l"/>
            <a:r>
              <a:rPr lang="en-US" sz="1100" b="0" i="0" dirty="0">
                <a:solidFill>
                  <a:srgbClr val="333333"/>
                </a:solidFill>
                <a:effectLst/>
                <a:latin typeface="Verdana" panose="020B0604030504040204" pitchFamily="34" charset="0"/>
              </a:rPr>
              <a:t>P(X = 0) = 1/8</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2609554052"/>
      </p:ext>
    </p:extLst>
  </p:cSld>
  <p:clrMapOvr>
    <a:masterClrMapping/>
  </p:clrMapOvr>
  <p:transition spd="med">
    <p:wipe dir="r"/>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A3905-3DDD-49FC-A037-D98D8EC26E77}"/>
              </a:ext>
            </a:extLst>
          </p:cNvPr>
          <p:cNvSpPr>
            <a:spLocks noGrp="1"/>
          </p:cNvSpPr>
          <p:nvPr>
            <p:ph type="title"/>
          </p:nvPr>
        </p:nvSpPr>
        <p:spPr>
          <a:xfrm>
            <a:off x="0" y="0"/>
            <a:ext cx="7161147" cy="640080"/>
          </a:xfrm>
        </p:spPr>
        <p:txBody>
          <a:bodyPr/>
          <a:lstStyle/>
          <a:p>
            <a:r>
              <a:rPr lang="en-US" dirty="0"/>
              <a:t>Random Variable – Discrete data</a:t>
            </a:r>
          </a:p>
        </p:txBody>
      </p:sp>
      <p:sp>
        <p:nvSpPr>
          <p:cNvPr id="3" name="Content Placeholder 2">
            <a:extLst>
              <a:ext uri="{FF2B5EF4-FFF2-40B4-BE49-F238E27FC236}">
                <a16:creationId xmlns:a16="http://schemas.microsoft.com/office/drawing/2014/main" id="{80BD8A89-D4BB-459A-A464-A6D6E62C8A48}"/>
              </a:ext>
            </a:extLst>
          </p:cNvPr>
          <p:cNvSpPr>
            <a:spLocks noGrp="1"/>
          </p:cNvSpPr>
          <p:nvPr>
            <p:ph sz="half" idx="13"/>
          </p:nvPr>
        </p:nvSpPr>
        <p:spPr>
          <a:xfrm>
            <a:off x="255531" y="971550"/>
            <a:ext cx="7510606" cy="3200400"/>
          </a:xfrm>
        </p:spPr>
        <p:txBody>
          <a:bodyPr/>
          <a:lstStyle/>
          <a:p>
            <a:r>
              <a:rPr lang="en-US" dirty="0"/>
              <a:t>Type of Random Variables</a:t>
            </a:r>
          </a:p>
          <a:p>
            <a:r>
              <a:rPr lang="en-US" dirty="0"/>
              <a:t>Discrete Data can only take certain values (such as 1,2,3,4,5)</a:t>
            </a:r>
          </a:p>
          <a:p>
            <a:r>
              <a:rPr lang="en-US" dirty="0"/>
              <a:t>Discrete data is counted</a:t>
            </a:r>
          </a:p>
          <a:p>
            <a:endParaRPr lang="en-US" dirty="0"/>
          </a:p>
          <a:p>
            <a:r>
              <a:rPr lang="en-US" dirty="0"/>
              <a:t>Example 1:</a:t>
            </a:r>
          </a:p>
          <a:p>
            <a:endParaRPr lang="en-US" dirty="0"/>
          </a:p>
          <a:p>
            <a:endParaRPr lang="en-US" dirty="0"/>
          </a:p>
          <a:p>
            <a:r>
              <a:rPr lang="en-US" dirty="0"/>
              <a:t>Example 2 : </a:t>
            </a:r>
          </a:p>
        </p:txBody>
      </p:sp>
    </p:spTree>
    <p:extLst>
      <p:ext uri="{BB962C8B-B14F-4D97-AF65-F5344CB8AC3E}">
        <p14:creationId xmlns:p14="http://schemas.microsoft.com/office/powerpoint/2010/main" val="1870432331"/>
      </p:ext>
    </p:extLst>
  </p:cSld>
  <p:clrMapOvr>
    <a:masterClrMapping/>
  </p:clrMapOvr>
  <p:transition spd="med">
    <p:wipe dir="r"/>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9AE41-7B26-4CA8-A659-8BDA8675EDA5}"/>
              </a:ext>
            </a:extLst>
          </p:cNvPr>
          <p:cNvSpPr>
            <a:spLocks noGrp="1"/>
          </p:cNvSpPr>
          <p:nvPr>
            <p:ph type="title"/>
          </p:nvPr>
        </p:nvSpPr>
        <p:spPr>
          <a:xfrm>
            <a:off x="0" y="22860"/>
            <a:ext cx="7674714" cy="640080"/>
          </a:xfrm>
        </p:spPr>
        <p:txBody>
          <a:bodyPr/>
          <a:lstStyle/>
          <a:p>
            <a:r>
              <a:rPr lang="en-US" dirty="0"/>
              <a:t>Random Variable – Continuous data</a:t>
            </a:r>
          </a:p>
        </p:txBody>
      </p:sp>
      <p:sp>
        <p:nvSpPr>
          <p:cNvPr id="3" name="Content Placeholder 2">
            <a:extLst>
              <a:ext uri="{FF2B5EF4-FFF2-40B4-BE49-F238E27FC236}">
                <a16:creationId xmlns:a16="http://schemas.microsoft.com/office/drawing/2014/main" id="{EE612399-F008-4C1A-B214-C3F21F098966}"/>
              </a:ext>
            </a:extLst>
          </p:cNvPr>
          <p:cNvSpPr>
            <a:spLocks noGrp="1"/>
          </p:cNvSpPr>
          <p:nvPr>
            <p:ph sz="half" idx="13"/>
          </p:nvPr>
        </p:nvSpPr>
        <p:spPr>
          <a:xfrm>
            <a:off x="174111" y="848012"/>
            <a:ext cx="8230853" cy="3200400"/>
          </a:xfrm>
        </p:spPr>
        <p:txBody>
          <a:bodyPr/>
          <a:lstStyle/>
          <a:p>
            <a:r>
              <a:rPr lang="en-US" b="0" i="0" dirty="0">
                <a:solidFill>
                  <a:srgbClr val="333333"/>
                </a:solidFill>
                <a:effectLst/>
                <a:latin typeface="Verdana" panose="020B0604030504040204" pitchFamily="34" charset="0"/>
              </a:rPr>
              <a:t>Continuous Data can take any value within a range (such as a person's height)</a:t>
            </a:r>
          </a:p>
          <a:p>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Examples : </a:t>
            </a:r>
          </a:p>
          <a:p>
            <a:endParaRPr lang="en-US" dirty="0"/>
          </a:p>
        </p:txBody>
      </p:sp>
    </p:spTree>
    <p:extLst>
      <p:ext uri="{BB962C8B-B14F-4D97-AF65-F5344CB8AC3E}">
        <p14:creationId xmlns:p14="http://schemas.microsoft.com/office/powerpoint/2010/main" val="2845260871"/>
      </p:ext>
    </p:extLst>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019E3-33F8-45DD-9B54-B567FCE03CC1}"/>
              </a:ext>
            </a:extLst>
          </p:cNvPr>
          <p:cNvSpPr>
            <a:spLocks noGrp="1"/>
          </p:cNvSpPr>
          <p:nvPr>
            <p:ph type="title"/>
          </p:nvPr>
        </p:nvSpPr>
        <p:spPr>
          <a:xfrm>
            <a:off x="0" y="83996"/>
            <a:ext cx="7955280" cy="640080"/>
          </a:xfrm>
        </p:spPr>
        <p:txBody>
          <a:bodyPr/>
          <a:lstStyle/>
          <a:p>
            <a:r>
              <a:rPr lang="en-US" dirty="0"/>
              <a:t>Descriptive Statistics</a:t>
            </a:r>
          </a:p>
        </p:txBody>
      </p:sp>
      <p:sp>
        <p:nvSpPr>
          <p:cNvPr id="3" name="Content Placeholder 2">
            <a:extLst>
              <a:ext uri="{FF2B5EF4-FFF2-40B4-BE49-F238E27FC236}">
                <a16:creationId xmlns:a16="http://schemas.microsoft.com/office/drawing/2014/main" id="{C4821D91-408E-4E7F-A0CC-421C8F3872D1}"/>
              </a:ext>
            </a:extLst>
          </p:cNvPr>
          <p:cNvSpPr>
            <a:spLocks noGrp="1"/>
          </p:cNvSpPr>
          <p:nvPr>
            <p:ph sz="half" idx="13"/>
          </p:nvPr>
        </p:nvSpPr>
        <p:spPr>
          <a:xfrm>
            <a:off x="55113" y="765568"/>
            <a:ext cx="8481373" cy="1218782"/>
          </a:xfrm>
        </p:spPr>
        <p:txBody>
          <a:bodyPr>
            <a:noAutofit/>
          </a:bodyPr>
          <a:lstStyle/>
          <a:p>
            <a:r>
              <a:rPr lang="en-US" dirty="0">
                <a:solidFill>
                  <a:schemeClr val="bg2">
                    <a:lumMod val="50000"/>
                    <a:lumOff val="50000"/>
                  </a:schemeClr>
                </a:solidFill>
              </a:rPr>
              <a:t>Descriptive statistics is a term given to the analysis of data that helps to describe, show and summarize data in a meaningful way. It is a simple way to describe our data.</a:t>
            </a:r>
          </a:p>
          <a:p>
            <a:r>
              <a:rPr lang="en-US" dirty="0">
                <a:solidFill>
                  <a:schemeClr val="bg2">
                    <a:lumMod val="50000"/>
                    <a:lumOff val="50000"/>
                  </a:schemeClr>
                </a:solidFill>
              </a:rPr>
              <a:t> Descriptive statistics is very important to present our raw data in effective/meaningful way using numerical calculations or graphs or tables. This type of statistics is applied on already known data.</a:t>
            </a:r>
          </a:p>
          <a:p>
            <a:r>
              <a:rPr lang="en-US" dirty="0">
                <a:solidFill>
                  <a:schemeClr val="bg2">
                    <a:lumMod val="50000"/>
                    <a:lumOff val="50000"/>
                  </a:schemeClr>
                </a:solidFill>
              </a:rPr>
              <a:t>Types of Descriptive Statistics</a:t>
            </a:r>
          </a:p>
          <a:p>
            <a:pPr lvl="1"/>
            <a:r>
              <a:rPr lang="en-US" sz="1400" dirty="0">
                <a:solidFill>
                  <a:schemeClr val="bg2">
                    <a:lumMod val="50000"/>
                    <a:lumOff val="50000"/>
                  </a:schemeClr>
                </a:solidFill>
              </a:rPr>
              <a:t>Measure of Central tendency</a:t>
            </a:r>
          </a:p>
          <a:p>
            <a:pPr lvl="1"/>
            <a:r>
              <a:rPr lang="en-US" sz="1400" dirty="0">
                <a:solidFill>
                  <a:schemeClr val="bg2">
                    <a:lumMod val="50000"/>
                    <a:lumOff val="50000"/>
                  </a:schemeClr>
                </a:solidFill>
              </a:rPr>
              <a:t>Measure of Variability</a:t>
            </a:r>
          </a:p>
          <a:p>
            <a:pPr lvl="1"/>
            <a:endParaRPr lang="en-US" sz="1400" dirty="0">
              <a:solidFill>
                <a:schemeClr val="bg2">
                  <a:lumMod val="50000"/>
                  <a:lumOff val="50000"/>
                </a:schemeClr>
              </a:solidFill>
            </a:endParaRP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A5F33009-BB40-478D-B2AE-ADDA39C6592A}"/>
              </a:ext>
            </a:extLst>
          </p:cNvPr>
          <p:cNvPicPr>
            <a:picLocks noChangeAspect="1"/>
          </p:cNvPicPr>
          <p:nvPr/>
        </p:nvPicPr>
        <p:blipFill>
          <a:blip r:embed="rId2"/>
          <a:stretch>
            <a:fillRect/>
          </a:stretch>
        </p:blipFill>
        <p:spPr>
          <a:xfrm>
            <a:off x="3357817" y="2108705"/>
            <a:ext cx="4597463" cy="1675599"/>
          </a:xfrm>
          <a:prstGeom prst="rect">
            <a:avLst/>
          </a:prstGeom>
        </p:spPr>
      </p:pic>
      <p:sp>
        <p:nvSpPr>
          <p:cNvPr id="4" name="Rectangle 3">
            <a:extLst>
              <a:ext uri="{FF2B5EF4-FFF2-40B4-BE49-F238E27FC236}">
                <a16:creationId xmlns:a16="http://schemas.microsoft.com/office/drawing/2014/main" id="{E7D97A91-589E-4FF7-B191-1179B210D296}"/>
              </a:ext>
            </a:extLst>
          </p:cNvPr>
          <p:cNvSpPr/>
          <p:nvPr/>
        </p:nvSpPr>
        <p:spPr>
          <a:xfrm>
            <a:off x="6568322" y="3517996"/>
            <a:ext cx="551433" cy="167525"/>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a:solidFill>
                <a:schemeClr val="tx2"/>
              </a:solidFill>
              <a:latin typeface="+mn-lt"/>
            </a:endParaRPr>
          </a:p>
        </p:txBody>
      </p:sp>
      <p:sp>
        <p:nvSpPr>
          <p:cNvPr id="5" name="TextBox 4">
            <a:extLst>
              <a:ext uri="{FF2B5EF4-FFF2-40B4-BE49-F238E27FC236}">
                <a16:creationId xmlns:a16="http://schemas.microsoft.com/office/drawing/2014/main" id="{2717AC45-F872-450C-BBDC-D605C3F757A6}"/>
              </a:ext>
            </a:extLst>
          </p:cNvPr>
          <p:cNvSpPr txBox="1"/>
          <p:nvPr/>
        </p:nvSpPr>
        <p:spPr>
          <a:xfrm>
            <a:off x="6484561" y="3446994"/>
            <a:ext cx="1270388" cy="477054"/>
          </a:xfrm>
          <a:prstGeom prst="rect">
            <a:avLst/>
          </a:prstGeom>
          <a:noFill/>
        </p:spPr>
        <p:txBody>
          <a:bodyPr wrap="square" rtlCol="0">
            <a:spAutoFit/>
          </a:bodyPr>
          <a:lstStyle/>
          <a:p>
            <a:pPr>
              <a:spcBef>
                <a:spcPts val="0"/>
              </a:spcBef>
              <a:spcAft>
                <a:spcPts val="0"/>
              </a:spcAft>
              <a:buClr>
                <a:schemeClr val="bg1"/>
              </a:buClr>
            </a:pPr>
            <a:r>
              <a:rPr lang="en-US" sz="1100" b="1" dirty="0">
                <a:solidFill>
                  <a:schemeClr val="accent2">
                    <a:lumMod val="75000"/>
                  </a:schemeClr>
                </a:solidFill>
                <a:latin typeface="+mn-lt"/>
              </a:rPr>
              <a:t>Varianc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999464151"/>
      </p:ext>
    </p:extLst>
  </p:cSld>
  <p:clrMapOvr>
    <a:masterClrMapping/>
  </p:clrMapOvr>
  <p:transition spd="med">
    <p:wipe dir="r"/>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D7CF4-92B7-4920-A71A-4B716323EDA4}"/>
              </a:ext>
            </a:extLst>
          </p:cNvPr>
          <p:cNvSpPr>
            <a:spLocks noGrp="1"/>
          </p:cNvSpPr>
          <p:nvPr>
            <p:ph type="title"/>
          </p:nvPr>
        </p:nvSpPr>
        <p:spPr>
          <a:xfrm>
            <a:off x="0" y="22860"/>
            <a:ext cx="4295219" cy="640080"/>
          </a:xfrm>
        </p:spPr>
        <p:txBody>
          <a:bodyPr/>
          <a:lstStyle/>
          <a:p>
            <a:r>
              <a:rPr lang="en-US" dirty="0"/>
              <a:t>Confidence Intervals</a:t>
            </a:r>
          </a:p>
        </p:txBody>
      </p:sp>
      <p:sp>
        <p:nvSpPr>
          <p:cNvPr id="3" name="Content Placeholder 2">
            <a:extLst>
              <a:ext uri="{FF2B5EF4-FFF2-40B4-BE49-F238E27FC236}">
                <a16:creationId xmlns:a16="http://schemas.microsoft.com/office/drawing/2014/main" id="{0C73159A-8F35-43F0-933D-2275023C268F}"/>
              </a:ext>
            </a:extLst>
          </p:cNvPr>
          <p:cNvSpPr>
            <a:spLocks noGrp="1"/>
          </p:cNvSpPr>
          <p:nvPr>
            <p:ph sz="half" idx="13"/>
          </p:nvPr>
        </p:nvSpPr>
        <p:spPr>
          <a:xfrm>
            <a:off x="61376" y="916905"/>
            <a:ext cx="8005386" cy="3200400"/>
          </a:xfrm>
        </p:spPr>
        <p:txBody>
          <a:bodyPr/>
          <a:lstStyle/>
          <a:p>
            <a:r>
              <a:rPr lang="en-US" b="0" i="0" dirty="0">
                <a:solidFill>
                  <a:srgbClr val="333333"/>
                </a:solidFill>
                <a:effectLst/>
                <a:latin typeface="Verdana" panose="020B0604030504040204" pitchFamily="34" charset="0"/>
              </a:rPr>
              <a:t>A Confidence Interval is a </a:t>
            </a:r>
            <a:r>
              <a:rPr lang="en-US" b="1" i="0" dirty="0">
                <a:solidFill>
                  <a:srgbClr val="333333"/>
                </a:solidFill>
                <a:effectLst/>
                <a:latin typeface="Verdana" panose="020B0604030504040204" pitchFamily="34" charset="0"/>
              </a:rPr>
              <a:t>range of values</a:t>
            </a:r>
            <a:r>
              <a:rPr lang="en-US" b="0" i="0" dirty="0">
                <a:solidFill>
                  <a:srgbClr val="333333"/>
                </a:solidFill>
                <a:effectLst/>
                <a:latin typeface="Verdana" panose="020B0604030504040204" pitchFamily="34" charset="0"/>
              </a:rPr>
              <a:t> we are fairly sure our </a:t>
            </a:r>
            <a:r>
              <a:rPr lang="en-US" b="1" i="0" dirty="0">
                <a:solidFill>
                  <a:srgbClr val="333333"/>
                </a:solidFill>
                <a:effectLst/>
                <a:latin typeface="Verdana" panose="020B0604030504040204" pitchFamily="34" charset="0"/>
              </a:rPr>
              <a:t>true value</a:t>
            </a:r>
            <a:r>
              <a:rPr lang="en-US" b="0" i="0" dirty="0">
                <a:solidFill>
                  <a:srgbClr val="333333"/>
                </a:solidFill>
                <a:effectLst/>
                <a:latin typeface="Verdana" panose="020B0604030504040204" pitchFamily="34" charset="0"/>
              </a:rPr>
              <a:t> lies in.</a:t>
            </a:r>
          </a:p>
          <a:p>
            <a:endParaRPr lang="en-US" dirty="0">
              <a:solidFill>
                <a:srgbClr val="333333"/>
              </a:solidFill>
              <a:latin typeface="Verdana" panose="020B0604030504040204" pitchFamily="34" charset="0"/>
            </a:endParaRPr>
          </a:p>
          <a:p>
            <a:pPr algn="l"/>
            <a:r>
              <a:rPr lang="en-US" b="0" i="0" dirty="0">
                <a:effectLst/>
                <a:latin typeface="Verdana" panose="020B0604030504040204" pitchFamily="34" charset="0"/>
              </a:rPr>
              <a:t>Example: Average Height</a:t>
            </a:r>
          </a:p>
          <a:p>
            <a:pPr marL="0" indent="0" algn="l">
              <a:buNone/>
            </a:pPr>
            <a:endParaRPr lang="en-US" b="0" i="0" dirty="0">
              <a:effectLst/>
              <a:latin typeface="Verdana" panose="020B0604030504040204" pitchFamily="34" charset="0"/>
            </a:endParaRPr>
          </a:p>
          <a:p>
            <a:pPr lvl="1"/>
            <a:r>
              <a:rPr lang="en-US" b="0" i="0" dirty="0">
                <a:solidFill>
                  <a:srgbClr val="333333"/>
                </a:solidFill>
                <a:effectLst/>
                <a:latin typeface="Verdana" panose="020B0604030504040204" pitchFamily="34" charset="0"/>
              </a:rPr>
              <a:t>We measure the heights of </a:t>
            </a:r>
            <a:r>
              <a:rPr lang="en-US" b="1" i="0" dirty="0">
                <a:solidFill>
                  <a:srgbClr val="333333"/>
                </a:solidFill>
                <a:effectLst/>
                <a:latin typeface="Verdana" panose="020B0604030504040204" pitchFamily="34" charset="0"/>
              </a:rPr>
              <a:t>40</a:t>
            </a:r>
            <a:r>
              <a:rPr lang="en-US" b="0" i="0" dirty="0">
                <a:solidFill>
                  <a:srgbClr val="333333"/>
                </a:solidFill>
                <a:effectLst/>
                <a:latin typeface="Verdana" panose="020B0604030504040204" pitchFamily="34" charset="0"/>
              </a:rPr>
              <a:t> randomly chosen men, and get a </a:t>
            </a:r>
            <a:r>
              <a:rPr lang="en-US" b="0" i="0" dirty="0">
                <a:solidFill>
                  <a:srgbClr val="333333"/>
                </a:solidFill>
                <a:effectLst/>
                <a:latin typeface="Verdana" panose="020B0604030504040204" pitchFamily="34" charset="0"/>
                <a:hlinkClick r:id="rId2"/>
              </a:rPr>
              <a:t>mean</a:t>
            </a:r>
            <a:r>
              <a:rPr lang="en-US" b="0" i="0" dirty="0">
                <a:solidFill>
                  <a:srgbClr val="333333"/>
                </a:solidFill>
                <a:effectLst/>
                <a:latin typeface="Verdana" panose="020B0604030504040204" pitchFamily="34" charset="0"/>
              </a:rPr>
              <a:t> height of </a:t>
            </a:r>
            <a:r>
              <a:rPr lang="en-US" b="1" i="0" dirty="0">
                <a:solidFill>
                  <a:srgbClr val="333333"/>
                </a:solidFill>
                <a:effectLst/>
                <a:latin typeface="Verdana" panose="020B0604030504040204" pitchFamily="34" charset="0"/>
              </a:rPr>
              <a:t>175cm</a:t>
            </a:r>
            <a:r>
              <a:rPr lang="en-US" b="0" i="0" dirty="0">
                <a:solidFill>
                  <a:srgbClr val="333333"/>
                </a:solidFill>
                <a:effectLst/>
                <a:latin typeface="Verdana" panose="020B0604030504040204" pitchFamily="34" charset="0"/>
              </a:rPr>
              <a:t>,</a:t>
            </a:r>
          </a:p>
          <a:p>
            <a:pPr marL="342900" lvl="1" indent="0">
              <a:buNone/>
            </a:pPr>
            <a:endParaRPr lang="en-US" b="0" i="0" dirty="0">
              <a:solidFill>
                <a:srgbClr val="333333"/>
              </a:solidFill>
              <a:effectLst/>
              <a:latin typeface="Verdana" panose="020B0604030504040204" pitchFamily="34" charset="0"/>
            </a:endParaRPr>
          </a:p>
          <a:p>
            <a:pPr lvl="1"/>
            <a:r>
              <a:rPr lang="en-US" b="0" i="0" dirty="0">
                <a:solidFill>
                  <a:srgbClr val="333333"/>
                </a:solidFill>
                <a:effectLst/>
                <a:latin typeface="Verdana" panose="020B0604030504040204" pitchFamily="34" charset="0"/>
              </a:rPr>
              <a:t>We also know the </a:t>
            </a:r>
            <a:r>
              <a:rPr lang="en-US" b="0" i="0" dirty="0">
                <a:solidFill>
                  <a:srgbClr val="333333"/>
                </a:solidFill>
                <a:effectLst/>
                <a:latin typeface="Verdana" panose="020B0604030504040204" pitchFamily="34" charset="0"/>
                <a:hlinkClick r:id="rId3"/>
              </a:rPr>
              <a:t>standard deviation</a:t>
            </a:r>
            <a:r>
              <a:rPr lang="en-US" b="0" i="0" dirty="0">
                <a:solidFill>
                  <a:srgbClr val="333333"/>
                </a:solidFill>
                <a:effectLst/>
                <a:latin typeface="Verdana" panose="020B0604030504040204" pitchFamily="34" charset="0"/>
              </a:rPr>
              <a:t> of men's heights is </a:t>
            </a:r>
            <a:r>
              <a:rPr lang="en-US" b="1" i="0" dirty="0">
                <a:solidFill>
                  <a:srgbClr val="333333"/>
                </a:solidFill>
                <a:effectLst/>
                <a:latin typeface="Verdana" panose="020B0604030504040204" pitchFamily="34" charset="0"/>
              </a:rPr>
              <a:t>20cm</a:t>
            </a:r>
            <a:r>
              <a:rPr lang="en-US" b="0" i="0" dirty="0">
                <a:solidFill>
                  <a:srgbClr val="333333"/>
                </a:solidFill>
                <a:effectLst/>
                <a:latin typeface="Verdana" panose="020B0604030504040204" pitchFamily="34" charset="0"/>
              </a:rPr>
              <a:t>.</a:t>
            </a:r>
          </a:p>
          <a:p>
            <a:pPr marL="342900" lvl="1" indent="0">
              <a:buNone/>
            </a:pPr>
            <a:endParaRPr lang="en-US" b="0" i="0" dirty="0">
              <a:solidFill>
                <a:srgbClr val="333333"/>
              </a:solidFill>
              <a:effectLst/>
              <a:latin typeface="Verdana" panose="020B0604030504040204" pitchFamily="34" charset="0"/>
            </a:endParaRPr>
          </a:p>
          <a:p>
            <a:pPr lvl="1"/>
            <a:r>
              <a:rPr lang="en-US" b="0" i="0" dirty="0">
                <a:solidFill>
                  <a:srgbClr val="333333"/>
                </a:solidFill>
                <a:effectLst/>
                <a:latin typeface="Verdana" panose="020B0604030504040204" pitchFamily="34" charset="0"/>
              </a:rPr>
              <a:t>The </a:t>
            </a:r>
            <a:r>
              <a:rPr lang="en-US" b="1" i="0" dirty="0">
                <a:solidFill>
                  <a:srgbClr val="333333"/>
                </a:solidFill>
                <a:effectLst/>
                <a:latin typeface="Verdana" panose="020B0604030504040204" pitchFamily="34" charset="0"/>
              </a:rPr>
              <a:t>95% Confidence Interval</a:t>
            </a:r>
            <a:r>
              <a:rPr lang="en-US" b="0" i="0" dirty="0">
                <a:solidFill>
                  <a:srgbClr val="333333"/>
                </a:solidFill>
                <a:effectLst/>
                <a:latin typeface="Verdana" panose="020B0604030504040204" pitchFamily="34" charset="0"/>
              </a:rPr>
              <a:t> (we show how to calculate it later) is:</a:t>
            </a:r>
          </a:p>
          <a:p>
            <a:pPr marL="0" indent="0">
              <a:buNone/>
            </a:pPr>
            <a:endParaRPr lang="en-US" dirty="0"/>
          </a:p>
        </p:txBody>
      </p:sp>
    </p:spTree>
    <p:extLst>
      <p:ext uri="{BB962C8B-B14F-4D97-AF65-F5344CB8AC3E}">
        <p14:creationId xmlns:p14="http://schemas.microsoft.com/office/powerpoint/2010/main" val="3970923106"/>
      </p:ext>
    </p:extLst>
  </p:cSld>
  <p:clrMapOvr>
    <a:masterClrMapping/>
  </p:clrMapOvr>
  <p:transition spd="med">
    <p:wipe dir="r"/>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A7DBE-ECD5-4145-AACF-02FE24171615}"/>
              </a:ext>
            </a:extLst>
          </p:cNvPr>
          <p:cNvSpPr>
            <a:spLocks noGrp="1"/>
          </p:cNvSpPr>
          <p:nvPr>
            <p:ph type="title"/>
          </p:nvPr>
        </p:nvSpPr>
        <p:spPr>
          <a:xfrm>
            <a:off x="0" y="0"/>
            <a:ext cx="7092254"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403DBEB0-0428-4278-AA0A-74278D20304C}"/>
              </a:ext>
            </a:extLst>
          </p:cNvPr>
          <p:cNvSpPr>
            <a:spLocks noGrp="1"/>
          </p:cNvSpPr>
          <p:nvPr>
            <p:ph sz="half" idx="13"/>
          </p:nvPr>
        </p:nvSpPr>
        <p:spPr>
          <a:xfrm>
            <a:off x="167847" y="716489"/>
            <a:ext cx="7736075" cy="3191632"/>
          </a:xfrm>
        </p:spPr>
        <p:txBody>
          <a:bodyPr/>
          <a:lstStyle/>
          <a:p>
            <a:pPr algn="l"/>
            <a:r>
              <a:rPr lang="en-US" b="1" i="0" dirty="0">
                <a:solidFill>
                  <a:srgbClr val="333333"/>
                </a:solidFill>
                <a:effectLst/>
                <a:latin typeface="Verdana" panose="020B0604030504040204" pitchFamily="34" charset="0"/>
              </a:rPr>
              <a:t>Step 1</a:t>
            </a:r>
            <a:r>
              <a:rPr lang="en-US" b="0" i="0" dirty="0">
                <a:solidFill>
                  <a:srgbClr val="333333"/>
                </a:solidFill>
                <a:effectLst/>
                <a:latin typeface="Verdana" panose="020B0604030504040204" pitchFamily="34" charset="0"/>
              </a:rPr>
              <a:t>: start with</a:t>
            </a:r>
          </a:p>
          <a:p>
            <a:pPr lvl="1">
              <a:buFont typeface="Arial" panose="020B0604020202020204" pitchFamily="34" charset="0"/>
              <a:buChar char="•"/>
            </a:pPr>
            <a:r>
              <a:rPr lang="en-US" b="0" i="0" dirty="0">
                <a:solidFill>
                  <a:srgbClr val="333333"/>
                </a:solidFill>
                <a:effectLst/>
                <a:latin typeface="Verdana" panose="020B0604030504040204" pitchFamily="34" charset="0"/>
              </a:rPr>
              <a:t>the number of observations </a:t>
            </a:r>
            <a:r>
              <a:rPr lang="en-US" b="1" i="0" dirty="0">
                <a:solidFill>
                  <a:srgbClr val="333333"/>
                </a:solidFill>
                <a:effectLst/>
                <a:latin typeface="Verdana" panose="020B0604030504040204" pitchFamily="34" charset="0"/>
              </a:rPr>
              <a:t>n</a:t>
            </a:r>
            <a:endParaRPr lang="en-US" b="0" i="0" dirty="0">
              <a:solidFill>
                <a:srgbClr val="333333"/>
              </a:solidFill>
              <a:effectLst/>
              <a:latin typeface="Verdana" panose="020B0604030504040204" pitchFamily="34" charset="0"/>
            </a:endParaRPr>
          </a:p>
          <a:p>
            <a:pPr lvl="1">
              <a:buFont typeface="Arial" panose="020B0604020202020204" pitchFamily="34" charset="0"/>
              <a:buChar char="•"/>
            </a:pPr>
            <a:r>
              <a:rPr lang="en-US" b="0" i="0" dirty="0">
                <a:solidFill>
                  <a:srgbClr val="333333"/>
                </a:solidFill>
                <a:effectLst/>
                <a:latin typeface="Verdana" panose="020B0604030504040204" pitchFamily="34" charset="0"/>
              </a:rPr>
              <a:t>the mean </a:t>
            </a:r>
            <a:r>
              <a:rPr lang="en-US" b="1" i="0" dirty="0">
                <a:solidFill>
                  <a:srgbClr val="333333"/>
                </a:solidFill>
                <a:effectLst/>
                <a:latin typeface="Verdana" panose="020B0604030504040204" pitchFamily="34" charset="0"/>
              </a:rPr>
              <a:t>X</a:t>
            </a:r>
            <a:endParaRPr lang="en-US" b="0" i="0" dirty="0">
              <a:solidFill>
                <a:srgbClr val="333333"/>
              </a:solidFill>
              <a:effectLst/>
              <a:latin typeface="Verdana" panose="020B0604030504040204" pitchFamily="34" charset="0"/>
            </a:endParaRPr>
          </a:p>
          <a:p>
            <a:pPr lvl="1">
              <a:buFont typeface="Arial" panose="020B0604020202020204" pitchFamily="34" charset="0"/>
              <a:buChar char="•"/>
            </a:pPr>
            <a:r>
              <a:rPr lang="en-US" b="0" i="0" dirty="0">
                <a:solidFill>
                  <a:srgbClr val="333333"/>
                </a:solidFill>
                <a:effectLst/>
                <a:latin typeface="Verdana" panose="020B0604030504040204" pitchFamily="34" charset="0"/>
              </a:rPr>
              <a:t>and the </a:t>
            </a:r>
            <a:r>
              <a:rPr lang="en-US" dirty="0">
                <a:solidFill>
                  <a:srgbClr val="333333"/>
                </a:solidFill>
                <a:latin typeface="Verdana" panose="020B0604030504040204" pitchFamily="34" charset="0"/>
                <a:hlinkClick r:id="rId2">
                  <a:extLst>
                    <a:ext uri="{A12FA001-AC4F-418D-AE19-62706E023703}">
                      <ahyp:hlinkClr xmlns:ahyp="http://schemas.microsoft.com/office/drawing/2018/hyperlinkcolor" val="tx"/>
                    </a:ext>
                  </a:extLst>
                </a:hlinkClick>
              </a:rPr>
              <a:t>standard deviation</a:t>
            </a:r>
            <a:r>
              <a:rPr lang="en-US" dirty="0">
                <a:solidFill>
                  <a:srgbClr val="333333"/>
                </a:solidFill>
                <a:latin typeface="Verdana" panose="020B0604030504040204" pitchFamily="34" charset="0"/>
              </a:rPr>
              <a:t> </a:t>
            </a:r>
            <a:r>
              <a:rPr lang="en-US" b="1" i="0" dirty="0">
                <a:solidFill>
                  <a:srgbClr val="333333"/>
                </a:solidFill>
                <a:effectLst/>
                <a:latin typeface="Verdana" panose="020B0604030504040204" pitchFamily="34" charset="0"/>
              </a:rPr>
              <a:t>s</a:t>
            </a:r>
            <a:endParaRPr lang="en-US" b="0" i="0" dirty="0">
              <a:solidFill>
                <a:srgbClr val="333333"/>
              </a:solidFill>
              <a:effectLst/>
              <a:latin typeface="Verdana" panose="020B0604030504040204" pitchFamily="34" charset="0"/>
            </a:endParaRPr>
          </a:p>
          <a:p>
            <a:pPr marL="0" indent="0">
              <a:buNone/>
            </a:pPr>
            <a:endParaRPr lang="en-US" dirty="0"/>
          </a:p>
        </p:txBody>
      </p:sp>
      <p:sp>
        <p:nvSpPr>
          <p:cNvPr id="4" name="TextBox 3">
            <a:extLst>
              <a:ext uri="{FF2B5EF4-FFF2-40B4-BE49-F238E27FC236}">
                <a16:creationId xmlns:a16="http://schemas.microsoft.com/office/drawing/2014/main" id="{842FB696-E502-40B6-B18A-3CD403E8FAA8}"/>
              </a:ext>
            </a:extLst>
          </p:cNvPr>
          <p:cNvSpPr txBox="1"/>
          <p:nvPr/>
        </p:nvSpPr>
        <p:spPr>
          <a:xfrm>
            <a:off x="1139868" y="1738443"/>
            <a:ext cx="6764054" cy="984885"/>
          </a:xfrm>
          <a:prstGeom prst="rect">
            <a:avLst/>
          </a:prstGeom>
          <a:noFill/>
        </p:spPr>
        <p:txBody>
          <a:bodyPr wrap="square" rtlCol="0">
            <a:spAutoFit/>
          </a:bodyPr>
          <a:lstStyle/>
          <a:p>
            <a:pPr algn="l"/>
            <a:r>
              <a:rPr lang="en-US" sz="1100" b="0" i="1" dirty="0">
                <a:solidFill>
                  <a:schemeClr val="bg1"/>
                </a:solidFill>
                <a:effectLst/>
                <a:latin typeface="Verdana" panose="020B0604030504040204" pitchFamily="34" charset="0"/>
              </a:rPr>
              <a:t>Note: we should use the standard deviation of the entire </a:t>
            </a:r>
            <a:r>
              <a:rPr lang="en-US" sz="1100" b="1" i="1" dirty="0">
                <a:solidFill>
                  <a:schemeClr val="bg1"/>
                </a:solidFill>
                <a:effectLst/>
                <a:latin typeface="Verdana" panose="020B0604030504040204" pitchFamily="34" charset="0"/>
              </a:rPr>
              <a:t>population</a:t>
            </a:r>
            <a:r>
              <a:rPr lang="en-US" sz="1100" b="0" i="1" dirty="0">
                <a:solidFill>
                  <a:schemeClr val="bg1"/>
                </a:solidFill>
                <a:effectLst/>
                <a:latin typeface="Verdana" panose="020B0604030504040204" pitchFamily="34" charset="0"/>
              </a:rPr>
              <a:t>, but in many cases we won't know it.</a:t>
            </a:r>
          </a:p>
          <a:p>
            <a:pPr algn="l"/>
            <a:r>
              <a:rPr lang="en-US" sz="1100" b="0" i="1" dirty="0">
                <a:solidFill>
                  <a:schemeClr val="bg1"/>
                </a:solidFill>
                <a:effectLst/>
                <a:latin typeface="Verdana" panose="020B0604030504040204" pitchFamily="34" charset="0"/>
              </a:rPr>
              <a:t>We can use the standard deviation for the </a:t>
            </a:r>
            <a:r>
              <a:rPr lang="en-US" sz="1100" b="1" i="1" dirty="0">
                <a:solidFill>
                  <a:schemeClr val="bg1"/>
                </a:solidFill>
                <a:effectLst/>
                <a:latin typeface="Verdana" panose="020B0604030504040204" pitchFamily="34" charset="0"/>
              </a:rPr>
              <a:t>sample</a:t>
            </a:r>
            <a:r>
              <a:rPr lang="en-US" sz="1100" b="0" i="1" dirty="0">
                <a:solidFill>
                  <a:schemeClr val="bg1"/>
                </a:solidFill>
                <a:effectLst/>
                <a:latin typeface="Verdana" panose="020B0604030504040204" pitchFamily="34" charset="0"/>
              </a:rPr>
              <a:t> if we have enough observations (at least n=30, hopefully more).</a:t>
            </a:r>
          </a:p>
          <a:p>
            <a:pPr>
              <a:spcBef>
                <a:spcPts val="0"/>
              </a:spcBef>
              <a:spcAft>
                <a:spcPts val="0"/>
              </a:spcAft>
              <a:buClr>
                <a:schemeClr val="bg1"/>
              </a:buClr>
            </a:pPr>
            <a:endParaRPr lang="en-US" sz="1400" dirty="0" err="1">
              <a:solidFill>
                <a:schemeClr val="bg2"/>
              </a:solidFill>
              <a:latin typeface="+mn-lt"/>
            </a:endParaRPr>
          </a:p>
        </p:txBody>
      </p:sp>
      <p:sp>
        <p:nvSpPr>
          <p:cNvPr id="6" name="TextBox 5">
            <a:extLst>
              <a:ext uri="{FF2B5EF4-FFF2-40B4-BE49-F238E27FC236}">
                <a16:creationId xmlns:a16="http://schemas.microsoft.com/office/drawing/2014/main" id="{BE653EAA-3599-4972-A707-159104F60712}"/>
              </a:ext>
            </a:extLst>
          </p:cNvPr>
          <p:cNvSpPr txBox="1"/>
          <p:nvPr/>
        </p:nvSpPr>
        <p:spPr>
          <a:xfrm>
            <a:off x="167847" y="2830368"/>
            <a:ext cx="5492656" cy="1538883"/>
          </a:xfrm>
          <a:prstGeom prst="rect">
            <a:avLst/>
          </a:prstGeom>
          <a:noFill/>
        </p:spPr>
        <p:txBody>
          <a:bodyPr wrap="square" rtlCol="0">
            <a:spAutoFit/>
          </a:bodyPr>
          <a:lstStyle/>
          <a:p>
            <a:pPr marL="171450" indent="-171450">
              <a:spcAft>
                <a:spcPts val="0"/>
              </a:spcAft>
              <a:buClr>
                <a:srgbClr val="AAAAAA"/>
              </a:buClr>
              <a:buFont typeface="Arial" pitchFamily="34" charset="0"/>
              <a:buChar char="•"/>
            </a:pPr>
            <a:r>
              <a:rPr lang="en-US" sz="1600" b="1" dirty="0">
                <a:solidFill>
                  <a:srgbClr val="333333"/>
                </a:solidFill>
                <a:latin typeface="Verdana" panose="020B0604030504040204" pitchFamily="34" charset="0"/>
                <a:cs typeface="Arial" panose="020B0604020202020204" pitchFamily="34" charset="0"/>
              </a:rPr>
              <a:t>Using our example:</a:t>
            </a:r>
          </a:p>
          <a:p>
            <a:pPr marL="171450" indent="-171450">
              <a:spcAft>
                <a:spcPts val="0"/>
              </a:spcAft>
              <a:buClr>
                <a:srgbClr val="AAAAAA"/>
              </a:buClr>
              <a:buFont typeface="Arial" pitchFamily="34" charset="0"/>
              <a:buChar char="•"/>
            </a:pPr>
            <a:endParaRPr lang="en-US" sz="1600" dirty="0">
              <a:solidFill>
                <a:srgbClr val="333333"/>
              </a:solidFill>
              <a:latin typeface="Verdana" panose="020B0604030504040204" pitchFamily="34" charset="0"/>
              <a:cs typeface="Arial" panose="020B0604020202020204" pitchFamily="34" charset="0"/>
            </a:endParaRPr>
          </a:p>
          <a:p>
            <a:pPr marL="628650" lvl="1" indent="-171450">
              <a:spcAft>
                <a:spcPts val="0"/>
              </a:spcAft>
              <a:buClr>
                <a:srgbClr val="AAAAAA"/>
              </a:buClr>
              <a:buFont typeface="Arial" pitchFamily="34" charset="0"/>
              <a:buChar char="•"/>
            </a:pPr>
            <a:r>
              <a:rPr lang="en-US" sz="1600" dirty="0">
                <a:solidFill>
                  <a:srgbClr val="333333"/>
                </a:solidFill>
                <a:latin typeface="Verdana" panose="020B0604030504040204" pitchFamily="34" charset="0"/>
                <a:cs typeface="Arial" panose="020B0604020202020204" pitchFamily="34" charset="0"/>
              </a:rPr>
              <a:t>number of observations n = </a:t>
            </a:r>
          </a:p>
          <a:p>
            <a:pPr marL="628650" lvl="1" indent="-171450">
              <a:spcAft>
                <a:spcPts val="0"/>
              </a:spcAft>
              <a:buClr>
                <a:srgbClr val="AAAAAA"/>
              </a:buClr>
              <a:buFont typeface="Arial" pitchFamily="34" charset="0"/>
              <a:buChar char="•"/>
            </a:pPr>
            <a:r>
              <a:rPr lang="en-US" sz="1600" dirty="0">
                <a:solidFill>
                  <a:srgbClr val="333333"/>
                </a:solidFill>
                <a:latin typeface="Verdana" panose="020B0604030504040204" pitchFamily="34" charset="0"/>
                <a:cs typeface="Arial" panose="020B0604020202020204" pitchFamily="34" charset="0"/>
              </a:rPr>
              <a:t>mean X = </a:t>
            </a:r>
          </a:p>
          <a:p>
            <a:pPr marL="628650" lvl="1" indent="-171450">
              <a:spcAft>
                <a:spcPts val="0"/>
              </a:spcAft>
              <a:buClr>
                <a:srgbClr val="AAAAAA"/>
              </a:buClr>
              <a:buFont typeface="Arial" pitchFamily="34" charset="0"/>
              <a:buChar char="•"/>
            </a:pPr>
            <a:r>
              <a:rPr lang="en-US" sz="1600" dirty="0">
                <a:solidFill>
                  <a:srgbClr val="333333"/>
                </a:solidFill>
                <a:latin typeface="Verdana" panose="020B0604030504040204" pitchFamily="34" charset="0"/>
                <a:cs typeface="Arial" panose="020B0604020202020204" pitchFamily="34" charset="0"/>
              </a:rPr>
              <a:t>standard deviation s = </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865839684"/>
      </p:ext>
    </p:extLst>
  </p:cSld>
  <p:clrMapOvr>
    <a:masterClrMapping/>
  </p:clrMapOvr>
  <p:transition spd="med">
    <p:wipe dir="r"/>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DDA18-B66A-449B-98BD-B64ACD738D58}"/>
              </a:ext>
            </a:extLst>
          </p:cNvPr>
          <p:cNvSpPr>
            <a:spLocks noGrp="1"/>
          </p:cNvSpPr>
          <p:nvPr>
            <p:ph type="title"/>
          </p:nvPr>
        </p:nvSpPr>
        <p:spPr>
          <a:xfrm>
            <a:off x="0" y="0"/>
            <a:ext cx="7461772"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0DEC4DE1-D815-4500-A890-33F936580ADB}"/>
              </a:ext>
            </a:extLst>
          </p:cNvPr>
          <p:cNvSpPr>
            <a:spLocks noGrp="1"/>
          </p:cNvSpPr>
          <p:nvPr>
            <p:ph sz="half" idx="13"/>
          </p:nvPr>
        </p:nvSpPr>
        <p:spPr>
          <a:xfrm>
            <a:off x="68085" y="971550"/>
            <a:ext cx="7203719" cy="3200400"/>
          </a:xfrm>
        </p:spPr>
        <p:txBody>
          <a:bodyPr/>
          <a:lstStyle/>
          <a:p>
            <a:r>
              <a:rPr lang="en-US" b="1" i="0" dirty="0">
                <a:solidFill>
                  <a:srgbClr val="333333"/>
                </a:solidFill>
                <a:effectLst/>
                <a:latin typeface="Verdana" panose="020B0604030504040204" pitchFamily="34" charset="0"/>
              </a:rPr>
              <a:t>Step 2</a:t>
            </a:r>
            <a:r>
              <a:rPr lang="en-US" b="0" i="0" dirty="0">
                <a:solidFill>
                  <a:srgbClr val="333333"/>
                </a:solidFill>
                <a:effectLst/>
                <a:latin typeface="Verdana" panose="020B0604030504040204" pitchFamily="34" charset="0"/>
              </a:rPr>
              <a:t>: decide what Confidence Interval we want: 95% or 99% are common choices. Then find the "Z" value for that Confidence Interval here:</a:t>
            </a:r>
          </a:p>
          <a:p>
            <a:endParaRPr lang="en-US" dirty="0">
              <a:solidFill>
                <a:srgbClr val="333333"/>
              </a:solidFill>
              <a:latin typeface="Verdana" panose="020B0604030504040204" pitchFamily="34" charset="0"/>
            </a:endParaRPr>
          </a:p>
          <a:p>
            <a:endParaRPr lang="en-US" dirty="0">
              <a:solidFill>
                <a:srgbClr val="333333"/>
              </a:solidFill>
              <a:latin typeface="Verdana" panose="020B0604030504040204" pitchFamily="34" charset="0"/>
            </a:endParaRPr>
          </a:p>
          <a:p>
            <a:r>
              <a:rPr lang="en-US" dirty="0">
                <a:solidFill>
                  <a:srgbClr val="333333"/>
                </a:solidFill>
                <a:latin typeface="Verdana" panose="020B0604030504040204" pitchFamily="34" charset="0"/>
              </a:rPr>
              <a:t>For 95% the Z value is ? </a:t>
            </a:r>
            <a:endParaRPr lang="en-US" dirty="0"/>
          </a:p>
        </p:txBody>
      </p:sp>
      <p:pic>
        <p:nvPicPr>
          <p:cNvPr id="5" name="Picture 4">
            <a:extLst>
              <a:ext uri="{FF2B5EF4-FFF2-40B4-BE49-F238E27FC236}">
                <a16:creationId xmlns:a16="http://schemas.microsoft.com/office/drawing/2014/main" id="{5DC21A6E-251F-4C38-9C9F-D3F104798D9E}"/>
              </a:ext>
            </a:extLst>
          </p:cNvPr>
          <p:cNvPicPr>
            <a:picLocks noChangeAspect="1"/>
          </p:cNvPicPr>
          <p:nvPr/>
        </p:nvPicPr>
        <p:blipFill>
          <a:blip r:embed="rId2"/>
          <a:stretch>
            <a:fillRect/>
          </a:stretch>
        </p:blipFill>
        <p:spPr>
          <a:xfrm>
            <a:off x="7551941" y="732772"/>
            <a:ext cx="1523974" cy="3471275"/>
          </a:xfrm>
          <a:prstGeom prst="rect">
            <a:avLst/>
          </a:prstGeom>
        </p:spPr>
      </p:pic>
    </p:spTree>
    <p:extLst>
      <p:ext uri="{BB962C8B-B14F-4D97-AF65-F5344CB8AC3E}">
        <p14:creationId xmlns:p14="http://schemas.microsoft.com/office/powerpoint/2010/main" val="3439140784"/>
      </p:ext>
    </p:extLst>
  </p:cSld>
  <p:clrMapOvr>
    <a:masterClrMapping/>
  </p:clrMapOvr>
  <p:transition spd="med">
    <p:wipe dir="r"/>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5F449-5FDA-4EBA-90F5-626CD9FC0F46}"/>
              </a:ext>
            </a:extLst>
          </p:cNvPr>
          <p:cNvSpPr>
            <a:spLocks noGrp="1"/>
          </p:cNvSpPr>
          <p:nvPr>
            <p:ph type="title"/>
          </p:nvPr>
        </p:nvSpPr>
        <p:spPr>
          <a:xfrm>
            <a:off x="0" y="0"/>
            <a:ext cx="8426276"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0E638BA1-5338-40A1-800A-32E33D88D3B6}"/>
              </a:ext>
            </a:extLst>
          </p:cNvPr>
          <p:cNvSpPr>
            <a:spLocks noGrp="1"/>
          </p:cNvSpPr>
          <p:nvPr>
            <p:ph sz="half" idx="13"/>
          </p:nvPr>
        </p:nvSpPr>
        <p:spPr>
          <a:xfrm>
            <a:off x="105219" y="810434"/>
            <a:ext cx="7967806" cy="3200400"/>
          </a:xfrm>
        </p:spPr>
        <p:txBody>
          <a:bodyPr/>
          <a:lstStyle/>
          <a:p>
            <a:pPr algn="l"/>
            <a:r>
              <a:rPr lang="en-US" b="1" i="0" dirty="0">
                <a:solidFill>
                  <a:srgbClr val="333333"/>
                </a:solidFill>
                <a:effectLst/>
                <a:latin typeface="Verdana" panose="020B0604030504040204" pitchFamily="34" charset="0"/>
              </a:rPr>
              <a:t>Step 3</a:t>
            </a:r>
            <a:r>
              <a:rPr lang="en-US" b="0" i="0" dirty="0">
                <a:solidFill>
                  <a:srgbClr val="333333"/>
                </a:solidFill>
                <a:effectLst/>
                <a:latin typeface="Verdana" panose="020B0604030504040204" pitchFamily="34" charset="0"/>
              </a:rPr>
              <a:t>: use that Z value in this formula for the Confidence Interval</a:t>
            </a:r>
          </a:p>
          <a:p>
            <a:endParaRPr lang="en-US" dirty="0"/>
          </a:p>
        </p:txBody>
      </p:sp>
      <p:pic>
        <p:nvPicPr>
          <p:cNvPr id="5" name="Picture 4">
            <a:extLst>
              <a:ext uri="{FF2B5EF4-FFF2-40B4-BE49-F238E27FC236}">
                <a16:creationId xmlns:a16="http://schemas.microsoft.com/office/drawing/2014/main" id="{615A0A7D-ECD1-4608-8DDB-F9DC3A1D6DA4}"/>
              </a:ext>
            </a:extLst>
          </p:cNvPr>
          <p:cNvPicPr>
            <a:picLocks noChangeAspect="1"/>
          </p:cNvPicPr>
          <p:nvPr/>
        </p:nvPicPr>
        <p:blipFill>
          <a:blip r:embed="rId2"/>
          <a:stretch>
            <a:fillRect/>
          </a:stretch>
        </p:blipFill>
        <p:spPr>
          <a:xfrm>
            <a:off x="3360650" y="1177903"/>
            <a:ext cx="1704975" cy="733425"/>
          </a:xfrm>
          <a:prstGeom prst="rect">
            <a:avLst/>
          </a:prstGeom>
        </p:spPr>
      </p:pic>
      <p:sp>
        <p:nvSpPr>
          <p:cNvPr id="6" name="TextBox 5">
            <a:extLst>
              <a:ext uri="{FF2B5EF4-FFF2-40B4-BE49-F238E27FC236}">
                <a16:creationId xmlns:a16="http://schemas.microsoft.com/office/drawing/2014/main" id="{A28B6B34-F37B-4F82-9498-C802902BF85B}"/>
              </a:ext>
            </a:extLst>
          </p:cNvPr>
          <p:cNvSpPr txBox="1"/>
          <p:nvPr/>
        </p:nvSpPr>
        <p:spPr>
          <a:xfrm>
            <a:off x="557407" y="2212377"/>
            <a:ext cx="6181596" cy="1862048"/>
          </a:xfrm>
          <a:prstGeom prst="rect">
            <a:avLst/>
          </a:prstGeom>
          <a:noFill/>
        </p:spPr>
        <p:txBody>
          <a:bodyPr wrap="square" rtlCol="0">
            <a:spAutoFit/>
          </a:bodyPr>
          <a:lstStyle/>
          <a:p>
            <a:pPr algn="l"/>
            <a:r>
              <a:rPr lang="en-US" sz="1100" b="1" i="0" dirty="0">
                <a:solidFill>
                  <a:srgbClr val="333333"/>
                </a:solidFill>
                <a:effectLst/>
                <a:latin typeface="Verdana" panose="020B0604030504040204" pitchFamily="34" charset="0"/>
              </a:rPr>
              <a:t>Where:</a:t>
            </a:r>
          </a:p>
          <a:p>
            <a:pPr algn="l"/>
            <a:endParaRPr lang="en-US" sz="1800" b="0" i="0" dirty="0">
              <a:solidFill>
                <a:srgbClr val="333333"/>
              </a:solidFill>
              <a:effectLst/>
              <a:latin typeface="Verdana" panose="020B0604030504040204" pitchFamily="34" charset="0"/>
            </a:endParaRPr>
          </a:p>
          <a:p>
            <a:pPr algn="l"/>
            <a:r>
              <a:rPr lang="en-US" sz="1800" b="1" i="0" dirty="0">
                <a:solidFill>
                  <a:srgbClr val="333333"/>
                </a:solidFill>
                <a:effectLst/>
                <a:latin typeface="Verdana" panose="020B0604030504040204" pitchFamily="34" charset="0"/>
              </a:rPr>
              <a:t>X</a:t>
            </a:r>
            <a:r>
              <a:rPr lang="en-US" sz="1800" b="0" i="0" dirty="0">
                <a:solidFill>
                  <a:srgbClr val="333333"/>
                </a:solidFill>
                <a:effectLst/>
                <a:latin typeface="Verdana" panose="020B0604030504040204" pitchFamily="34" charset="0"/>
              </a:rPr>
              <a:t> is the mean</a:t>
            </a:r>
          </a:p>
          <a:p>
            <a:pPr algn="l"/>
            <a:r>
              <a:rPr lang="en-US" sz="1800" b="1" i="0" dirty="0">
                <a:solidFill>
                  <a:srgbClr val="333333"/>
                </a:solidFill>
                <a:effectLst/>
                <a:latin typeface="Verdana" panose="020B0604030504040204" pitchFamily="34" charset="0"/>
              </a:rPr>
              <a:t>Z</a:t>
            </a:r>
            <a:r>
              <a:rPr lang="en-US" sz="1800" b="0" i="0" dirty="0">
                <a:solidFill>
                  <a:srgbClr val="333333"/>
                </a:solidFill>
                <a:effectLst/>
                <a:latin typeface="Verdana" panose="020B0604030504040204" pitchFamily="34" charset="0"/>
              </a:rPr>
              <a:t> is the chosen Z-value from the table above</a:t>
            </a:r>
          </a:p>
          <a:p>
            <a:pPr algn="l"/>
            <a:r>
              <a:rPr lang="en-US" sz="1800" b="1" i="0" dirty="0">
                <a:solidFill>
                  <a:srgbClr val="333333"/>
                </a:solidFill>
                <a:effectLst/>
                <a:latin typeface="Verdana" panose="020B0604030504040204" pitchFamily="34" charset="0"/>
              </a:rPr>
              <a:t>s</a:t>
            </a:r>
            <a:r>
              <a:rPr lang="en-US" sz="1800" b="0" i="0" dirty="0">
                <a:solidFill>
                  <a:srgbClr val="333333"/>
                </a:solidFill>
                <a:effectLst/>
                <a:latin typeface="Verdana" panose="020B0604030504040204" pitchFamily="34" charset="0"/>
              </a:rPr>
              <a:t> is the standard deviation</a:t>
            </a:r>
          </a:p>
          <a:p>
            <a:pPr algn="l"/>
            <a:r>
              <a:rPr lang="en-US" sz="1800" b="1" i="0" dirty="0">
                <a:solidFill>
                  <a:srgbClr val="333333"/>
                </a:solidFill>
                <a:effectLst/>
                <a:latin typeface="Verdana" panose="020B0604030504040204" pitchFamily="34" charset="0"/>
              </a:rPr>
              <a:t>n</a:t>
            </a:r>
            <a:r>
              <a:rPr lang="en-US" sz="1800" b="0" i="0" dirty="0">
                <a:solidFill>
                  <a:srgbClr val="333333"/>
                </a:solidFill>
                <a:effectLst/>
                <a:latin typeface="Verdana" panose="020B0604030504040204" pitchFamily="34" charset="0"/>
              </a:rPr>
              <a:t> is the number of observations</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3707658921"/>
      </p:ext>
    </p:extLst>
  </p:cSld>
  <p:clrMapOvr>
    <a:masterClrMapping/>
  </p:clrMapOvr>
  <p:transition spd="med">
    <p:wipe dir="r"/>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83D9C2-670F-4E70-9C53-CE88153C551E}"/>
              </a:ext>
            </a:extLst>
          </p:cNvPr>
          <p:cNvSpPr>
            <a:spLocks noGrp="1"/>
          </p:cNvSpPr>
          <p:nvPr>
            <p:ph type="title"/>
          </p:nvPr>
        </p:nvSpPr>
        <p:spPr>
          <a:xfrm>
            <a:off x="0" y="0"/>
            <a:ext cx="7912709" cy="640080"/>
          </a:xfrm>
        </p:spPr>
        <p:txBody>
          <a:bodyPr/>
          <a:lstStyle/>
          <a:p>
            <a:r>
              <a:rPr lang="en-US" dirty="0"/>
              <a:t>Calculating the Confidence Interval</a:t>
            </a:r>
          </a:p>
        </p:txBody>
      </p:sp>
      <p:sp>
        <p:nvSpPr>
          <p:cNvPr id="3" name="Content Placeholder 2">
            <a:extLst>
              <a:ext uri="{FF2B5EF4-FFF2-40B4-BE49-F238E27FC236}">
                <a16:creationId xmlns:a16="http://schemas.microsoft.com/office/drawing/2014/main" id="{627CC880-5417-4365-ADF9-8BC157C06B80}"/>
              </a:ext>
            </a:extLst>
          </p:cNvPr>
          <p:cNvSpPr>
            <a:spLocks noGrp="1"/>
          </p:cNvSpPr>
          <p:nvPr>
            <p:ph sz="half" idx="13"/>
          </p:nvPr>
        </p:nvSpPr>
        <p:spPr>
          <a:xfrm>
            <a:off x="164108" y="971550"/>
            <a:ext cx="7748601" cy="3200400"/>
          </a:xfrm>
        </p:spPr>
        <p:txBody>
          <a:bodyPr/>
          <a:lstStyle/>
          <a:p>
            <a:r>
              <a:rPr lang="en-US" b="0" i="0" dirty="0">
                <a:solidFill>
                  <a:srgbClr val="333333"/>
                </a:solidFill>
                <a:effectLst/>
                <a:latin typeface="Verdana" panose="020B0604030504040204" pitchFamily="34" charset="0"/>
              </a:rPr>
              <a:t>And we have:</a:t>
            </a:r>
          </a:p>
          <a:p>
            <a:pPr marL="0" indent="0">
              <a:buNone/>
            </a:pPr>
            <a:endParaRPr lang="en-US" dirty="0">
              <a:solidFill>
                <a:srgbClr val="333333"/>
              </a:solidFill>
              <a:latin typeface="Verdana" panose="020B0604030504040204" pitchFamily="34" charset="0"/>
            </a:endParaRPr>
          </a:p>
          <a:p>
            <a:endParaRPr lang="en-US" dirty="0">
              <a:solidFill>
                <a:srgbClr val="333333"/>
              </a:solidFill>
              <a:latin typeface="Verdana" panose="020B0604030504040204" pitchFamily="34" charset="0"/>
            </a:endParaRPr>
          </a:p>
          <a:p>
            <a:r>
              <a:rPr lang="en-US" dirty="0"/>
              <a:t>Which is : </a:t>
            </a:r>
          </a:p>
          <a:p>
            <a:endParaRPr lang="en-US" dirty="0"/>
          </a:p>
          <a:p>
            <a:endParaRPr lang="en-US" dirty="0"/>
          </a:p>
          <a:p>
            <a:r>
              <a:rPr lang="en-US" dirty="0"/>
              <a:t>In other words : from 168.8cm to 181.2cm</a:t>
            </a:r>
          </a:p>
        </p:txBody>
      </p:sp>
    </p:spTree>
    <p:extLst>
      <p:ext uri="{BB962C8B-B14F-4D97-AF65-F5344CB8AC3E}">
        <p14:creationId xmlns:p14="http://schemas.microsoft.com/office/powerpoint/2010/main" val="3796607438"/>
      </p:ext>
    </p:extLst>
  </p:cSld>
  <p:clrMapOvr>
    <a:masterClrMapping/>
  </p:clrMapOvr>
  <p:transition spd="med">
    <p:wipe dir="r"/>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C68C2-59B9-4239-9B4A-3A58CCB07C16}"/>
              </a:ext>
            </a:extLst>
          </p:cNvPr>
          <p:cNvSpPr>
            <a:spLocks noGrp="1"/>
          </p:cNvSpPr>
          <p:nvPr>
            <p:ph type="title"/>
          </p:nvPr>
        </p:nvSpPr>
        <p:spPr>
          <a:xfrm>
            <a:off x="0" y="0"/>
            <a:ext cx="8113125" cy="640080"/>
          </a:xfrm>
        </p:spPr>
        <p:txBody>
          <a:bodyPr/>
          <a:lstStyle/>
          <a:p>
            <a:r>
              <a:rPr lang="en-US" dirty="0"/>
              <a:t>Calculating the Confidence Interval</a:t>
            </a:r>
          </a:p>
        </p:txBody>
      </p:sp>
      <p:pic>
        <p:nvPicPr>
          <p:cNvPr id="4" name="Content Placeholder 3">
            <a:extLst>
              <a:ext uri="{FF2B5EF4-FFF2-40B4-BE49-F238E27FC236}">
                <a16:creationId xmlns:a16="http://schemas.microsoft.com/office/drawing/2014/main" id="{03AF548B-15AC-4F77-9770-BB636F1EC721}"/>
              </a:ext>
            </a:extLst>
          </p:cNvPr>
          <p:cNvPicPr>
            <a:picLocks noGrp="1" noChangeAspect="1"/>
          </p:cNvPicPr>
          <p:nvPr>
            <p:ph sz="half" idx="13"/>
          </p:nvPr>
        </p:nvPicPr>
        <p:blipFill>
          <a:blip r:embed="rId2"/>
          <a:stretch>
            <a:fillRect/>
          </a:stretch>
        </p:blipFill>
        <p:spPr>
          <a:xfrm>
            <a:off x="5352420" y="1445559"/>
            <a:ext cx="3133725" cy="1590675"/>
          </a:xfrm>
          <a:prstGeom prst="rect">
            <a:avLst/>
          </a:prstGeom>
        </p:spPr>
      </p:pic>
      <p:sp>
        <p:nvSpPr>
          <p:cNvPr id="5" name="TextBox 4">
            <a:extLst>
              <a:ext uri="{FF2B5EF4-FFF2-40B4-BE49-F238E27FC236}">
                <a16:creationId xmlns:a16="http://schemas.microsoft.com/office/drawing/2014/main" id="{0D904D2C-5E24-4FBF-B493-D48E7F1C2EC7}"/>
              </a:ext>
            </a:extLst>
          </p:cNvPr>
          <p:cNvSpPr txBox="1"/>
          <p:nvPr/>
        </p:nvSpPr>
        <p:spPr>
          <a:xfrm>
            <a:off x="344466" y="1435796"/>
            <a:ext cx="3908120" cy="1600438"/>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95% confidence interval is : </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is says the true mean of all men (if we could measure all their heights_ is likely to be between 168.8cm and 181.2cm</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But is might not be !!</a:t>
            </a:r>
          </a:p>
        </p:txBody>
      </p:sp>
    </p:spTree>
    <p:extLst>
      <p:ext uri="{BB962C8B-B14F-4D97-AF65-F5344CB8AC3E}">
        <p14:creationId xmlns:p14="http://schemas.microsoft.com/office/powerpoint/2010/main" val="1038878434"/>
      </p:ext>
    </p:extLst>
  </p:cSld>
  <p:clrMapOvr>
    <a:masterClrMapping/>
  </p:clrMapOvr>
  <p:transition spd="med">
    <p:wipe dir="r"/>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0D544-3D95-4BDB-8FAA-6B944EED4ED1}"/>
              </a:ext>
            </a:extLst>
          </p:cNvPr>
          <p:cNvSpPr>
            <a:spLocks noGrp="1"/>
          </p:cNvSpPr>
          <p:nvPr>
            <p:ph type="title"/>
          </p:nvPr>
        </p:nvSpPr>
        <p:spPr>
          <a:xfrm>
            <a:off x="43841" y="136266"/>
            <a:ext cx="6964471" cy="640080"/>
          </a:xfrm>
        </p:spPr>
        <p:txBody>
          <a:bodyPr/>
          <a:lstStyle/>
          <a:p>
            <a:r>
              <a:rPr lang="en-US" dirty="0"/>
              <a:t>Example 2 : Apple Orchid</a:t>
            </a:r>
          </a:p>
        </p:txBody>
      </p:sp>
      <p:pic>
        <p:nvPicPr>
          <p:cNvPr id="5" name="Content Placeholder 4" descr="A pile of green fruit&#10;&#10;Description automatically generated with low confidence">
            <a:extLst>
              <a:ext uri="{FF2B5EF4-FFF2-40B4-BE49-F238E27FC236}">
                <a16:creationId xmlns:a16="http://schemas.microsoft.com/office/drawing/2014/main" id="{17547D13-31EA-4BB8-AE5B-1A0B454CF8A5}"/>
              </a:ext>
            </a:extLst>
          </p:cNvPr>
          <p:cNvPicPr>
            <a:picLocks noGrp="1" noChangeAspect="1"/>
          </p:cNvPicPr>
          <p:nvPr>
            <p:ph sz="half" idx="13"/>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714954" y="1242164"/>
            <a:ext cx="2363486" cy="1645085"/>
          </a:xfrm>
        </p:spPr>
      </p:pic>
      <p:sp>
        <p:nvSpPr>
          <p:cNvPr id="6" name="TextBox 5">
            <a:extLst>
              <a:ext uri="{FF2B5EF4-FFF2-40B4-BE49-F238E27FC236}">
                <a16:creationId xmlns:a16="http://schemas.microsoft.com/office/drawing/2014/main" id="{BD8C6548-2BCC-46AE-8BB5-9220E89FA028}"/>
              </a:ext>
            </a:extLst>
          </p:cNvPr>
          <p:cNvSpPr txBox="1"/>
          <p:nvPr/>
        </p:nvSpPr>
        <p:spPr>
          <a:xfrm>
            <a:off x="309818" y="1055978"/>
            <a:ext cx="5054252" cy="1831271"/>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Are the apples big enough?</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There are hundreds of apples on the trees, so you randomly choose just </a:t>
            </a:r>
            <a:r>
              <a:rPr lang="en-US" sz="1100" b="1" i="0" dirty="0">
                <a:solidFill>
                  <a:srgbClr val="333333"/>
                </a:solidFill>
                <a:effectLst/>
                <a:latin typeface="Verdana" panose="020B0604030504040204" pitchFamily="34" charset="0"/>
              </a:rPr>
              <a:t>46</a:t>
            </a:r>
            <a:r>
              <a:rPr lang="en-US" sz="1100" b="0" i="0" dirty="0">
                <a:solidFill>
                  <a:srgbClr val="333333"/>
                </a:solidFill>
                <a:effectLst/>
                <a:latin typeface="Verdana" panose="020B0604030504040204" pitchFamily="34" charset="0"/>
              </a:rPr>
              <a:t> apples and get:</a:t>
            </a:r>
          </a:p>
          <a:p>
            <a:pPr algn="l"/>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a Mean of </a:t>
            </a:r>
            <a:r>
              <a:rPr lang="en-US" sz="1100" b="1" i="0" dirty="0">
                <a:solidFill>
                  <a:srgbClr val="333333"/>
                </a:solidFill>
                <a:effectLst/>
                <a:latin typeface="Verdana" panose="020B0604030504040204" pitchFamily="34" charset="0"/>
              </a:rPr>
              <a:t>86</a:t>
            </a:r>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a Standard Deviation of </a:t>
            </a:r>
            <a:r>
              <a:rPr lang="en-US" sz="1100" b="1" i="0" dirty="0">
                <a:solidFill>
                  <a:srgbClr val="333333"/>
                </a:solidFill>
                <a:effectLst/>
                <a:latin typeface="Verdana" panose="020B0604030504040204" pitchFamily="34" charset="0"/>
              </a:rPr>
              <a:t>6.2</a:t>
            </a:r>
          </a:p>
          <a:p>
            <a:pPr algn="l"/>
            <a:endParaRPr lang="en-US" sz="1100" b="0" i="0" dirty="0">
              <a:solidFill>
                <a:srgbClr val="333333"/>
              </a:solidFill>
              <a:effectLst/>
              <a:latin typeface="Verdana" panose="020B0604030504040204" pitchFamily="34" charset="0"/>
            </a:endParaRPr>
          </a:p>
          <a:p>
            <a:pPr algn="l"/>
            <a:r>
              <a:rPr lang="en-US" sz="1100" b="0" i="0" dirty="0">
                <a:solidFill>
                  <a:srgbClr val="333333"/>
                </a:solidFill>
                <a:effectLst/>
                <a:latin typeface="Verdana" panose="020B0604030504040204" pitchFamily="34" charset="0"/>
              </a:rPr>
              <a:t>So, let's calculate:</a:t>
            </a:r>
          </a:p>
          <a:p>
            <a:pPr>
              <a:spcBef>
                <a:spcPts val="0"/>
              </a:spcBef>
              <a:spcAft>
                <a:spcPts val="0"/>
              </a:spcAft>
              <a:buClr>
                <a:schemeClr val="bg1"/>
              </a:buClr>
            </a:pPr>
            <a:endParaRPr lang="en-US" sz="1400" dirty="0" err="1">
              <a:solidFill>
                <a:schemeClr val="bg2"/>
              </a:solidFill>
              <a:latin typeface="+mn-lt"/>
            </a:endParaRPr>
          </a:p>
        </p:txBody>
      </p:sp>
      <p:pic>
        <p:nvPicPr>
          <p:cNvPr id="8" name="Picture 7">
            <a:extLst>
              <a:ext uri="{FF2B5EF4-FFF2-40B4-BE49-F238E27FC236}">
                <a16:creationId xmlns:a16="http://schemas.microsoft.com/office/drawing/2014/main" id="{17210537-F062-4A28-A9BF-361911C79C82}"/>
              </a:ext>
            </a:extLst>
          </p:cNvPr>
          <p:cNvPicPr>
            <a:picLocks noChangeAspect="1"/>
          </p:cNvPicPr>
          <p:nvPr/>
        </p:nvPicPr>
        <p:blipFill>
          <a:blip r:embed="rId5"/>
          <a:stretch>
            <a:fillRect/>
          </a:stretch>
        </p:blipFill>
        <p:spPr>
          <a:xfrm>
            <a:off x="1093869" y="3178806"/>
            <a:ext cx="1743075" cy="752475"/>
          </a:xfrm>
          <a:prstGeom prst="rect">
            <a:avLst/>
          </a:prstGeom>
        </p:spPr>
      </p:pic>
    </p:spTree>
    <p:extLst>
      <p:ext uri="{BB962C8B-B14F-4D97-AF65-F5344CB8AC3E}">
        <p14:creationId xmlns:p14="http://schemas.microsoft.com/office/powerpoint/2010/main" val="4016346131"/>
      </p:ext>
    </p:extLst>
  </p:cSld>
  <p:clrMapOvr>
    <a:masterClrMapping/>
  </p:clrMapOvr>
  <p:transition spd="med">
    <p:wipe dir="r"/>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A5473-8694-42B5-81B2-F0B3C71D3FD1}"/>
              </a:ext>
            </a:extLst>
          </p:cNvPr>
          <p:cNvSpPr>
            <a:spLocks noGrp="1"/>
          </p:cNvSpPr>
          <p:nvPr>
            <p:ph type="title"/>
          </p:nvPr>
        </p:nvSpPr>
        <p:spPr>
          <a:xfrm>
            <a:off x="166578" y="22860"/>
            <a:ext cx="5426292" cy="640080"/>
          </a:xfrm>
        </p:spPr>
        <p:txBody>
          <a:bodyPr/>
          <a:lstStyle/>
          <a:p>
            <a:r>
              <a:rPr lang="en-US" dirty="0"/>
              <a:t>Example 2 : Apple Orchid</a:t>
            </a:r>
          </a:p>
        </p:txBody>
      </p:sp>
      <p:sp>
        <p:nvSpPr>
          <p:cNvPr id="3" name="Content Placeholder 2">
            <a:extLst>
              <a:ext uri="{FF2B5EF4-FFF2-40B4-BE49-F238E27FC236}">
                <a16:creationId xmlns:a16="http://schemas.microsoft.com/office/drawing/2014/main" id="{9EF8263D-EC76-45EB-8ED8-C2E12D55CA14}"/>
              </a:ext>
            </a:extLst>
          </p:cNvPr>
          <p:cNvSpPr>
            <a:spLocks noGrp="1"/>
          </p:cNvSpPr>
          <p:nvPr>
            <p:ph sz="half" idx="13"/>
          </p:nvPr>
        </p:nvSpPr>
        <p:spPr>
          <a:xfrm>
            <a:off x="166578" y="735278"/>
            <a:ext cx="7441713" cy="3200400"/>
          </a:xfrm>
        </p:spPr>
        <p:txBody>
          <a:bodyPr/>
          <a:lstStyle/>
          <a:p>
            <a:pPr algn="l"/>
            <a:r>
              <a:rPr lang="en-US" b="0" i="0" dirty="0">
                <a:solidFill>
                  <a:srgbClr val="333333"/>
                </a:solidFill>
                <a:effectLst/>
                <a:latin typeface="Verdana" panose="020B0604030504040204" pitchFamily="34" charset="0"/>
              </a:rPr>
              <a:t>We know:</a:t>
            </a:r>
          </a:p>
          <a:p>
            <a:pPr lvl="1">
              <a:buFont typeface="Arial" panose="020B0604020202020204" pitchFamily="34" charset="0"/>
              <a:buChar char="•"/>
            </a:pPr>
            <a:r>
              <a:rPr lang="en-US" b="1" i="0" dirty="0">
                <a:solidFill>
                  <a:srgbClr val="333333"/>
                </a:solidFill>
                <a:effectLst/>
                <a:latin typeface="Verdana" panose="020B0604030504040204" pitchFamily="34" charset="0"/>
              </a:rPr>
              <a:t>X</a:t>
            </a:r>
            <a:r>
              <a:rPr lang="en-US" b="0" i="0" dirty="0">
                <a:solidFill>
                  <a:srgbClr val="333333"/>
                </a:solidFill>
                <a:effectLst/>
                <a:latin typeface="Verdana" panose="020B0604030504040204" pitchFamily="34" charset="0"/>
              </a:rPr>
              <a:t> is the mean = 86</a:t>
            </a:r>
          </a:p>
          <a:p>
            <a:pPr lvl="1">
              <a:buFont typeface="Arial" panose="020B0604020202020204" pitchFamily="34" charset="0"/>
              <a:buChar char="•"/>
            </a:pPr>
            <a:r>
              <a:rPr lang="en-US" b="1" i="0" dirty="0">
                <a:solidFill>
                  <a:srgbClr val="333333"/>
                </a:solidFill>
                <a:effectLst/>
                <a:latin typeface="Verdana" panose="020B0604030504040204" pitchFamily="34" charset="0"/>
              </a:rPr>
              <a:t>Z</a:t>
            </a:r>
            <a:r>
              <a:rPr lang="en-US" b="0" i="0" dirty="0">
                <a:solidFill>
                  <a:srgbClr val="333333"/>
                </a:solidFill>
                <a:effectLst/>
                <a:latin typeface="Verdana" panose="020B0604030504040204" pitchFamily="34" charset="0"/>
              </a:rPr>
              <a:t> is the Z-value = 1.960 (from the table above for 95%)</a:t>
            </a:r>
          </a:p>
          <a:p>
            <a:pPr lvl="1">
              <a:buFont typeface="Arial" panose="020B0604020202020204" pitchFamily="34" charset="0"/>
              <a:buChar char="•"/>
            </a:pPr>
            <a:r>
              <a:rPr lang="en-US" b="1" i="0" dirty="0">
                <a:solidFill>
                  <a:srgbClr val="333333"/>
                </a:solidFill>
                <a:effectLst/>
                <a:latin typeface="Verdana" panose="020B0604030504040204" pitchFamily="34" charset="0"/>
              </a:rPr>
              <a:t>s</a:t>
            </a:r>
            <a:r>
              <a:rPr lang="en-US" b="0" i="0" dirty="0">
                <a:solidFill>
                  <a:srgbClr val="333333"/>
                </a:solidFill>
                <a:effectLst/>
                <a:latin typeface="Verdana" panose="020B0604030504040204" pitchFamily="34" charset="0"/>
              </a:rPr>
              <a:t> is the standard deviation = 6.2</a:t>
            </a:r>
          </a:p>
          <a:p>
            <a:pPr lvl="1">
              <a:buFont typeface="Arial" panose="020B0604020202020204" pitchFamily="34" charset="0"/>
              <a:buChar char="•"/>
            </a:pPr>
            <a:r>
              <a:rPr lang="en-US" b="1" i="0" dirty="0">
                <a:solidFill>
                  <a:srgbClr val="333333"/>
                </a:solidFill>
                <a:effectLst/>
                <a:latin typeface="Verdana" panose="020B0604030504040204" pitchFamily="34" charset="0"/>
              </a:rPr>
              <a:t>n</a:t>
            </a:r>
            <a:r>
              <a:rPr lang="en-US" b="0" i="0" dirty="0">
                <a:solidFill>
                  <a:srgbClr val="333333"/>
                </a:solidFill>
                <a:effectLst/>
                <a:latin typeface="Verdana" panose="020B0604030504040204" pitchFamily="34" charset="0"/>
              </a:rPr>
              <a:t> is the number of observations = 46</a:t>
            </a:r>
          </a:p>
          <a:p>
            <a:pPr lvl="1">
              <a:buFont typeface="Arial" panose="020B0604020202020204" pitchFamily="34" charset="0"/>
              <a:buChar char="•"/>
            </a:pPr>
            <a:endParaRPr lang="en-US" dirty="0">
              <a:solidFill>
                <a:srgbClr val="333333"/>
              </a:solidFill>
              <a:latin typeface="Verdana" panose="020B0604030504040204" pitchFamily="34" charset="0"/>
            </a:endParaRPr>
          </a:p>
          <a:p>
            <a:pPr lvl="1">
              <a:buFont typeface="Arial" panose="020B0604020202020204" pitchFamily="34" charset="0"/>
              <a:buChar char="•"/>
            </a:pPr>
            <a:endParaRPr lang="en-US" b="0" i="0" dirty="0">
              <a:solidFill>
                <a:srgbClr val="333333"/>
              </a:solidFill>
              <a:effectLst/>
              <a:latin typeface="Verdana" panose="020B0604030504040204" pitchFamily="34" charset="0"/>
            </a:endParaRPr>
          </a:p>
          <a:p>
            <a:pPr marL="342900" lvl="1" indent="0">
              <a:buNone/>
            </a:pPr>
            <a:endParaRPr lang="en-US" b="0" i="0" dirty="0">
              <a:solidFill>
                <a:srgbClr val="333333"/>
              </a:solidFill>
              <a:effectLst/>
              <a:latin typeface="Verdana" panose="020B0604030504040204" pitchFamily="34" charset="0"/>
            </a:endParaRPr>
          </a:p>
          <a:p>
            <a:endParaRPr lang="en-US" dirty="0"/>
          </a:p>
        </p:txBody>
      </p:sp>
      <p:sp>
        <p:nvSpPr>
          <p:cNvPr id="4" name="TextBox 3">
            <a:extLst>
              <a:ext uri="{FF2B5EF4-FFF2-40B4-BE49-F238E27FC236}">
                <a16:creationId xmlns:a16="http://schemas.microsoft.com/office/drawing/2014/main" id="{8032E575-B58E-4028-B8E3-3B406B50E351}"/>
              </a:ext>
            </a:extLst>
          </p:cNvPr>
          <p:cNvSpPr txBox="1"/>
          <p:nvPr/>
        </p:nvSpPr>
        <p:spPr>
          <a:xfrm>
            <a:off x="166578" y="3122112"/>
            <a:ext cx="8457592"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So, the true mean (of all the hundreds of apples) is </a:t>
            </a:r>
            <a:r>
              <a:rPr lang="en-US" sz="1100" b="1" i="0" dirty="0">
                <a:solidFill>
                  <a:srgbClr val="333333"/>
                </a:solidFill>
                <a:effectLst/>
                <a:latin typeface="Verdana" panose="020B0604030504040204" pitchFamily="34" charset="0"/>
              </a:rPr>
              <a:t>likely</a:t>
            </a:r>
            <a:r>
              <a:rPr lang="en-US" sz="1100" b="0" i="0" dirty="0">
                <a:solidFill>
                  <a:srgbClr val="333333"/>
                </a:solidFill>
                <a:effectLst/>
                <a:latin typeface="Verdana" panose="020B0604030504040204" pitchFamily="34" charset="0"/>
              </a:rPr>
              <a:t> to be between 84.21 and 87.79</a:t>
            </a:r>
            <a:endParaRPr lang="en-US" sz="1400" dirty="0">
              <a:solidFill>
                <a:schemeClr val="bg2"/>
              </a:solidFill>
              <a:latin typeface="+mn-lt"/>
            </a:endParaRPr>
          </a:p>
        </p:txBody>
      </p:sp>
    </p:spTree>
    <p:extLst>
      <p:ext uri="{BB962C8B-B14F-4D97-AF65-F5344CB8AC3E}">
        <p14:creationId xmlns:p14="http://schemas.microsoft.com/office/powerpoint/2010/main" val="4226836956"/>
      </p:ext>
    </p:extLst>
  </p:cSld>
  <p:clrMapOvr>
    <a:masterClrMapping/>
  </p:clrMapOvr>
  <p:transition spd="med">
    <p:wipe dir="r"/>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E60A0-704C-4DB4-8CA8-951CB3B8B5E5}"/>
              </a:ext>
            </a:extLst>
          </p:cNvPr>
          <p:cNvSpPr>
            <a:spLocks noGrp="1"/>
          </p:cNvSpPr>
          <p:nvPr>
            <p:ph type="title"/>
          </p:nvPr>
        </p:nvSpPr>
        <p:spPr>
          <a:xfrm>
            <a:off x="0" y="0"/>
            <a:ext cx="7292671" cy="640080"/>
          </a:xfrm>
        </p:spPr>
        <p:txBody>
          <a:bodyPr/>
          <a:lstStyle/>
          <a:p>
            <a:r>
              <a:rPr lang="en-US" dirty="0"/>
              <a:t>Example 2 : Apple Orchid – True Mean</a:t>
            </a:r>
          </a:p>
        </p:txBody>
      </p:sp>
      <p:sp>
        <p:nvSpPr>
          <p:cNvPr id="3" name="Content Placeholder 2">
            <a:extLst>
              <a:ext uri="{FF2B5EF4-FFF2-40B4-BE49-F238E27FC236}">
                <a16:creationId xmlns:a16="http://schemas.microsoft.com/office/drawing/2014/main" id="{D6B174F9-BE4A-4E46-8124-C7F50C49BE7C}"/>
              </a:ext>
            </a:extLst>
          </p:cNvPr>
          <p:cNvSpPr>
            <a:spLocks noGrp="1"/>
          </p:cNvSpPr>
          <p:nvPr>
            <p:ph sz="half" idx="13"/>
          </p:nvPr>
        </p:nvSpPr>
        <p:spPr>
          <a:xfrm>
            <a:off x="105218" y="891853"/>
            <a:ext cx="7654655" cy="3200400"/>
          </a:xfrm>
        </p:spPr>
        <p:txBody>
          <a:bodyPr/>
          <a:lstStyle/>
          <a:p>
            <a:r>
              <a:rPr lang="en-US" b="0" i="0" dirty="0">
                <a:solidFill>
                  <a:srgbClr val="333333"/>
                </a:solidFill>
                <a:effectLst/>
                <a:latin typeface="Verdana" panose="020B0604030504040204" pitchFamily="34" charset="0"/>
              </a:rPr>
              <a:t>Now imagine we get to pick ALL the apples straight away, and get them ALL measured by the packing machine (this is a luxury not normally found in statistics!)</a:t>
            </a:r>
          </a:p>
          <a:p>
            <a:r>
              <a:rPr lang="en-US" b="0" i="0" dirty="0">
                <a:solidFill>
                  <a:srgbClr val="333333"/>
                </a:solidFill>
                <a:effectLst/>
                <a:latin typeface="Verdana" panose="020B0604030504040204" pitchFamily="34" charset="0"/>
              </a:rPr>
              <a:t>And the </a:t>
            </a:r>
            <a:r>
              <a:rPr lang="en-US" b="1" i="0" dirty="0">
                <a:solidFill>
                  <a:srgbClr val="333333"/>
                </a:solidFill>
                <a:effectLst/>
                <a:latin typeface="Verdana" panose="020B0604030504040204" pitchFamily="34" charset="0"/>
              </a:rPr>
              <a:t>true mean</a:t>
            </a:r>
            <a:r>
              <a:rPr lang="en-US" b="0" i="0" dirty="0">
                <a:solidFill>
                  <a:srgbClr val="333333"/>
                </a:solidFill>
                <a:effectLst/>
                <a:latin typeface="Verdana" panose="020B0604030504040204" pitchFamily="34" charset="0"/>
              </a:rPr>
              <a:t> turns out to be</a:t>
            </a:r>
            <a:r>
              <a:rPr lang="en-US" b="1" i="0" dirty="0">
                <a:solidFill>
                  <a:srgbClr val="333333"/>
                </a:solidFill>
                <a:effectLst/>
                <a:latin typeface="Verdana" panose="020B0604030504040204" pitchFamily="34" charset="0"/>
              </a:rPr>
              <a:t> 84.9</a:t>
            </a:r>
            <a:endParaRPr lang="en-US" dirty="0">
              <a:solidFill>
                <a:srgbClr val="333333"/>
              </a:solidFill>
              <a:latin typeface="Verdana" panose="020B0604030504040204" pitchFamily="34" charset="0"/>
            </a:endParaRPr>
          </a:p>
          <a:p>
            <a:r>
              <a:rPr lang="en-US" b="0" i="0" dirty="0">
                <a:solidFill>
                  <a:srgbClr val="333333"/>
                </a:solidFill>
                <a:effectLst/>
                <a:latin typeface="Verdana" panose="020B0604030504040204" pitchFamily="34" charset="0"/>
              </a:rPr>
              <a:t>Let's lay all the apples on the ground from smallest to largest:</a:t>
            </a:r>
            <a:endParaRPr lang="en-US" dirty="0"/>
          </a:p>
        </p:txBody>
      </p:sp>
      <p:pic>
        <p:nvPicPr>
          <p:cNvPr id="5" name="Picture 4">
            <a:extLst>
              <a:ext uri="{FF2B5EF4-FFF2-40B4-BE49-F238E27FC236}">
                <a16:creationId xmlns:a16="http://schemas.microsoft.com/office/drawing/2014/main" id="{FFBC7B80-2577-45A9-96F4-D517F5D6DDBB}"/>
              </a:ext>
            </a:extLst>
          </p:cNvPr>
          <p:cNvPicPr>
            <a:picLocks noChangeAspect="1"/>
          </p:cNvPicPr>
          <p:nvPr/>
        </p:nvPicPr>
        <p:blipFill>
          <a:blip r:embed="rId2"/>
          <a:stretch>
            <a:fillRect/>
          </a:stretch>
        </p:blipFill>
        <p:spPr>
          <a:xfrm>
            <a:off x="2821944" y="2509119"/>
            <a:ext cx="2138363" cy="1914525"/>
          </a:xfrm>
          <a:prstGeom prst="rect">
            <a:avLst/>
          </a:prstGeom>
        </p:spPr>
      </p:pic>
    </p:spTree>
    <p:extLst>
      <p:ext uri="{BB962C8B-B14F-4D97-AF65-F5344CB8AC3E}">
        <p14:creationId xmlns:p14="http://schemas.microsoft.com/office/powerpoint/2010/main" val="624855704"/>
      </p:ext>
    </p:extLst>
  </p:cSld>
  <p:clrMapOvr>
    <a:masterClrMapping/>
  </p:clrMapOvr>
  <p:transition spd="med">
    <p:wipe dir="r"/>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F2354-42A6-4191-B7DD-632A9EDE9AD9}"/>
              </a:ext>
            </a:extLst>
          </p:cNvPr>
          <p:cNvSpPr>
            <a:spLocks noGrp="1"/>
          </p:cNvSpPr>
          <p:nvPr>
            <p:ph type="title"/>
          </p:nvPr>
        </p:nvSpPr>
        <p:spPr>
          <a:xfrm>
            <a:off x="0" y="0"/>
            <a:ext cx="7724818" cy="640080"/>
          </a:xfrm>
        </p:spPr>
        <p:txBody>
          <a:bodyPr/>
          <a:lstStyle/>
          <a:p>
            <a:r>
              <a:rPr lang="en-US" dirty="0"/>
              <a:t>Example 2 : Apple Orchid – True Mean</a:t>
            </a:r>
          </a:p>
        </p:txBody>
      </p:sp>
      <p:sp>
        <p:nvSpPr>
          <p:cNvPr id="3" name="Content Placeholder 2">
            <a:extLst>
              <a:ext uri="{FF2B5EF4-FFF2-40B4-BE49-F238E27FC236}">
                <a16:creationId xmlns:a16="http://schemas.microsoft.com/office/drawing/2014/main" id="{91F28454-D62F-44CA-8482-0A4C685E370E}"/>
              </a:ext>
            </a:extLst>
          </p:cNvPr>
          <p:cNvSpPr>
            <a:spLocks noGrp="1"/>
          </p:cNvSpPr>
          <p:nvPr>
            <p:ph sz="half" idx="13"/>
          </p:nvPr>
        </p:nvSpPr>
        <p:spPr>
          <a:xfrm>
            <a:off x="192901" y="1067217"/>
            <a:ext cx="7992858" cy="3200400"/>
          </a:xfrm>
        </p:spPr>
        <p:txBody>
          <a:bodyPr/>
          <a:lstStyle/>
          <a:p>
            <a:r>
              <a:rPr lang="en-US" b="0" i="0" dirty="0">
                <a:solidFill>
                  <a:srgbClr val="333333"/>
                </a:solidFill>
                <a:effectLst/>
                <a:latin typeface="Verdana" panose="020B0604030504040204" pitchFamily="34" charset="0"/>
              </a:rPr>
              <a:t>Our result was not exact ... it is random after all ... but the true mean is inside our confidence interval of 86 ± 1.79 (in other words 84.21 to 87.79)</a:t>
            </a:r>
          </a:p>
          <a:p>
            <a:r>
              <a:rPr lang="en-US" b="0" i="0" dirty="0">
                <a:solidFill>
                  <a:srgbClr val="333333"/>
                </a:solidFill>
                <a:effectLst/>
                <a:latin typeface="Verdana" panose="020B0604030504040204" pitchFamily="34" charset="0"/>
              </a:rPr>
              <a:t>Now the true mean</a:t>
            </a:r>
            <a:r>
              <a:rPr lang="en-US" b="1" i="0" dirty="0">
                <a:solidFill>
                  <a:srgbClr val="333333"/>
                </a:solidFill>
                <a:effectLst/>
                <a:latin typeface="Verdana" panose="020B0604030504040204" pitchFamily="34" charset="0"/>
              </a:rPr>
              <a:t> might not</a:t>
            </a:r>
            <a:r>
              <a:rPr lang="en-US" b="0" i="0" dirty="0">
                <a:solidFill>
                  <a:srgbClr val="333333"/>
                </a:solidFill>
                <a:effectLst/>
                <a:latin typeface="Verdana" panose="020B0604030504040204" pitchFamily="34" charset="0"/>
              </a:rPr>
              <a:t> be inside the confidence interval, but in </a:t>
            </a:r>
            <a:r>
              <a:rPr lang="en-US" b="1" i="0" dirty="0">
                <a:solidFill>
                  <a:srgbClr val="333333"/>
                </a:solidFill>
                <a:effectLst/>
                <a:latin typeface="Verdana" panose="020B0604030504040204" pitchFamily="34" charset="0"/>
              </a:rPr>
              <a:t>95% of the cases it will be!</a:t>
            </a:r>
            <a:endParaRPr lang="en-US" dirty="0"/>
          </a:p>
        </p:txBody>
      </p:sp>
      <p:pic>
        <p:nvPicPr>
          <p:cNvPr id="4" name="Picture 3">
            <a:extLst>
              <a:ext uri="{FF2B5EF4-FFF2-40B4-BE49-F238E27FC236}">
                <a16:creationId xmlns:a16="http://schemas.microsoft.com/office/drawing/2014/main" id="{069E5917-91C9-420D-8EDF-D7CF5E6E5593}"/>
              </a:ext>
            </a:extLst>
          </p:cNvPr>
          <p:cNvPicPr>
            <a:picLocks noChangeAspect="1"/>
          </p:cNvPicPr>
          <p:nvPr/>
        </p:nvPicPr>
        <p:blipFill>
          <a:blip r:embed="rId2"/>
          <a:stretch>
            <a:fillRect/>
          </a:stretch>
        </p:blipFill>
        <p:spPr>
          <a:xfrm>
            <a:off x="2736860" y="2161759"/>
            <a:ext cx="1559567" cy="1396316"/>
          </a:xfrm>
          <a:prstGeom prst="rect">
            <a:avLst/>
          </a:prstGeom>
        </p:spPr>
      </p:pic>
      <p:sp>
        <p:nvSpPr>
          <p:cNvPr id="5" name="TextBox 4">
            <a:extLst>
              <a:ext uri="{FF2B5EF4-FFF2-40B4-BE49-F238E27FC236}">
                <a16:creationId xmlns:a16="http://schemas.microsoft.com/office/drawing/2014/main" id="{C850EEFF-FC48-4B46-9E77-48591528E96F}"/>
              </a:ext>
            </a:extLst>
          </p:cNvPr>
          <p:cNvSpPr txBox="1"/>
          <p:nvPr/>
        </p:nvSpPr>
        <p:spPr>
          <a:xfrm>
            <a:off x="68893" y="4229973"/>
            <a:ext cx="9110805" cy="369332"/>
          </a:xfrm>
          <a:prstGeom prst="rect">
            <a:avLst/>
          </a:prstGeom>
          <a:noFill/>
        </p:spPr>
        <p:txBody>
          <a:bodyPr wrap="square" rtlCol="0">
            <a:spAutoFit/>
          </a:bodyPr>
          <a:lstStyle/>
          <a:p>
            <a:pPr>
              <a:spcBef>
                <a:spcPts val="0"/>
              </a:spcBef>
              <a:spcAft>
                <a:spcPts val="0"/>
              </a:spcAft>
              <a:buClr>
                <a:schemeClr val="bg1"/>
              </a:buClr>
            </a:pPr>
            <a:r>
              <a:rPr lang="en-US" sz="1800" b="1" i="0" dirty="0">
                <a:solidFill>
                  <a:srgbClr val="2664B5"/>
                </a:solidFill>
                <a:effectLst/>
                <a:latin typeface="Verdana" panose="020B0604030504040204" pitchFamily="34" charset="0"/>
              </a:rPr>
              <a:t>95% of all "95% Confidence Intervals" will include the true mean.</a:t>
            </a:r>
            <a:endParaRPr lang="en-US" b="1" dirty="0">
              <a:solidFill>
                <a:schemeClr val="bg2"/>
              </a:solidFill>
              <a:latin typeface="+mn-lt"/>
            </a:endParaRPr>
          </a:p>
        </p:txBody>
      </p:sp>
    </p:spTree>
    <p:extLst>
      <p:ext uri="{BB962C8B-B14F-4D97-AF65-F5344CB8AC3E}">
        <p14:creationId xmlns:p14="http://schemas.microsoft.com/office/powerpoint/2010/main" val="2113492613"/>
      </p:ext>
    </p:extLst>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904F4-B3AA-4651-8827-B73C49F7833D}"/>
              </a:ext>
            </a:extLst>
          </p:cNvPr>
          <p:cNvSpPr>
            <a:spLocks noGrp="1"/>
          </p:cNvSpPr>
          <p:nvPr>
            <p:ph type="title"/>
          </p:nvPr>
        </p:nvSpPr>
        <p:spPr>
          <a:xfrm>
            <a:off x="92692" y="90259"/>
            <a:ext cx="7955280" cy="640080"/>
          </a:xfrm>
        </p:spPr>
        <p:txBody>
          <a:bodyPr/>
          <a:lstStyle/>
          <a:p>
            <a:r>
              <a:rPr lang="en-US" dirty="0"/>
              <a:t>Descriptive Statistics – Example</a:t>
            </a:r>
            <a:br>
              <a:rPr lang="en-US" dirty="0"/>
            </a:br>
            <a:r>
              <a:rPr lang="en-US" sz="1400" b="0" i="0" dirty="0">
                <a:solidFill>
                  <a:schemeClr val="bg2">
                    <a:lumMod val="50000"/>
                    <a:lumOff val="50000"/>
                  </a:schemeClr>
                </a:solidFill>
                <a:effectLst/>
                <a:latin typeface="Raleway" panose="020B0604020202020204" pitchFamily="2" charset="0"/>
              </a:rPr>
              <a:t>You’ve performed a survey to 40 respondents about their favorite car color. And now you have a spreadsheet with the results.</a:t>
            </a:r>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B3228BA1-7BCC-4DBF-B8DF-46CA5095B60A}"/>
              </a:ext>
            </a:extLst>
          </p:cNvPr>
          <p:cNvPicPr>
            <a:picLocks noChangeAspect="1"/>
          </p:cNvPicPr>
          <p:nvPr/>
        </p:nvPicPr>
        <p:blipFill>
          <a:blip r:embed="rId2"/>
          <a:stretch>
            <a:fillRect/>
          </a:stretch>
        </p:blipFill>
        <p:spPr>
          <a:xfrm>
            <a:off x="4967601" y="1001400"/>
            <a:ext cx="3819787" cy="3870213"/>
          </a:xfrm>
          <a:prstGeom prst="rect">
            <a:avLst/>
          </a:prstGeom>
        </p:spPr>
      </p:pic>
      <p:pic>
        <p:nvPicPr>
          <p:cNvPr id="8" name="Picture 7">
            <a:extLst>
              <a:ext uri="{FF2B5EF4-FFF2-40B4-BE49-F238E27FC236}">
                <a16:creationId xmlns:a16="http://schemas.microsoft.com/office/drawing/2014/main" id="{55E05251-8E9D-4D6A-B576-9C5E754984C9}"/>
              </a:ext>
            </a:extLst>
          </p:cNvPr>
          <p:cNvPicPr>
            <a:picLocks noChangeAspect="1"/>
          </p:cNvPicPr>
          <p:nvPr/>
        </p:nvPicPr>
        <p:blipFill>
          <a:blip r:embed="rId3"/>
          <a:stretch>
            <a:fillRect/>
          </a:stretch>
        </p:blipFill>
        <p:spPr>
          <a:xfrm>
            <a:off x="0" y="1319603"/>
            <a:ext cx="4086225" cy="2905125"/>
          </a:xfrm>
          <a:prstGeom prst="rect">
            <a:avLst/>
          </a:prstGeom>
        </p:spPr>
      </p:pic>
      <p:sp>
        <p:nvSpPr>
          <p:cNvPr id="9" name="Arrow: Right 8">
            <a:extLst>
              <a:ext uri="{FF2B5EF4-FFF2-40B4-BE49-F238E27FC236}">
                <a16:creationId xmlns:a16="http://schemas.microsoft.com/office/drawing/2014/main" id="{0469365B-6D82-45DF-992A-981C62806CBC}"/>
              </a:ext>
            </a:extLst>
          </p:cNvPr>
          <p:cNvSpPr/>
          <p:nvPr/>
        </p:nvSpPr>
        <p:spPr>
          <a:xfrm>
            <a:off x="4176400" y="2571750"/>
            <a:ext cx="470757" cy="227817"/>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7316BE2A-45A8-4088-860B-9805A9D5C7B4}"/>
              </a:ext>
            </a:extLst>
          </p:cNvPr>
          <p:cNvSpPr txBox="1"/>
          <p:nvPr/>
        </p:nvSpPr>
        <p:spPr>
          <a:xfrm>
            <a:off x="112734" y="4321479"/>
            <a:ext cx="4409162"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Descriptive statistics simply describes the data</a:t>
            </a:r>
          </a:p>
        </p:txBody>
      </p:sp>
    </p:spTree>
    <p:extLst>
      <p:ext uri="{BB962C8B-B14F-4D97-AF65-F5344CB8AC3E}">
        <p14:creationId xmlns:p14="http://schemas.microsoft.com/office/powerpoint/2010/main" val="889781105"/>
      </p:ext>
    </p:extLst>
  </p:cSld>
  <p:clrMapOvr>
    <a:masterClrMapping/>
  </p:clrMapOvr>
  <p:transition spd="med">
    <p:wipe dir="r"/>
  </p:transition>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ABF32E-BDE9-4E9F-921C-9C211F8C1F47}"/>
              </a:ext>
            </a:extLst>
          </p:cNvPr>
          <p:cNvSpPr>
            <a:spLocks noGrp="1"/>
          </p:cNvSpPr>
          <p:nvPr>
            <p:ph type="title"/>
          </p:nvPr>
        </p:nvSpPr>
        <p:spPr>
          <a:xfrm>
            <a:off x="0" y="0"/>
            <a:ext cx="7405405" cy="640080"/>
          </a:xfrm>
        </p:spPr>
        <p:txBody>
          <a:bodyPr/>
          <a:lstStyle/>
          <a:p>
            <a:r>
              <a:rPr lang="en-US" dirty="0"/>
              <a:t>Example 2 : Apple Orchid – True Mean</a:t>
            </a:r>
          </a:p>
        </p:txBody>
      </p:sp>
      <p:sp>
        <p:nvSpPr>
          <p:cNvPr id="3" name="Content Placeholder 2">
            <a:extLst>
              <a:ext uri="{FF2B5EF4-FFF2-40B4-BE49-F238E27FC236}">
                <a16:creationId xmlns:a16="http://schemas.microsoft.com/office/drawing/2014/main" id="{0021A390-1305-41FB-9234-300AEB0D0761}"/>
              </a:ext>
            </a:extLst>
          </p:cNvPr>
          <p:cNvSpPr>
            <a:spLocks noGrp="1"/>
          </p:cNvSpPr>
          <p:nvPr>
            <p:ph sz="half" idx="13"/>
          </p:nvPr>
        </p:nvSpPr>
        <p:spPr>
          <a:xfrm>
            <a:off x="167849" y="971550"/>
            <a:ext cx="8525214" cy="3200400"/>
          </a:xfrm>
        </p:spPr>
        <p:txBody>
          <a:bodyPr/>
          <a:lstStyle/>
          <a:p>
            <a:pPr algn="l"/>
            <a:r>
              <a:rPr lang="en-US" b="0" i="0" dirty="0">
                <a:solidFill>
                  <a:srgbClr val="333333"/>
                </a:solidFill>
                <a:effectLst/>
                <a:latin typeface="Verdana" panose="020B0604030504040204" pitchFamily="34" charset="0"/>
              </a:rPr>
              <a:t>That </a:t>
            </a:r>
            <a:r>
              <a:rPr lang="en-US" b="1" i="0" dirty="0">
                <a:solidFill>
                  <a:srgbClr val="333333"/>
                </a:solidFill>
                <a:effectLst/>
                <a:latin typeface="Verdana" panose="020B0604030504040204" pitchFamily="34" charset="0"/>
              </a:rPr>
              <a:t>does not include the true mean.</a:t>
            </a:r>
            <a:r>
              <a:rPr lang="en-US" b="0" i="0" dirty="0">
                <a:solidFill>
                  <a:srgbClr val="333333"/>
                </a:solidFill>
                <a:effectLst/>
                <a:latin typeface="Verdana" panose="020B0604030504040204" pitchFamily="34" charset="0"/>
              </a:rPr>
              <a:t> That can happen about 5% of the time for a 95% confidence interval.</a:t>
            </a:r>
          </a:p>
          <a:p>
            <a:pPr algn="l"/>
            <a:r>
              <a:rPr lang="en-US" b="0" i="0" dirty="0">
                <a:solidFill>
                  <a:srgbClr val="333333"/>
                </a:solidFill>
                <a:effectLst/>
                <a:latin typeface="Verdana" panose="020B0604030504040204" pitchFamily="34" charset="0"/>
              </a:rPr>
              <a:t>So how do we know if our sample is one of the "lucky" 95% or the unlucky 5%? Unless we get to measure the whole population like above, we simply </a:t>
            </a:r>
            <a:r>
              <a:rPr lang="en-US" b="1" i="0" dirty="0">
                <a:solidFill>
                  <a:srgbClr val="333333"/>
                </a:solidFill>
                <a:effectLst/>
                <a:latin typeface="Verdana" panose="020B0604030504040204" pitchFamily="34" charset="0"/>
              </a:rPr>
              <a:t>don't know</a:t>
            </a:r>
            <a:r>
              <a:rPr lang="en-US" b="0" i="0" dirty="0">
                <a:solidFill>
                  <a:srgbClr val="333333"/>
                </a:solidFill>
                <a:effectLst/>
                <a:latin typeface="Verdana" panose="020B0604030504040204" pitchFamily="34" charset="0"/>
              </a:rPr>
              <a:t>.</a:t>
            </a:r>
          </a:p>
          <a:p>
            <a:pPr algn="l"/>
            <a:r>
              <a:rPr lang="en-US" b="0" i="0" dirty="0">
                <a:solidFill>
                  <a:srgbClr val="333333"/>
                </a:solidFill>
                <a:effectLst/>
                <a:latin typeface="Verdana" panose="020B0604030504040204" pitchFamily="34" charset="0"/>
              </a:rPr>
              <a:t>This is the risk in sampling, we might have a "bad" sample</a:t>
            </a:r>
          </a:p>
          <a:p>
            <a:endParaRPr lang="en-US" dirty="0"/>
          </a:p>
        </p:txBody>
      </p:sp>
    </p:spTree>
    <p:extLst>
      <p:ext uri="{BB962C8B-B14F-4D97-AF65-F5344CB8AC3E}">
        <p14:creationId xmlns:p14="http://schemas.microsoft.com/office/powerpoint/2010/main" val="1183236552"/>
      </p:ext>
    </p:extLst>
  </p:cSld>
  <p:clrMapOvr>
    <a:masterClrMapping/>
  </p:clrMapOvr>
  <p:transition spd="med">
    <p:wipe dir="r"/>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F2ABE-3BE8-4829-87AD-DF2FD55E2139}"/>
              </a:ext>
            </a:extLst>
          </p:cNvPr>
          <p:cNvSpPr>
            <a:spLocks noGrp="1"/>
          </p:cNvSpPr>
          <p:nvPr>
            <p:ph type="title"/>
          </p:nvPr>
        </p:nvSpPr>
        <p:spPr>
          <a:xfrm>
            <a:off x="0" y="0"/>
            <a:ext cx="4295219" cy="640080"/>
          </a:xfrm>
        </p:spPr>
        <p:txBody>
          <a:bodyPr/>
          <a:lstStyle/>
          <a:p>
            <a:r>
              <a:rPr lang="en-US" dirty="0"/>
              <a:t>Sampling Techniques</a:t>
            </a:r>
          </a:p>
        </p:txBody>
      </p:sp>
      <p:pic>
        <p:nvPicPr>
          <p:cNvPr id="5" name="Picture 4">
            <a:extLst>
              <a:ext uri="{FF2B5EF4-FFF2-40B4-BE49-F238E27FC236}">
                <a16:creationId xmlns:a16="http://schemas.microsoft.com/office/drawing/2014/main" id="{71C28B5A-5FB7-4BDA-82B0-2EE3301369A0}"/>
              </a:ext>
            </a:extLst>
          </p:cNvPr>
          <p:cNvPicPr>
            <a:picLocks noChangeAspect="1"/>
          </p:cNvPicPr>
          <p:nvPr/>
        </p:nvPicPr>
        <p:blipFill>
          <a:blip r:embed="rId2"/>
          <a:stretch>
            <a:fillRect/>
          </a:stretch>
        </p:blipFill>
        <p:spPr>
          <a:xfrm>
            <a:off x="960788" y="982487"/>
            <a:ext cx="6172927" cy="2456037"/>
          </a:xfrm>
          <a:prstGeom prst="rect">
            <a:avLst/>
          </a:prstGeom>
        </p:spPr>
      </p:pic>
    </p:spTree>
    <p:extLst>
      <p:ext uri="{BB962C8B-B14F-4D97-AF65-F5344CB8AC3E}">
        <p14:creationId xmlns:p14="http://schemas.microsoft.com/office/powerpoint/2010/main" val="2500200924"/>
      </p:ext>
    </p:extLst>
  </p:cSld>
  <p:clrMapOvr>
    <a:masterClrMapping/>
  </p:clrMapOvr>
  <p:transition spd="med">
    <p:wipe dir="r"/>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BE16E-4481-4CB3-838A-77146EB684BF}"/>
              </a:ext>
            </a:extLst>
          </p:cNvPr>
          <p:cNvSpPr>
            <a:spLocks noGrp="1"/>
          </p:cNvSpPr>
          <p:nvPr>
            <p:ph type="title"/>
          </p:nvPr>
        </p:nvSpPr>
        <p:spPr>
          <a:xfrm>
            <a:off x="0" y="0"/>
            <a:ext cx="4295219" cy="640080"/>
          </a:xfrm>
        </p:spPr>
        <p:txBody>
          <a:bodyPr/>
          <a:lstStyle/>
          <a:p>
            <a:r>
              <a:rPr lang="en-US" dirty="0"/>
              <a:t>Importance of p-Value</a:t>
            </a:r>
          </a:p>
        </p:txBody>
      </p:sp>
      <p:sp>
        <p:nvSpPr>
          <p:cNvPr id="3" name="Content Placeholder 2">
            <a:extLst>
              <a:ext uri="{FF2B5EF4-FFF2-40B4-BE49-F238E27FC236}">
                <a16:creationId xmlns:a16="http://schemas.microsoft.com/office/drawing/2014/main" id="{D108A976-A6DF-4921-83B1-412A058B7907}"/>
              </a:ext>
            </a:extLst>
          </p:cNvPr>
          <p:cNvSpPr>
            <a:spLocks noGrp="1"/>
          </p:cNvSpPr>
          <p:nvPr>
            <p:ph sz="half" idx="13"/>
          </p:nvPr>
        </p:nvSpPr>
        <p:spPr>
          <a:xfrm>
            <a:off x="117744" y="703963"/>
            <a:ext cx="8562793" cy="3749040"/>
          </a:xfrm>
        </p:spPr>
        <p:txBody>
          <a:bodyPr>
            <a:normAutofit fontScale="85000" lnSpcReduction="20000"/>
          </a:bodyPr>
          <a:lstStyle/>
          <a:p>
            <a:pPr marL="0" indent="0">
              <a:buNone/>
            </a:pPr>
            <a:r>
              <a:rPr lang="en-US" dirty="0"/>
              <a:t>Let’s perform an experiment : </a:t>
            </a:r>
          </a:p>
          <a:p>
            <a:pPr marL="342900" indent="-342900">
              <a:buFont typeface="+mj-lt"/>
              <a:buAutoNum type="arabicPeriod"/>
            </a:pPr>
            <a:r>
              <a:rPr lang="en-US" dirty="0"/>
              <a:t>Flip a coin &gt; Assume we get “head</a:t>
            </a:r>
          </a:p>
          <a:p>
            <a:pPr marL="688975" lvl="1" indent="-342900"/>
            <a:r>
              <a:rPr lang="en-US" dirty="0"/>
              <a:t>P(H) = 0.5</a:t>
            </a:r>
          </a:p>
          <a:p>
            <a:pPr marL="342900" indent="-342900">
              <a:buFont typeface="+mj-lt"/>
              <a:buAutoNum type="arabicPeriod"/>
            </a:pPr>
            <a:r>
              <a:rPr lang="en-US" dirty="0"/>
              <a:t>Flip the coin again &gt; assume get “head” again</a:t>
            </a:r>
          </a:p>
          <a:p>
            <a:pPr marL="688975" lvl="1" indent="-342900"/>
            <a:r>
              <a:rPr lang="en-US" dirty="0"/>
              <a:t>P(H | H) = 0.5 X 0.5 = 0.25</a:t>
            </a:r>
          </a:p>
          <a:p>
            <a:pPr marL="346075" lvl="1" indent="0">
              <a:buNone/>
            </a:pPr>
            <a:endParaRPr lang="en-US" dirty="0"/>
          </a:p>
          <a:p>
            <a:pPr marL="0" indent="0">
              <a:buNone/>
            </a:pPr>
            <a:r>
              <a:rPr lang="en-US" b="1" dirty="0"/>
              <a:t>Now before proceeding : “ Is this a fair coin ?”</a:t>
            </a:r>
          </a:p>
          <a:p>
            <a:pPr marL="0" indent="0">
              <a:buNone/>
            </a:pPr>
            <a:r>
              <a:rPr lang="en-US" dirty="0">
                <a:solidFill>
                  <a:schemeClr val="bg1"/>
                </a:solidFill>
              </a:rPr>
              <a:t>What’s your answer ? Yes or No</a:t>
            </a:r>
          </a:p>
          <a:p>
            <a:pPr marL="0" indent="0">
              <a:buNone/>
            </a:pPr>
            <a:r>
              <a:rPr lang="en-US" dirty="0">
                <a:solidFill>
                  <a:schemeClr val="bg1"/>
                </a:solidFill>
              </a:rPr>
              <a:t>How do you support your answer ? </a:t>
            </a:r>
          </a:p>
          <a:p>
            <a:pPr marL="0" indent="0">
              <a:buNone/>
            </a:pPr>
            <a:endParaRPr lang="en-US" dirty="0"/>
          </a:p>
          <a:p>
            <a:pPr marL="0" indent="0">
              <a:buNone/>
            </a:pPr>
            <a:r>
              <a:rPr lang="en-US" dirty="0"/>
              <a:t>Here Null hypothesis = Ho = Is a fair coin !!</a:t>
            </a:r>
          </a:p>
          <a:p>
            <a:pPr marL="0" indent="0">
              <a:buNone/>
            </a:pPr>
            <a:r>
              <a:rPr lang="en-US" dirty="0"/>
              <a:t>Let’s keep on tossing our coin to figure out whether we should </a:t>
            </a:r>
          </a:p>
          <a:p>
            <a:pPr marL="342900" indent="-342900">
              <a:buAutoNum type="arabicPeriod"/>
            </a:pPr>
            <a:r>
              <a:rPr lang="en-US" dirty="0"/>
              <a:t>Reject Ho</a:t>
            </a:r>
          </a:p>
          <a:p>
            <a:pPr marL="342900" indent="-342900">
              <a:buAutoNum type="arabicPeriod"/>
            </a:pPr>
            <a:r>
              <a:rPr lang="en-US" dirty="0"/>
              <a:t>Accept Ho</a:t>
            </a:r>
          </a:p>
        </p:txBody>
      </p:sp>
      <p:pic>
        <p:nvPicPr>
          <p:cNvPr id="5" name="Picture 4">
            <a:extLst>
              <a:ext uri="{FF2B5EF4-FFF2-40B4-BE49-F238E27FC236}">
                <a16:creationId xmlns:a16="http://schemas.microsoft.com/office/drawing/2014/main" id="{53736F0E-6124-42BF-B844-5ED66E5449A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88929" y="992062"/>
            <a:ext cx="2038350" cy="3048000"/>
          </a:xfrm>
          <a:prstGeom prst="rect">
            <a:avLst/>
          </a:prstGeom>
        </p:spPr>
      </p:pic>
    </p:spTree>
    <p:extLst>
      <p:ext uri="{BB962C8B-B14F-4D97-AF65-F5344CB8AC3E}">
        <p14:creationId xmlns:p14="http://schemas.microsoft.com/office/powerpoint/2010/main" val="798158213"/>
      </p:ext>
    </p:extLst>
  </p:cSld>
  <p:clrMapOvr>
    <a:masterClrMapping/>
  </p:clrMapOvr>
  <p:transition spd="med">
    <p:wipe dir="r"/>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4E8BB-1F7E-47B3-8FD9-E425DA87F06A}"/>
              </a:ext>
            </a:extLst>
          </p:cNvPr>
          <p:cNvSpPr>
            <a:spLocks noGrp="1"/>
          </p:cNvSpPr>
          <p:nvPr>
            <p:ph type="title"/>
          </p:nvPr>
        </p:nvSpPr>
        <p:spPr>
          <a:xfrm>
            <a:off x="0" y="0"/>
            <a:ext cx="5025460" cy="640080"/>
          </a:xfrm>
        </p:spPr>
        <p:txBody>
          <a:bodyPr/>
          <a:lstStyle/>
          <a:p>
            <a:r>
              <a:rPr lang="en-US" dirty="0"/>
              <a:t>Importance of p-Value</a:t>
            </a:r>
          </a:p>
        </p:txBody>
      </p:sp>
      <p:sp>
        <p:nvSpPr>
          <p:cNvPr id="3" name="Content Placeholder 2">
            <a:extLst>
              <a:ext uri="{FF2B5EF4-FFF2-40B4-BE49-F238E27FC236}">
                <a16:creationId xmlns:a16="http://schemas.microsoft.com/office/drawing/2014/main" id="{F4A75CB9-B8B9-4142-93BA-1A68605957A3}"/>
              </a:ext>
            </a:extLst>
          </p:cNvPr>
          <p:cNvSpPr>
            <a:spLocks noGrp="1"/>
          </p:cNvSpPr>
          <p:nvPr>
            <p:ph sz="half" idx="13"/>
          </p:nvPr>
        </p:nvSpPr>
        <p:spPr>
          <a:xfrm>
            <a:off x="186637" y="691436"/>
            <a:ext cx="6502261" cy="517326"/>
          </a:xfrm>
        </p:spPr>
        <p:txBody>
          <a:bodyPr/>
          <a:lstStyle/>
          <a:p>
            <a:pPr marL="0" indent="0">
              <a:buNone/>
            </a:pPr>
            <a:r>
              <a:rPr lang="en-US" dirty="0"/>
              <a:t>3.  Flip a coin &gt; Assume we get “head” again</a:t>
            </a:r>
          </a:p>
          <a:p>
            <a:pPr marL="688975" lvl="1" indent="-342900"/>
            <a:r>
              <a:rPr lang="en-US" dirty="0"/>
              <a:t>P(H | 2H) = 0.5 X 0.5 X 0.5 = 0.125</a:t>
            </a:r>
          </a:p>
          <a:p>
            <a:pPr marL="688975" lvl="1" indent="-342900"/>
            <a:endParaRPr lang="en-US" dirty="0"/>
          </a:p>
          <a:p>
            <a:endParaRPr lang="en-US" dirty="0"/>
          </a:p>
        </p:txBody>
      </p:sp>
      <p:sp>
        <p:nvSpPr>
          <p:cNvPr id="4" name="Content Placeholder 2">
            <a:extLst>
              <a:ext uri="{FF2B5EF4-FFF2-40B4-BE49-F238E27FC236}">
                <a16:creationId xmlns:a16="http://schemas.microsoft.com/office/drawing/2014/main" id="{A09F2003-2FCA-4A7B-89BD-885EC9432B9B}"/>
              </a:ext>
            </a:extLst>
          </p:cNvPr>
          <p:cNvSpPr txBox="1">
            <a:spLocks/>
          </p:cNvSpPr>
          <p:nvPr/>
        </p:nvSpPr>
        <p:spPr>
          <a:xfrm>
            <a:off x="186636" y="1393676"/>
            <a:ext cx="6502261" cy="517326"/>
          </a:xfrm>
          <a:prstGeom prst="rect">
            <a:avLst/>
          </a:prstGeom>
        </p:spPr>
        <p:txBody>
          <a:bodyPr wrap="square" lIns="0" tIns="0" rIns="0" bIns="0">
            <a:normAutofit/>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b="0">
                <a:solidFill>
                  <a:srgbClr val="000000"/>
                </a:solidFill>
                <a:latin typeface="Arial" panose="020B0604020202020204" pitchFamily="34" charset="0"/>
                <a:ea typeface="Museo Sans For Dell" pitchFamily="2" charset="0"/>
                <a:cs typeface="Arial" panose="020B0604020202020204" pitchFamily="34" charset="0"/>
              </a:defRPr>
            </a:lvl1pPr>
            <a:lvl2pPr marL="574675" indent="-231775" algn="l" rtl="0" eaLnBrk="1" fontAlgn="base" hangingPunct="1">
              <a:lnSpc>
                <a:spcPct val="100000"/>
              </a:lnSpc>
              <a:spcBef>
                <a:spcPts val="300"/>
              </a:spcBef>
              <a:spcAft>
                <a:spcPts val="0"/>
              </a:spcAft>
              <a:buClr>
                <a:srgbClr val="AAAAAA"/>
              </a:buClr>
              <a:buFont typeface="Museo Sans For Dell" pitchFamily="2" charset="0"/>
              <a:buChar char="–"/>
              <a:defRPr sz="1200" b="0" baseline="0">
                <a:solidFill>
                  <a:srgbClr val="000000"/>
                </a:solidFill>
                <a:latin typeface="Arial" panose="020B0604020202020204" pitchFamily="34" charset="0"/>
                <a:ea typeface="Museo Sans For Dell" pitchFamily="2" charset="0"/>
                <a:cs typeface="Arial" panose="020B0604020202020204" pitchFamily="34"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0" baseline="0">
                <a:solidFill>
                  <a:srgbClr val="000000"/>
                </a:solidFill>
                <a:latin typeface="Arial" panose="020B0604020202020204" pitchFamily="34" charset="0"/>
                <a:ea typeface="Museo Sans For Dell" pitchFamily="2" charset="0"/>
                <a:cs typeface="Arial" panose="020B0604020202020204" pitchFamily="34"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0" baseline="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b="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9pPr>
          </a:lstStyle>
          <a:p>
            <a:pPr marL="0" indent="0">
              <a:buFont typeface="Arial" pitchFamily="34" charset="0"/>
              <a:buNone/>
            </a:pPr>
            <a:r>
              <a:rPr lang="en-US" kern="0" dirty="0"/>
              <a:t>4.  Flip a coin &gt; Assume we get “head” again</a:t>
            </a:r>
          </a:p>
          <a:p>
            <a:pPr marL="688975" lvl="1" indent="-342900"/>
            <a:r>
              <a:rPr lang="en-US" kern="0" dirty="0"/>
              <a:t>P(H | 3H) = 0.5 X 0.5 X 0.5 X 0.5 = 0.0625</a:t>
            </a:r>
          </a:p>
          <a:p>
            <a:pPr marL="688975" lvl="1" indent="-342900"/>
            <a:endParaRPr lang="en-US" kern="0" dirty="0"/>
          </a:p>
          <a:p>
            <a:endParaRPr lang="en-US" kern="0" dirty="0"/>
          </a:p>
        </p:txBody>
      </p:sp>
      <p:sp>
        <p:nvSpPr>
          <p:cNvPr id="5" name="Content Placeholder 2">
            <a:extLst>
              <a:ext uri="{FF2B5EF4-FFF2-40B4-BE49-F238E27FC236}">
                <a16:creationId xmlns:a16="http://schemas.microsoft.com/office/drawing/2014/main" id="{BEABD709-C6DC-4198-900B-BD47C197815F}"/>
              </a:ext>
            </a:extLst>
          </p:cNvPr>
          <p:cNvSpPr txBox="1">
            <a:spLocks/>
          </p:cNvSpPr>
          <p:nvPr/>
        </p:nvSpPr>
        <p:spPr>
          <a:xfrm>
            <a:off x="186636" y="2095916"/>
            <a:ext cx="6502261" cy="517326"/>
          </a:xfrm>
          <a:prstGeom prst="rect">
            <a:avLst/>
          </a:prstGeom>
        </p:spPr>
        <p:txBody>
          <a:bodyPr wrap="square" lIns="0" tIns="0" rIns="0" bIns="0">
            <a:normAutofit/>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b="0">
                <a:solidFill>
                  <a:srgbClr val="000000"/>
                </a:solidFill>
                <a:latin typeface="Arial" panose="020B0604020202020204" pitchFamily="34" charset="0"/>
                <a:ea typeface="Museo Sans For Dell" pitchFamily="2" charset="0"/>
                <a:cs typeface="Arial" panose="020B0604020202020204" pitchFamily="34" charset="0"/>
              </a:defRPr>
            </a:lvl1pPr>
            <a:lvl2pPr marL="574675" indent="-231775" algn="l" rtl="0" eaLnBrk="1" fontAlgn="base" hangingPunct="1">
              <a:lnSpc>
                <a:spcPct val="100000"/>
              </a:lnSpc>
              <a:spcBef>
                <a:spcPts val="300"/>
              </a:spcBef>
              <a:spcAft>
                <a:spcPts val="0"/>
              </a:spcAft>
              <a:buClr>
                <a:srgbClr val="AAAAAA"/>
              </a:buClr>
              <a:buFont typeface="Museo Sans For Dell" pitchFamily="2" charset="0"/>
              <a:buChar char="–"/>
              <a:defRPr sz="1200" b="0" baseline="0">
                <a:solidFill>
                  <a:srgbClr val="000000"/>
                </a:solidFill>
                <a:latin typeface="Arial" panose="020B0604020202020204" pitchFamily="34" charset="0"/>
                <a:ea typeface="Museo Sans For Dell" pitchFamily="2" charset="0"/>
                <a:cs typeface="Arial" panose="020B0604020202020204" pitchFamily="34"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0" baseline="0">
                <a:solidFill>
                  <a:srgbClr val="000000"/>
                </a:solidFill>
                <a:latin typeface="Arial" panose="020B0604020202020204" pitchFamily="34" charset="0"/>
                <a:ea typeface="Museo Sans For Dell" pitchFamily="2" charset="0"/>
                <a:cs typeface="Arial" panose="020B0604020202020204" pitchFamily="34"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0" baseline="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b="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9pPr>
          </a:lstStyle>
          <a:p>
            <a:pPr marL="0" indent="0">
              <a:buFont typeface="Arial" pitchFamily="34" charset="0"/>
              <a:buNone/>
            </a:pPr>
            <a:r>
              <a:rPr lang="en-US" kern="0" dirty="0"/>
              <a:t>5.  Flip a coin &gt; Assume we get “head” again</a:t>
            </a:r>
          </a:p>
          <a:p>
            <a:pPr marL="688975" lvl="1" indent="-342900"/>
            <a:r>
              <a:rPr lang="en-US" kern="0" dirty="0"/>
              <a:t>P(H | 4H) = 0.5 X 0.5 X 0.5 X 0.5 X 0.5 = 0.0312</a:t>
            </a:r>
          </a:p>
          <a:p>
            <a:pPr marL="688975" lvl="1" indent="-342900"/>
            <a:endParaRPr lang="en-US" kern="0" dirty="0"/>
          </a:p>
          <a:p>
            <a:endParaRPr lang="en-US" kern="0" dirty="0"/>
          </a:p>
        </p:txBody>
      </p:sp>
      <p:sp>
        <p:nvSpPr>
          <p:cNvPr id="6" name="TextBox 5">
            <a:extLst>
              <a:ext uri="{FF2B5EF4-FFF2-40B4-BE49-F238E27FC236}">
                <a16:creationId xmlns:a16="http://schemas.microsoft.com/office/drawing/2014/main" id="{9C30D7DF-560C-4416-B1BE-572D6985C661}"/>
              </a:ext>
            </a:extLst>
          </p:cNvPr>
          <p:cNvSpPr txBox="1"/>
          <p:nvPr/>
        </p:nvSpPr>
        <p:spPr>
          <a:xfrm>
            <a:off x="186636" y="2787041"/>
            <a:ext cx="4015846"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2 concepts</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dirty="0">
                <a:solidFill>
                  <a:schemeClr val="bg2"/>
                </a:solidFill>
                <a:latin typeface="+mn-lt"/>
              </a:rPr>
              <a:t>Confident level </a:t>
            </a:r>
            <a:r>
              <a:rPr lang="en-US" sz="1400" dirty="0">
                <a:solidFill>
                  <a:schemeClr val="bg2"/>
                </a:solidFill>
                <a:latin typeface="+mn-lt"/>
              </a:rPr>
              <a:t>= 97%</a:t>
            </a:r>
          </a:p>
          <a:p>
            <a:pPr>
              <a:spcBef>
                <a:spcPts val="0"/>
              </a:spcBef>
              <a:spcAft>
                <a:spcPts val="0"/>
              </a:spcAft>
              <a:buClr>
                <a:schemeClr val="bg1"/>
              </a:buClr>
            </a:pPr>
            <a:r>
              <a:rPr lang="en-US" sz="1400" b="1" dirty="0">
                <a:solidFill>
                  <a:schemeClr val="bg2"/>
                </a:solidFill>
                <a:latin typeface="+mn-lt"/>
              </a:rPr>
              <a:t>p-value or significance level </a:t>
            </a:r>
            <a:r>
              <a:rPr lang="en-US" sz="1400" dirty="0">
                <a:solidFill>
                  <a:schemeClr val="bg2"/>
                </a:solidFill>
                <a:latin typeface="+mn-lt"/>
              </a:rPr>
              <a:t>= 3%</a:t>
            </a:r>
          </a:p>
        </p:txBody>
      </p:sp>
      <p:sp>
        <p:nvSpPr>
          <p:cNvPr id="7" name="TextBox 6">
            <a:extLst>
              <a:ext uri="{FF2B5EF4-FFF2-40B4-BE49-F238E27FC236}">
                <a16:creationId xmlns:a16="http://schemas.microsoft.com/office/drawing/2014/main" id="{4A24BE1D-473B-48EA-BDDD-7F10C6C2726E}"/>
              </a:ext>
            </a:extLst>
          </p:cNvPr>
          <p:cNvSpPr txBox="1"/>
          <p:nvPr/>
        </p:nvSpPr>
        <p:spPr>
          <a:xfrm>
            <a:off x="186636" y="3971524"/>
            <a:ext cx="803043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can say that chance of we getting a 5H in a row is just 3% and not getting 5H in a row is 97%</a:t>
            </a:r>
          </a:p>
        </p:txBody>
      </p:sp>
      <p:pic>
        <p:nvPicPr>
          <p:cNvPr id="9" name="Picture 8" descr="A hand with a coin in the background&#10;&#10;Description automatically generated with low confidence">
            <a:extLst>
              <a:ext uri="{FF2B5EF4-FFF2-40B4-BE49-F238E27FC236}">
                <a16:creationId xmlns:a16="http://schemas.microsoft.com/office/drawing/2014/main" id="{1D54438E-8488-4204-B572-0241F3C9662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90929" y="344563"/>
            <a:ext cx="2513226" cy="3181142"/>
          </a:xfrm>
          <a:prstGeom prst="rect">
            <a:avLst/>
          </a:prstGeom>
        </p:spPr>
      </p:pic>
    </p:spTree>
    <p:extLst>
      <p:ext uri="{BB962C8B-B14F-4D97-AF65-F5344CB8AC3E}">
        <p14:creationId xmlns:p14="http://schemas.microsoft.com/office/powerpoint/2010/main" val="2615070353"/>
      </p:ext>
    </p:extLst>
  </p:cSld>
  <p:clrMapOvr>
    <a:masterClrMapping/>
  </p:clrMapOvr>
  <p:transition spd="med">
    <p:wipe dir="r"/>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4BC9655-D6FB-4052-A081-6F68A3212DAF}"/>
              </a:ext>
            </a:extLst>
          </p:cNvPr>
          <p:cNvSpPr>
            <a:spLocks noGrp="1"/>
          </p:cNvSpPr>
          <p:nvPr>
            <p:ph type="title"/>
          </p:nvPr>
        </p:nvSpPr>
        <p:spPr>
          <a:xfrm>
            <a:off x="0" y="0"/>
            <a:ext cx="5025460" cy="640080"/>
          </a:xfrm>
        </p:spPr>
        <p:txBody>
          <a:bodyPr/>
          <a:lstStyle/>
          <a:p>
            <a:r>
              <a:rPr lang="en-US" dirty="0"/>
              <a:t>Importance of p-Value</a:t>
            </a:r>
          </a:p>
        </p:txBody>
      </p:sp>
      <p:sp>
        <p:nvSpPr>
          <p:cNvPr id="5" name="Content Placeholder 4">
            <a:extLst>
              <a:ext uri="{FF2B5EF4-FFF2-40B4-BE49-F238E27FC236}">
                <a16:creationId xmlns:a16="http://schemas.microsoft.com/office/drawing/2014/main" id="{DCF882BF-2AB3-4F00-A647-31D99F9D8FA4}"/>
              </a:ext>
            </a:extLst>
          </p:cNvPr>
          <p:cNvSpPr txBox="1">
            <a:spLocks noGrp="1"/>
          </p:cNvSpPr>
          <p:nvPr>
            <p:ph sz="half" idx="13"/>
          </p:nvPr>
        </p:nvSpPr>
        <p:spPr>
          <a:xfrm>
            <a:off x="1" y="785813"/>
            <a:ext cx="7478038" cy="1661993"/>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can say that chance of we getting a 5H in a row is just 3% and not getting 5H in a row is 97%</a:t>
            </a:r>
          </a:p>
          <a:p>
            <a:pPr>
              <a:spcBef>
                <a:spcPts val="0"/>
              </a:spcBef>
              <a:spcAft>
                <a:spcPts val="0"/>
              </a:spcAft>
              <a:buClr>
                <a:schemeClr val="bg1"/>
              </a:buClr>
            </a:pPr>
            <a:endParaRPr lang="en-US"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dirty="0">
                <a:solidFill>
                  <a:schemeClr val="bg2"/>
                </a:solidFill>
                <a:latin typeface="+mn-lt"/>
              </a:rPr>
              <a:t>Hence, we reject out Null Hypothesis Ho </a:t>
            </a:r>
            <a:r>
              <a:rPr lang="en-US" dirty="0" err="1">
                <a:solidFill>
                  <a:schemeClr val="bg2"/>
                </a:solidFill>
                <a:latin typeface="+mn-lt"/>
              </a:rPr>
              <a:t>i.e</a:t>
            </a:r>
            <a:r>
              <a:rPr lang="en-US" dirty="0">
                <a:solidFill>
                  <a:schemeClr val="bg2"/>
                </a:solidFill>
                <a:latin typeface="+mn-lt"/>
              </a:rPr>
              <a:t> the coin is fair</a:t>
            </a:r>
          </a:p>
          <a:p>
            <a:pPr>
              <a:spcBef>
                <a:spcPts val="0"/>
              </a:spcBef>
              <a:spcAft>
                <a:spcPts val="0"/>
              </a:spcAft>
              <a:buClr>
                <a:schemeClr val="bg1"/>
              </a:buClr>
            </a:pPr>
            <a:endParaRPr lang="en-US" sz="1400" dirty="0">
              <a:solidFill>
                <a:schemeClr val="bg2"/>
              </a:solidFill>
              <a:latin typeface="+mn-lt"/>
            </a:endParaRPr>
          </a:p>
          <a:p>
            <a:pPr lvl="1">
              <a:spcBef>
                <a:spcPts val="0"/>
              </a:spcBef>
              <a:buClr>
                <a:schemeClr val="bg1"/>
              </a:buClr>
            </a:pPr>
            <a:r>
              <a:rPr lang="en-US" dirty="0">
                <a:solidFill>
                  <a:schemeClr val="bg2"/>
                </a:solidFill>
                <a:latin typeface="+mn-lt"/>
              </a:rPr>
              <a:t>Note : when we reject Ho we accept H1 </a:t>
            </a:r>
            <a:r>
              <a:rPr lang="en-US" dirty="0" err="1">
                <a:solidFill>
                  <a:schemeClr val="bg2"/>
                </a:solidFill>
                <a:latin typeface="+mn-lt"/>
              </a:rPr>
              <a:t>i.e</a:t>
            </a:r>
            <a:r>
              <a:rPr lang="en-US" dirty="0">
                <a:solidFill>
                  <a:schemeClr val="bg2"/>
                </a:solidFill>
                <a:latin typeface="+mn-lt"/>
              </a:rPr>
              <a:t> the Alternate Hypothesis – The coin is not fair !!</a:t>
            </a:r>
          </a:p>
          <a:p>
            <a:pPr marL="342900" lvl="1" indent="0">
              <a:spcBef>
                <a:spcPts val="0"/>
              </a:spcBef>
              <a:buClr>
                <a:schemeClr val="bg1"/>
              </a:buClr>
              <a:buNone/>
            </a:pPr>
            <a:endParaRPr lang="en-US" dirty="0">
              <a:solidFill>
                <a:schemeClr val="bg2"/>
              </a:solidFill>
              <a:latin typeface="+mn-lt"/>
            </a:endParaRPr>
          </a:p>
        </p:txBody>
      </p:sp>
      <p:sp>
        <p:nvSpPr>
          <p:cNvPr id="6" name="TextBox 5">
            <a:extLst>
              <a:ext uri="{FF2B5EF4-FFF2-40B4-BE49-F238E27FC236}">
                <a16:creationId xmlns:a16="http://schemas.microsoft.com/office/drawing/2014/main" id="{92EF90D6-13B1-4700-9E78-9E35CCE8623B}"/>
              </a:ext>
            </a:extLst>
          </p:cNvPr>
          <p:cNvSpPr txBox="1"/>
          <p:nvPr/>
        </p:nvSpPr>
        <p:spPr>
          <a:xfrm>
            <a:off x="229861" y="2768252"/>
            <a:ext cx="7160495" cy="523220"/>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1"/>
                </a:solidFill>
                <a:latin typeface="+mn-lt"/>
              </a:rPr>
              <a:t>Remember : The p- value is a calculation that we make during hypothesis testing to determine if we reject the null hypothesis or fail to reject it </a:t>
            </a:r>
          </a:p>
        </p:txBody>
      </p:sp>
    </p:spTree>
    <p:extLst>
      <p:ext uri="{BB962C8B-B14F-4D97-AF65-F5344CB8AC3E}">
        <p14:creationId xmlns:p14="http://schemas.microsoft.com/office/powerpoint/2010/main" val="2912201933"/>
      </p:ext>
    </p:extLst>
  </p:cSld>
  <p:clrMapOvr>
    <a:masterClrMapping/>
  </p:clrMapOvr>
  <p:transition spd="med">
    <p:wipe dir="r"/>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6228"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959777"/>
          </a:xfrm>
        </p:spPr>
        <p:txBody>
          <a:bodyPr/>
          <a:lstStyle/>
          <a:p>
            <a:r>
              <a:rPr lang="en-US" sz="4800" dirty="0">
                <a:solidFill>
                  <a:schemeClr val="tx2"/>
                </a:solidFill>
              </a:rPr>
              <a:t>Linear Algebra</a:t>
            </a:r>
            <a:br>
              <a:rPr lang="en-US" sz="4800" dirty="0">
                <a:solidFill>
                  <a:schemeClr val="tx2"/>
                </a:solidFill>
              </a:rPr>
            </a:br>
            <a:br>
              <a:rPr lang="en-US" sz="4800" dirty="0">
                <a:solidFill>
                  <a:schemeClr val="tx2"/>
                </a:solidFill>
              </a:rPr>
            </a:br>
            <a:br>
              <a:rPr lang="en-US" dirty="0"/>
            </a:br>
            <a:br>
              <a:rPr lang="en-US" dirty="0"/>
            </a:br>
            <a:r>
              <a:rPr lang="en-US" dirty="0"/>
              <a:t> </a:t>
            </a:r>
          </a:p>
        </p:txBody>
      </p:sp>
    </p:spTree>
    <p:extLst>
      <p:ext uri="{BB962C8B-B14F-4D97-AF65-F5344CB8AC3E}">
        <p14:creationId xmlns:p14="http://schemas.microsoft.com/office/powerpoint/2010/main" val="1324626672"/>
      </p:ext>
    </p:extLst>
  </p:cSld>
  <p:clrMapOvr>
    <a:masterClrMapping/>
  </p:clrMapOvr>
  <p:transition spd="med">
    <p:wipe dir="r"/>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B3D82-DC6B-4013-BF1B-6AAC717D448F}"/>
              </a:ext>
            </a:extLst>
          </p:cNvPr>
          <p:cNvSpPr>
            <a:spLocks noGrp="1"/>
          </p:cNvSpPr>
          <p:nvPr>
            <p:ph type="title"/>
          </p:nvPr>
        </p:nvSpPr>
        <p:spPr>
          <a:xfrm>
            <a:off x="0" y="0"/>
            <a:ext cx="4295219" cy="640080"/>
          </a:xfrm>
        </p:spPr>
        <p:txBody>
          <a:bodyPr/>
          <a:lstStyle/>
          <a:p>
            <a:r>
              <a:rPr lang="en-US" dirty="0"/>
              <a:t>Matrix</a:t>
            </a:r>
          </a:p>
        </p:txBody>
      </p:sp>
      <p:sp>
        <p:nvSpPr>
          <p:cNvPr id="3" name="Content Placeholder 2">
            <a:extLst>
              <a:ext uri="{FF2B5EF4-FFF2-40B4-BE49-F238E27FC236}">
                <a16:creationId xmlns:a16="http://schemas.microsoft.com/office/drawing/2014/main" id="{1316FB4E-A734-4B8B-A6C1-4A93467602B1}"/>
              </a:ext>
            </a:extLst>
          </p:cNvPr>
          <p:cNvSpPr>
            <a:spLocks noGrp="1"/>
          </p:cNvSpPr>
          <p:nvPr>
            <p:ph sz="half" idx="13"/>
          </p:nvPr>
        </p:nvSpPr>
        <p:spPr>
          <a:xfrm>
            <a:off x="174111" y="841749"/>
            <a:ext cx="7159877" cy="3200400"/>
          </a:xfrm>
        </p:spPr>
        <p:txBody>
          <a:bodyPr/>
          <a:lstStyle/>
          <a:p>
            <a:r>
              <a:rPr lang="en-US" dirty="0"/>
              <a:t>What is a Matrix ? </a:t>
            </a:r>
          </a:p>
          <a:p>
            <a:pPr lvl="1"/>
            <a:r>
              <a:rPr lang="en-US" dirty="0"/>
              <a:t>Matrix is a very useful topic that comes under linear algebra. It is an arrangement of elements, especially numbers, in a particular way. A matrix is a mathematical structure having rows and columns. </a:t>
            </a:r>
          </a:p>
          <a:p>
            <a:r>
              <a:rPr lang="en-US" dirty="0"/>
              <a:t>We use row to represent samples</a:t>
            </a:r>
          </a:p>
          <a:p>
            <a:r>
              <a:rPr lang="en-US" dirty="0"/>
              <a:t>Columns represent the value of the variable (or attributes)</a:t>
            </a:r>
          </a:p>
          <a:p>
            <a:r>
              <a:rPr lang="en-US" dirty="0"/>
              <a:t>It is also possible to use rows for variables and columns for sample</a:t>
            </a:r>
          </a:p>
        </p:txBody>
      </p:sp>
    </p:spTree>
    <p:extLst>
      <p:ext uri="{BB962C8B-B14F-4D97-AF65-F5344CB8AC3E}">
        <p14:creationId xmlns:p14="http://schemas.microsoft.com/office/powerpoint/2010/main" val="1378944581"/>
      </p:ext>
    </p:extLst>
  </p:cSld>
  <p:clrMapOvr>
    <a:masterClrMapping/>
  </p:clrMapOvr>
  <p:transition spd="med">
    <p:wipe dir="r"/>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C63AC-6520-4392-BBE7-E7885F95B9E9}"/>
              </a:ext>
            </a:extLst>
          </p:cNvPr>
          <p:cNvSpPr>
            <a:spLocks noGrp="1"/>
          </p:cNvSpPr>
          <p:nvPr>
            <p:ph type="title"/>
          </p:nvPr>
        </p:nvSpPr>
        <p:spPr>
          <a:xfrm>
            <a:off x="0" y="0"/>
            <a:ext cx="5960226" cy="640080"/>
          </a:xfrm>
        </p:spPr>
        <p:txBody>
          <a:bodyPr/>
          <a:lstStyle/>
          <a:p>
            <a:r>
              <a:rPr lang="en-US" dirty="0"/>
              <a:t>Data representation : examples</a:t>
            </a:r>
          </a:p>
        </p:txBody>
      </p:sp>
      <p:sp>
        <p:nvSpPr>
          <p:cNvPr id="3" name="Content Placeholder 2">
            <a:extLst>
              <a:ext uri="{FF2B5EF4-FFF2-40B4-BE49-F238E27FC236}">
                <a16:creationId xmlns:a16="http://schemas.microsoft.com/office/drawing/2014/main" id="{5892A58C-9063-4D3C-8AD9-53F62C2B17E8}"/>
              </a:ext>
            </a:extLst>
          </p:cNvPr>
          <p:cNvSpPr>
            <a:spLocks noGrp="1"/>
          </p:cNvSpPr>
          <p:nvPr>
            <p:ph sz="half" idx="13"/>
          </p:nvPr>
        </p:nvSpPr>
        <p:spPr>
          <a:xfrm>
            <a:off x="176597" y="882291"/>
            <a:ext cx="8241467" cy="1407161"/>
          </a:xfrm>
        </p:spPr>
        <p:txBody>
          <a:bodyPr/>
          <a:lstStyle/>
          <a:p>
            <a:r>
              <a:rPr lang="en-US" dirty="0"/>
              <a:t>A real life example</a:t>
            </a:r>
          </a:p>
          <a:p>
            <a:pPr lvl="1"/>
            <a:r>
              <a:rPr lang="en-US" dirty="0"/>
              <a:t>Consider a reactor which need to be controlled using multiple attributes from various sensors like Pressure (Pa). Temp (K) , Density (gm/m^3) etc.</a:t>
            </a:r>
          </a:p>
          <a:p>
            <a:pPr lvl="1"/>
            <a:r>
              <a:rPr lang="en-US" dirty="0"/>
              <a:t>Independently, the sensors have generated 1000 data points</a:t>
            </a:r>
          </a:p>
          <a:p>
            <a:pPr lvl="1"/>
            <a:endParaRPr lang="en-US" dirty="0"/>
          </a:p>
        </p:txBody>
      </p:sp>
      <p:pic>
        <p:nvPicPr>
          <p:cNvPr id="5" name="Picture 4">
            <a:extLst>
              <a:ext uri="{FF2B5EF4-FFF2-40B4-BE49-F238E27FC236}">
                <a16:creationId xmlns:a16="http://schemas.microsoft.com/office/drawing/2014/main" id="{11138200-64D4-42DC-9270-D1236E3E98A1}"/>
              </a:ext>
            </a:extLst>
          </p:cNvPr>
          <p:cNvPicPr>
            <a:picLocks noChangeAspect="1"/>
          </p:cNvPicPr>
          <p:nvPr/>
        </p:nvPicPr>
        <p:blipFill>
          <a:blip r:embed="rId2"/>
          <a:stretch>
            <a:fillRect/>
          </a:stretch>
        </p:blipFill>
        <p:spPr>
          <a:xfrm>
            <a:off x="1815488" y="2429056"/>
            <a:ext cx="3545269" cy="1518576"/>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D98CBE3F-5C69-4CED-AD9D-AB73BAA6974D}"/>
                  </a:ext>
                </a:extLst>
              </p14:cNvPr>
              <p14:cNvContentPartPr/>
              <p14:nvPr/>
            </p14:nvContentPartPr>
            <p14:xfrm>
              <a:off x="352440" y="828720"/>
              <a:ext cx="8063280" cy="3272040"/>
            </p14:xfrm>
          </p:contentPart>
        </mc:Choice>
        <mc:Fallback>
          <p:pic>
            <p:nvPicPr>
              <p:cNvPr id="4" name="Ink 3">
                <a:extLst>
                  <a:ext uri="{FF2B5EF4-FFF2-40B4-BE49-F238E27FC236}">
                    <a16:creationId xmlns:a16="http://schemas.microsoft.com/office/drawing/2014/main" id="{D98CBE3F-5C69-4CED-AD9D-AB73BAA6974D}"/>
                  </a:ext>
                </a:extLst>
              </p:cNvPr>
              <p:cNvPicPr/>
              <p:nvPr/>
            </p:nvPicPr>
            <p:blipFill>
              <a:blip r:embed="rId4"/>
              <a:stretch>
                <a:fillRect/>
              </a:stretch>
            </p:blipFill>
            <p:spPr>
              <a:xfrm>
                <a:off x="343080" y="819360"/>
                <a:ext cx="8082000" cy="3290760"/>
              </a:xfrm>
              <a:prstGeom prst="rect">
                <a:avLst/>
              </a:prstGeom>
            </p:spPr>
          </p:pic>
        </mc:Fallback>
      </mc:AlternateContent>
    </p:spTree>
    <p:extLst>
      <p:ext uri="{BB962C8B-B14F-4D97-AF65-F5344CB8AC3E}">
        <p14:creationId xmlns:p14="http://schemas.microsoft.com/office/powerpoint/2010/main" val="1191213409"/>
      </p:ext>
    </p:extLst>
  </p:cSld>
  <p:clrMapOvr>
    <a:masterClrMapping/>
  </p:clrMapOvr>
  <p:transition spd="med">
    <p:wipe dir="r"/>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71018-4F96-4D7A-8B2D-21D855948CA2}"/>
              </a:ext>
            </a:extLst>
          </p:cNvPr>
          <p:cNvSpPr>
            <a:spLocks noGrp="1"/>
          </p:cNvSpPr>
          <p:nvPr>
            <p:ph type="title"/>
          </p:nvPr>
        </p:nvSpPr>
        <p:spPr>
          <a:xfrm>
            <a:off x="0" y="22860"/>
            <a:ext cx="4295219" cy="640080"/>
          </a:xfrm>
        </p:spPr>
        <p:txBody>
          <a:bodyPr/>
          <a:lstStyle/>
          <a:p>
            <a:r>
              <a:rPr lang="en-US" dirty="0"/>
              <a:t>Matrix Multiplication</a:t>
            </a:r>
          </a:p>
        </p:txBody>
      </p:sp>
      <p:sp>
        <p:nvSpPr>
          <p:cNvPr id="3" name="Content Placeholder 2">
            <a:extLst>
              <a:ext uri="{FF2B5EF4-FFF2-40B4-BE49-F238E27FC236}">
                <a16:creationId xmlns:a16="http://schemas.microsoft.com/office/drawing/2014/main" id="{A664E19E-C568-49BE-A995-BB475226BDF2}"/>
              </a:ext>
            </a:extLst>
          </p:cNvPr>
          <p:cNvSpPr>
            <a:spLocks noGrp="1"/>
          </p:cNvSpPr>
          <p:nvPr>
            <p:ph sz="half" idx="13"/>
          </p:nvPr>
        </p:nvSpPr>
        <p:spPr/>
        <p:txBody>
          <a:bodyPr/>
          <a:lstStyle/>
          <a:p>
            <a:endParaRPr lang="en-US"/>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923B184E-40C5-4E34-8EA7-98118B18B09C}"/>
                  </a:ext>
                </a:extLst>
              </p14:cNvPr>
              <p14:cNvContentPartPr/>
              <p14:nvPr/>
            </p14:nvContentPartPr>
            <p14:xfrm>
              <a:off x="1228680" y="299880"/>
              <a:ext cx="7225200" cy="3953520"/>
            </p14:xfrm>
          </p:contentPart>
        </mc:Choice>
        <mc:Fallback>
          <p:pic>
            <p:nvPicPr>
              <p:cNvPr id="4" name="Ink 3">
                <a:extLst>
                  <a:ext uri="{FF2B5EF4-FFF2-40B4-BE49-F238E27FC236}">
                    <a16:creationId xmlns:a16="http://schemas.microsoft.com/office/drawing/2014/main" id="{923B184E-40C5-4E34-8EA7-98118B18B09C}"/>
                  </a:ext>
                </a:extLst>
              </p:cNvPr>
              <p:cNvPicPr/>
              <p:nvPr/>
            </p:nvPicPr>
            <p:blipFill>
              <a:blip r:embed="rId3"/>
              <a:stretch>
                <a:fillRect/>
              </a:stretch>
            </p:blipFill>
            <p:spPr>
              <a:xfrm>
                <a:off x="1219320" y="290520"/>
                <a:ext cx="7243920" cy="3972240"/>
              </a:xfrm>
              <a:prstGeom prst="rect">
                <a:avLst/>
              </a:prstGeom>
            </p:spPr>
          </p:pic>
        </mc:Fallback>
      </mc:AlternateContent>
    </p:spTree>
    <p:extLst>
      <p:ext uri="{BB962C8B-B14F-4D97-AF65-F5344CB8AC3E}">
        <p14:creationId xmlns:p14="http://schemas.microsoft.com/office/powerpoint/2010/main" val="1907477286"/>
      </p:ext>
    </p:extLst>
  </p:cSld>
  <p:clrMapOvr>
    <a:masterClrMapping/>
  </p:clrMapOvr>
  <p:transition spd="med">
    <p:wipe dir="r"/>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6F2AA-19B9-4836-89E6-CA8D15DFD084}"/>
              </a:ext>
            </a:extLst>
          </p:cNvPr>
          <p:cNvSpPr>
            <a:spLocks noGrp="1"/>
          </p:cNvSpPr>
          <p:nvPr>
            <p:ph type="title"/>
          </p:nvPr>
        </p:nvSpPr>
        <p:spPr>
          <a:xfrm>
            <a:off x="0" y="-23797"/>
            <a:ext cx="4295219" cy="640080"/>
          </a:xfrm>
        </p:spPr>
        <p:txBody>
          <a:bodyPr/>
          <a:lstStyle/>
          <a:p>
            <a:r>
              <a:rPr lang="en-US" dirty="0"/>
              <a:t>Matrix multiplication</a:t>
            </a:r>
          </a:p>
        </p:txBody>
      </p:sp>
      <p:sp>
        <p:nvSpPr>
          <p:cNvPr id="6" name="TextBox 5">
            <a:extLst>
              <a:ext uri="{FF2B5EF4-FFF2-40B4-BE49-F238E27FC236}">
                <a16:creationId xmlns:a16="http://schemas.microsoft.com/office/drawing/2014/main" id="{B21D58B6-8FD6-4AFC-9816-3847FDE69ED5}"/>
              </a:ext>
            </a:extLst>
          </p:cNvPr>
          <p:cNvSpPr txBox="1"/>
          <p:nvPr/>
        </p:nvSpPr>
        <p:spPr>
          <a:xfrm>
            <a:off x="104701" y="872520"/>
            <a:ext cx="8557667" cy="1384995"/>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First, each entry in the row of the first matrix is multiplied by the corresponding entry in the column if the second matrix and summed up.</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is will produce the first entry in the final matrix</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same row is then multiplied for the rest of the columns in the second matrix</a:t>
            </a:r>
          </a:p>
        </p:txBody>
      </p:sp>
      <p:pic>
        <p:nvPicPr>
          <p:cNvPr id="8" name="Picture 7">
            <a:extLst>
              <a:ext uri="{FF2B5EF4-FFF2-40B4-BE49-F238E27FC236}">
                <a16:creationId xmlns:a16="http://schemas.microsoft.com/office/drawing/2014/main" id="{9755F7A9-3F36-499F-965E-6B050896D80C}"/>
              </a:ext>
            </a:extLst>
          </p:cNvPr>
          <p:cNvPicPr>
            <a:picLocks noChangeAspect="1"/>
          </p:cNvPicPr>
          <p:nvPr/>
        </p:nvPicPr>
        <p:blipFill>
          <a:blip r:embed="rId2"/>
          <a:stretch>
            <a:fillRect/>
          </a:stretch>
        </p:blipFill>
        <p:spPr>
          <a:xfrm>
            <a:off x="1550720" y="2377379"/>
            <a:ext cx="5024762" cy="1384995"/>
          </a:xfrm>
          <a:prstGeom prst="rect">
            <a:avLst/>
          </a:prstGeom>
        </p:spPr>
      </p:pic>
      <p:sp>
        <p:nvSpPr>
          <p:cNvPr id="9" name="TextBox 8">
            <a:extLst>
              <a:ext uri="{FF2B5EF4-FFF2-40B4-BE49-F238E27FC236}">
                <a16:creationId xmlns:a16="http://schemas.microsoft.com/office/drawing/2014/main" id="{7FD38011-E6CB-463C-9BA2-71BF1E891D8C}"/>
              </a:ext>
            </a:extLst>
          </p:cNvPr>
          <p:cNvSpPr txBox="1"/>
          <p:nvPr/>
        </p:nvSpPr>
        <p:spPr>
          <a:xfrm>
            <a:off x="439750" y="4188092"/>
            <a:ext cx="8055096"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 process is the same for second row and then repeated across the entire matrix</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59B28A44-B4E0-4A34-BB6A-46142988CB82}"/>
                  </a:ext>
                </a:extLst>
              </p14:cNvPr>
              <p14:cNvContentPartPr/>
              <p14:nvPr/>
            </p14:nvContentPartPr>
            <p14:xfrm>
              <a:off x="533520" y="1066680"/>
              <a:ext cx="7339320" cy="2934000"/>
            </p14:xfrm>
          </p:contentPart>
        </mc:Choice>
        <mc:Fallback>
          <p:pic>
            <p:nvPicPr>
              <p:cNvPr id="3" name="Ink 2">
                <a:extLst>
                  <a:ext uri="{FF2B5EF4-FFF2-40B4-BE49-F238E27FC236}">
                    <a16:creationId xmlns:a16="http://schemas.microsoft.com/office/drawing/2014/main" id="{59B28A44-B4E0-4A34-BB6A-46142988CB82}"/>
                  </a:ext>
                </a:extLst>
              </p:cNvPr>
              <p:cNvPicPr/>
              <p:nvPr/>
            </p:nvPicPr>
            <p:blipFill>
              <a:blip r:embed="rId4"/>
              <a:stretch>
                <a:fillRect/>
              </a:stretch>
            </p:blipFill>
            <p:spPr>
              <a:xfrm>
                <a:off x="524160" y="1057320"/>
                <a:ext cx="7358040" cy="2952720"/>
              </a:xfrm>
              <a:prstGeom prst="rect">
                <a:avLst/>
              </a:prstGeom>
            </p:spPr>
          </p:pic>
        </mc:Fallback>
      </mc:AlternateContent>
    </p:spTree>
    <p:extLst>
      <p:ext uri="{BB962C8B-B14F-4D97-AF65-F5344CB8AC3E}">
        <p14:creationId xmlns:p14="http://schemas.microsoft.com/office/powerpoint/2010/main" val="2124142423"/>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E2B6-F6CD-4C05-BF18-6EBE6281B8B8}"/>
              </a:ext>
            </a:extLst>
          </p:cNvPr>
          <p:cNvSpPr>
            <a:spLocks noGrp="1"/>
          </p:cNvSpPr>
          <p:nvPr>
            <p:ph type="title"/>
          </p:nvPr>
        </p:nvSpPr>
        <p:spPr>
          <a:xfrm>
            <a:off x="193039" y="274657"/>
            <a:ext cx="7955280" cy="640080"/>
          </a:xfrm>
        </p:spPr>
        <p:txBody>
          <a:bodyPr>
            <a:normAutofit/>
          </a:bodyPr>
          <a:lstStyle/>
          <a:p>
            <a:r>
              <a:rPr lang="en-US" dirty="0"/>
              <a:t>What is Statistics ? </a:t>
            </a:r>
          </a:p>
        </p:txBody>
      </p:sp>
      <p:pic>
        <p:nvPicPr>
          <p:cNvPr id="4" name="Picture 3">
            <a:extLst>
              <a:ext uri="{FF2B5EF4-FFF2-40B4-BE49-F238E27FC236}">
                <a16:creationId xmlns:a16="http://schemas.microsoft.com/office/drawing/2014/main" id="{695DD122-1AE0-4635-B074-79C43F8020D2}"/>
              </a:ext>
            </a:extLst>
          </p:cNvPr>
          <p:cNvPicPr>
            <a:picLocks noChangeAspect="1"/>
          </p:cNvPicPr>
          <p:nvPr/>
        </p:nvPicPr>
        <p:blipFill>
          <a:blip r:embed="rId3"/>
          <a:stretch>
            <a:fillRect/>
          </a:stretch>
        </p:blipFill>
        <p:spPr>
          <a:xfrm>
            <a:off x="93480" y="820792"/>
            <a:ext cx="8582362" cy="2424516"/>
          </a:xfrm>
          <a:prstGeom prst="rect">
            <a:avLst/>
          </a:prstGeom>
          <a:noFill/>
        </p:spPr>
      </p:pic>
      <p:sp>
        <p:nvSpPr>
          <p:cNvPr id="5" name="TextBox 4">
            <a:extLst>
              <a:ext uri="{FF2B5EF4-FFF2-40B4-BE49-F238E27FC236}">
                <a16:creationId xmlns:a16="http://schemas.microsoft.com/office/drawing/2014/main" id="{5491C1A3-7396-478E-AAB2-394B8BEDC9DE}"/>
              </a:ext>
            </a:extLst>
          </p:cNvPr>
          <p:cNvSpPr txBox="1"/>
          <p:nvPr/>
        </p:nvSpPr>
        <p:spPr>
          <a:xfrm>
            <a:off x="366432" y="3339253"/>
            <a:ext cx="8411135" cy="1260345"/>
          </a:xfrm>
          <a:prstGeom prst="rect">
            <a:avLst/>
          </a:prstGeom>
          <a:noFill/>
        </p:spPr>
        <p:txBody>
          <a:bodyPr wrap="square" rtlCol="0">
            <a:spAutoFit/>
          </a:bodyPr>
          <a:lstStyle/>
          <a:p>
            <a:pPr marL="0" marR="0">
              <a:lnSpc>
                <a:spcPct val="107000"/>
              </a:lnSpc>
              <a:spcBef>
                <a:spcPts val="0"/>
              </a:spcBef>
              <a:spcAft>
                <a:spcPts val="800"/>
              </a:spcAft>
            </a:pPr>
            <a:r>
              <a:rPr lang="en-US" dirty="0">
                <a:effectLst/>
                <a:latin typeface="Calibri" panose="020F0502020204030204" pitchFamily="34" charset="0"/>
                <a:ea typeface="DengXian" panose="02010600030101010101" pitchFamily="2" charset="-122"/>
                <a:cs typeface="Times New Roman" panose="02020603050405020304" pitchFamily="18" charset="0"/>
              </a:rPr>
              <a:t>Statistics is simply the study of data, facts, figures and measurements. Statistics is used to convert </a:t>
            </a:r>
            <a:r>
              <a:rPr lang="en-US" b="1" i="1" dirty="0">
                <a:effectLst/>
                <a:latin typeface="Calibri" panose="020F0502020204030204" pitchFamily="34" charset="0"/>
                <a:ea typeface="DengXian" panose="02010600030101010101" pitchFamily="2" charset="-122"/>
                <a:cs typeface="Times New Roman" panose="02020603050405020304" pitchFamily="18" charset="0"/>
              </a:rPr>
              <a:t>raw numerical data </a:t>
            </a:r>
            <a:r>
              <a:rPr lang="en-US" dirty="0">
                <a:effectLst/>
                <a:latin typeface="Calibri" panose="020F0502020204030204" pitchFamily="34" charset="0"/>
                <a:ea typeface="DengXian" panose="02010600030101010101" pitchFamily="2" charset="-122"/>
                <a:cs typeface="Times New Roman" panose="02020603050405020304" pitchFamily="18" charset="0"/>
              </a:rPr>
              <a:t>into </a:t>
            </a:r>
            <a:r>
              <a:rPr lang="en-US" b="1" i="1" dirty="0">
                <a:effectLst/>
                <a:latin typeface="Calibri" panose="020F0502020204030204" pitchFamily="34" charset="0"/>
                <a:ea typeface="DengXian" panose="02010600030101010101" pitchFamily="2" charset="-122"/>
                <a:cs typeface="Times New Roman" panose="02020603050405020304" pitchFamily="18" charset="0"/>
              </a:rPr>
              <a:t>useful information </a:t>
            </a:r>
            <a:r>
              <a:rPr lang="en-US" dirty="0">
                <a:effectLst/>
                <a:latin typeface="Calibri" panose="020F0502020204030204" pitchFamily="34" charset="0"/>
                <a:ea typeface="DengXian" panose="02010600030101010101" pitchFamily="2" charset="-122"/>
                <a:cs typeface="Times New Roman" panose="02020603050405020304" pitchFamily="18" charset="0"/>
              </a:rPr>
              <a:t>for relevant users. </a:t>
            </a:r>
          </a:p>
        </p:txBody>
      </p:sp>
    </p:spTree>
    <p:extLst>
      <p:ext uri="{BB962C8B-B14F-4D97-AF65-F5344CB8AC3E}">
        <p14:creationId xmlns:p14="http://schemas.microsoft.com/office/powerpoint/2010/main" val="36472934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53F6A-9246-4D32-89E2-3F5351AEB908}"/>
              </a:ext>
            </a:extLst>
          </p:cNvPr>
          <p:cNvSpPr>
            <a:spLocks noGrp="1"/>
          </p:cNvSpPr>
          <p:nvPr>
            <p:ph type="title"/>
          </p:nvPr>
        </p:nvSpPr>
        <p:spPr>
          <a:xfrm>
            <a:off x="0" y="22860"/>
            <a:ext cx="8813314" cy="640080"/>
          </a:xfrm>
        </p:spPr>
        <p:txBody>
          <a:bodyPr/>
          <a:lstStyle/>
          <a:p>
            <a:r>
              <a:rPr lang="en-US" dirty="0"/>
              <a:t>Difference between Descriptive &amp; Inferential Statistics</a:t>
            </a:r>
          </a:p>
        </p:txBody>
      </p:sp>
      <p:sp>
        <p:nvSpPr>
          <p:cNvPr id="3" name="Content Placeholder 2">
            <a:extLst>
              <a:ext uri="{FF2B5EF4-FFF2-40B4-BE49-F238E27FC236}">
                <a16:creationId xmlns:a16="http://schemas.microsoft.com/office/drawing/2014/main" id="{15960CB5-F854-43A7-A136-BE3BA4C2B693}"/>
              </a:ext>
            </a:extLst>
          </p:cNvPr>
          <p:cNvSpPr>
            <a:spLocks noGrp="1"/>
          </p:cNvSpPr>
          <p:nvPr>
            <p:ph sz="half" idx="13"/>
          </p:nvPr>
        </p:nvSpPr>
        <p:spPr/>
        <p:txBody>
          <a:bodyPr/>
          <a:lstStyle/>
          <a:p>
            <a:endParaRPr lang="en-US" dirty="0"/>
          </a:p>
        </p:txBody>
      </p:sp>
      <p:sp>
        <p:nvSpPr>
          <p:cNvPr id="4" name="Content Placeholder 3">
            <a:extLst>
              <a:ext uri="{FF2B5EF4-FFF2-40B4-BE49-F238E27FC236}">
                <a16:creationId xmlns:a16="http://schemas.microsoft.com/office/drawing/2014/main" id="{D0BD7AFE-1A0A-4FDF-8FF1-3E5CEB10A8A3}"/>
              </a:ext>
            </a:extLst>
          </p:cNvPr>
          <p:cNvSpPr>
            <a:spLocks noGrp="1"/>
          </p:cNvSpPr>
          <p:nvPr>
            <p:ph sz="half" idx="14"/>
          </p:nvPr>
        </p:nvSpPr>
        <p:spPr/>
        <p:txBody>
          <a:bodyPr/>
          <a:lstStyle/>
          <a:p>
            <a:endParaRPr lang="en-US" dirty="0"/>
          </a:p>
        </p:txBody>
      </p:sp>
    </p:spTree>
    <p:extLst>
      <p:ext uri="{BB962C8B-B14F-4D97-AF65-F5344CB8AC3E}">
        <p14:creationId xmlns:p14="http://schemas.microsoft.com/office/powerpoint/2010/main" val="1717064405"/>
      </p:ext>
    </p:extLst>
  </p:cSld>
  <p:clrMapOvr>
    <a:masterClrMapping/>
  </p:clrMapOvr>
  <p:transition spd="med">
    <p:wipe dir="r"/>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C8A27-796E-42CF-BE3F-B0F1F1EA0D12}"/>
              </a:ext>
            </a:extLst>
          </p:cNvPr>
          <p:cNvSpPr>
            <a:spLocks noGrp="1"/>
          </p:cNvSpPr>
          <p:nvPr>
            <p:ph type="title"/>
          </p:nvPr>
        </p:nvSpPr>
        <p:spPr>
          <a:xfrm>
            <a:off x="0" y="22860"/>
            <a:ext cx="8326498" cy="640080"/>
          </a:xfrm>
        </p:spPr>
        <p:txBody>
          <a:bodyPr/>
          <a:lstStyle/>
          <a:p>
            <a:r>
              <a:rPr lang="en-US" dirty="0"/>
              <a:t>Matrix multiplication – Now in reverse</a:t>
            </a:r>
          </a:p>
        </p:txBody>
      </p:sp>
      <p:sp>
        <p:nvSpPr>
          <p:cNvPr id="3" name="Content Placeholder 2">
            <a:extLst>
              <a:ext uri="{FF2B5EF4-FFF2-40B4-BE49-F238E27FC236}">
                <a16:creationId xmlns:a16="http://schemas.microsoft.com/office/drawing/2014/main" id="{99FE1EB5-3A29-4437-A9D3-70FF41314356}"/>
              </a:ext>
            </a:extLst>
          </p:cNvPr>
          <p:cNvSpPr>
            <a:spLocks noGrp="1"/>
          </p:cNvSpPr>
          <p:nvPr>
            <p:ph sz="half" idx="13"/>
          </p:nvPr>
        </p:nvSpPr>
        <p:spPr>
          <a:xfrm>
            <a:off x="113777" y="854371"/>
            <a:ext cx="7850578" cy="640080"/>
          </a:xfrm>
        </p:spPr>
        <p:txBody>
          <a:bodyPr/>
          <a:lstStyle/>
          <a:p>
            <a:r>
              <a:rPr lang="en-US" dirty="0"/>
              <a:t>The same 3X2 matrix and a 2X3 matrix multiplies in reverse will produce 3X3 matrix</a:t>
            </a:r>
          </a:p>
        </p:txBody>
      </p:sp>
      <p:pic>
        <p:nvPicPr>
          <p:cNvPr id="5" name="Picture 4">
            <a:extLst>
              <a:ext uri="{FF2B5EF4-FFF2-40B4-BE49-F238E27FC236}">
                <a16:creationId xmlns:a16="http://schemas.microsoft.com/office/drawing/2014/main" id="{BE1EF174-8310-4407-BFA6-57688867C511}"/>
              </a:ext>
            </a:extLst>
          </p:cNvPr>
          <p:cNvPicPr>
            <a:picLocks noChangeAspect="1"/>
          </p:cNvPicPr>
          <p:nvPr/>
        </p:nvPicPr>
        <p:blipFill>
          <a:blip r:embed="rId2"/>
          <a:stretch>
            <a:fillRect/>
          </a:stretch>
        </p:blipFill>
        <p:spPr>
          <a:xfrm>
            <a:off x="914619" y="1685882"/>
            <a:ext cx="5674646" cy="914037"/>
          </a:xfrm>
          <a:prstGeom prst="rect">
            <a:avLst/>
          </a:prstGeom>
        </p:spPr>
      </p:pic>
      <p:sp>
        <p:nvSpPr>
          <p:cNvPr id="6" name="TextBox 5">
            <a:extLst>
              <a:ext uri="{FF2B5EF4-FFF2-40B4-BE49-F238E27FC236}">
                <a16:creationId xmlns:a16="http://schemas.microsoft.com/office/drawing/2014/main" id="{E12E1EA8-34CB-4761-B83F-E8707696F202}"/>
              </a:ext>
            </a:extLst>
          </p:cNvPr>
          <p:cNvSpPr txBox="1"/>
          <p:nvPr/>
        </p:nvSpPr>
        <p:spPr>
          <a:xfrm>
            <a:off x="113777" y="3301612"/>
            <a:ext cx="8066962"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Note that </a:t>
            </a:r>
            <a:r>
              <a:rPr lang="en-US" sz="1400" b="1" dirty="0">
                <a:solidFill>
                  <a:schemeClr val="bg2"/>
                </a:solidFill>
                <a:latin typeface="+mn-lt"/>
              </a:rPr>
              <a:t>the number of rows in the first matrix and number of columns in the second matrix </a:t>
            </a:r>
            <a:r>
              <a:rPr lang="en-US" sz="1400" dirty="0">
                <a:solidFill>
                  <a:schemeClr val="bg2"/>
                </a:solidFill>
                <a:latin typeface="+mn-lt"/>
              </a:rPr>
              <a:t>(show in bold above) will determine the size of final matrix</a:t>
            </a: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425691D9-3868-49EB-8E09-CD48BB85FBFD}"/>
                  </a:ext>
                </a:extLst>
              </p14:cNvPr>
              <p14:cNvContentPartPr/>
              <p14:nvPr/>
            </p14:nvContentPartPr>
            <p14:xfrm>
              <a:off x="795240" y="1076400"/>
              <a:ext cx="6691680" cy="3681720"/>
            </p14:xfrm>
          </p:contentPart>
        </mc:Choice>
        <mc:Fallback>
          <p:pic>
            <p:nvPicPr>
              <p:cNvPr id="4" name="Ink 3">
                <a:extLst>
                  <a:ext uri="{FF2B5EF4-FFF2-40B4-BE49-F238E27FC236}">
                    <a16:creationId xmlns:a16="http://schemas.microsoft.com/office/drawing/2014/main" id="{425691D9-3868-49EB-8E09-CD48BB85FBFD}"/>
                  </a:ext>
                </a:extLst>
              </p:cNvPr>
              <p:cNvPicPr/>
              <p:nvPr/>
            </p:nvPicPr>
            <p:blipFill>
              <a:blip r:embed="rId4"/>
              <a:stretch>
                <a:fillRect/>
              </a:stretch>
            </p:blipFill>
            <p:spPr>
              <a:xfrm>
                <a:off x="785880" y="1067040"/>
                <a:ext cx="6710400" cy="3700440"/>
              </a:xfrm>
              <a:prstGeom prst="rect">
                <a:avLst/>
              </a:prstGeom>
            </p:spPr>
          </p:pic>
        </mc:Fallback>
      </mc:AlternateContent>
    </p:spTree>
    <p:extLst>
      <p:ext uri="{BB962C8B-B14F-4D97-AF65-F5344CB8AC3E}">
        <p14:creationId xmlns:p14="http://schemas.microsoft.com/office/powerpoint/2010/main" val="2973120178"/>
      </p:ext>
    </p:extLst>
  </p:cSld>
  <p:clrMapOvr>
    <a:masterClrMapping/>
  </p:clrMapOvr>
  <p:transition spd="med">
    <p:wipe dir="r"/>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81B4F-57F5-4E97-A54A-08CBA8A083AE}"/>
              </a:ext>
            </a:extLst>
          </p:cNvPr>
          <p:cNvSpPr>
            <a:spLocks noGrp="1"/>
          </p:cNvSpPr>
          <p:nvPr>
            <p:ph type="title"/>
          </p:nvPr>
        </p:nvSpPr>
        <p:spPr>
          <a:xfrm>
            <a:off x="0" y="0"/>
            <a:ext cx="6874626" cy="640080"/>
          </a:xfrm>
        </p:spPr>
        <p:txBody>
          <a:bodyPr/>
          <a:lstStyle/>
          <a:p>
            <a:r>
              <a:rPr lang="en-US" dirty="0"/>
              <a:t>Matrix multiply by a scalar number</a:t>
            </a:r>
          </a:p>
        </p:txBody>
      </p:sp>
      <p:sp>
        <p:nvSpPr>
          <p:cNvPr id="3" name="Content Placeholder 2">
            <a:extLst>
              <a:ext uri="{FF2B5EF4-FFF2-40B4-BE49-F238E27FC236}">
                <a16:creationId xmlns:a16="http://schemas.microsoft.com/office/drawing/2014/main" id="{2F90F021-08A7-4860-959E-C8DBD84C4579}"/>
              </a:ext>
            </a:extLst>
          </p:cNvPr>
          <p:cNvSpPr>
            <a:spLocks noGrp="1"/>
          </p:cNvSpPr>
          <p:nvPr>
            <p:ph sz="half" idx="13"/>
          </p:nvPr>
        </p:nvSpPr>
        <p:spPr/>
        <p:txBody>
          <a:bodyPr/>
          <a:lstStyle/>
          <a:p>
            <a:endParaRPr lang="en-US"/>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28C1DB5A-CB6F-4DC5-8F86-D23B52BBBF92}"/>
                  </a:ext>
                </a:extLst>
              </p14:cNvPr>
              <p14:cNvContentPartPr/>
              <p14:nvPr/>
            </p14:nvContentPartPr>
            <p14:xfrm>
              <a:off x="866880" y="157320"/>
              <a:ext cx="7610760" cy="2095560"/>
            </p14:xfrm>
          </p:contentPart>
        </mc:Choice>
        <mc:Fallback>
          <p:pic>
            <p:nvPicPr>
              <p:cNvPr id="4" name="Ink 3">
                <a:extLst>
                  <a:ext uri="{FF2B5EF4-FFF2-40B4-BE49-F238E27FC236}">
                    <a16:creationId xmlns:a16="http://schemas.microsoft.com/office/drawing/2014/main" id="{28C1DB5A-CB6F-4DC5-8F86-D23B52BBBF92}"/>
                  </a:ext>
                </a:extLst>
              </p:cNvPr>
              <p:cNvPicPr/>
              <p:nvPr/>
            </p:nvPicPr>
            <p:blipFill>
              <a:blip r:embed="rId3"/>
              <a:stretch>
                <a:fillRect/>
              </a:stretch>
            </p:blipFill>
            <p:spPr>
              <a:xfrm>
                <a:off x="857520" y="147960"/>
                <a:ext cx="7629480" cy="2114280"/>
              </a:xfrm>
              <a:prstGeom prst="rect">
                <a:avLst/>
              </a:prstGeom>
            </p:spPr>
          </p:pic>
        </mc:Fallback>
      </mc:AlternateContent>
    </p:spTree>
    <p:extLst>
      <p:ext uri="{BB962C8B-B14F-4D97-AF65-F5344CB8AC3E}">
        <p14:creationId xmlns:p14="http://schemas.microsoft.com/office/powerpoint/2010/main" val="3300044266"/>
      </p:ext>
    </p:extLst>
  </p:cSld>
  <p:clrMapOvr>
    <a:masterClrMapping/>
  </p:clrMapOvr>
  <p:transition spd="med">
    <p:wipe dir="r"/>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4602F8-0037-4122-A405-50EA599890FE}"/>
              </a:ext>
            </a:extLst>
          </p:cNvPr>
          <p:cNvSpPr>
            <a:spLocks noGrp="1"/>
          </p:cNvSpPr>
          <p:nvPr>
            <p:ph type="title"/>
          </p:nvPr>
        </p:nvSpPr>
        <p:spPr>
          <a:xfrm>
            <a:off x="0" y="0"/>
            <a:ext cx="7111952" cy="640080"/>
          </a:xfrm>
        </p:spPr>
        <p:txBody>
          <a:bodyPr/>
          <a:lstStyle/>
          <a:p>
            <a:r>
              <a:rPr lang="en-US" dirty="0"/>
              <a:t>Multiply a Matrix by Another Matrix</a:t>
            </a:r>
          </a:p>
        </p:txBody>
      </p:sp>
      <p:pic>
        <p:nvPicPr>
          <p:cNvPr id="5" name="Picture 4">
            <a:extLst>
              <a:ext uri="{FF2B5EF4-FFF2-40B4-BE49-F238E27FC236}">
                <a16:creationId xmlns:a16="http://schemas.microsoft.com/office/drawing/2014/main" id="{0A61E08D-529A-4D5B-B2A9-83D91437448D}"/>
              </a:ext>
            </a:extLst>
          </p:cNvPr>
          <p:cNvPicPr>
            <a:picLocks noChangeAspect="1"/>
          </p:cNvPicPr>
          <p:nvPr/>
        </p:nvPicPr>
        <p:blipFill>
          <a:blip r:embed="rId2"/>
          <a:stretch>
            <a:fillRect/>
          </a:stretch>
        </p:blipFill>
        <p:spPr>
          <a:xfrm>
            <a:off x="167887" y="810061"/>
            <a:ext cx="3287288" cy="1189019"/>
          </a:xfrm>
          <a:prstGeom prst="rect">
            <a:avLst/>
          </a:prstGeom>
        </p:spPr>
      </p:pic>
      <p:pic>
        <p:nvPicPr>
          <p:cNvPr id="7" name="Picture 6">
            <a:extLst>
              <a:ext uri="{FF2B5EF4-FFF2-40B4-BE49-F238E27FC236}">
                <a16:creationId xmlns:a16="http://schemas.microsoft.com/office/drawing/2014/main" id="{D68271B8-926E-467D-A653-2D37F5BC6863}"/>
              </a:ext>
            </a:extLst>
          </p:cNvPr>
          <p:cNvPicPr>
            <a:picLocks noChangeAspect="1"/>
          </p:cNvPicPr>
          <p:nvPr/>
        </p:nvPicPr>
        <p:blipFill>
          <a:blip r:embed="rId3"/>
          <a:stretch>
            <a:fillRect/>
          </a:stretch>
        </p:blipFill>
        <p:spPr>
          <a:xfrm>
            <a:off x="653044" y="2017525"/>
            <a:ext cx="3688611" cy="1151622"/>
          </a:xfrm>
          <a:prstGeom prst="rect">
            <a:avLst/>
          </a:prstGeom>
        </p:spPr>
      </p:pic>
      <p:pic>
        <p:nvPicPr>
          <p:cNvPr id="9" name="Picture 8">
            <a:extLst>
              <a:ext uri="{FF2B5EF4-FFF2-40B4-BE49-F238E27FC236}">
                <a16:creationId xmlns:a16="http://schemas.microsoft.com/office/drawing/2014/main" id="{E9D812CF-4123-485A-8B89-8865CDBDDDEC}"/>
              </a:ext>
            </a:extLst>
          </p:cNvPr>
          <p:cNvPicPr>
            <a:picLocks noChangeAspect="1"/>
          </p:cNvPicPr>
          <p:nvPr/>
        </p:nvPicPr>
        <p:blipFill>
          <a:blip r:embed="rId4"/>
          <a:stretch>
            <a:fillRect/>
          </a:stretch>
        </p:blipFill>
        <p:spPr>
          <a:xfrm>
            <a:off x="1504950" y="3297252"/>
            <a:ext cx="4044271" cy="1036187"/>
          </a:xfrm>
          <a:prstGeom prst="rect">
            <a:avLst/>
          </a:prstGeom>
        </p:spPr>
      </p:pic>
      <mc:AlternateContent xmlns:mc="http://schemas.openxmlformats.org/markup-compatibility/2006">
        <mc:Choice xmlns:p14="http://schemas.microsoft.com/office/powerpoint/2010/main" Requires="p14">
          <p:contentPart p14:bwMode="auto" r:id="rId5">
            <p14:nvContentPartPr>
              <p14:cNvPr id="3" name="Ink 2">
                <a:extLst>
                  <a:ext uri="{FF2B5EF4-FFF2-40B4-BE49-F238E27FC236}">
                    <a16:creationId xmlns:a16="http://schemas.microsoft.com/office/drawing/2014/main" id="{2DBFB581-C1B0-4EA9-A5CB-B0E44DB5ED7A}"/>
                  </a:ext>
                </a:extLst>
              </p14:cNvPr>
              <p14:cNvContentPartPr/>
              <p14:nvPr/>
            </p14:nvContentPartPr>
            <p14:xfrm>
              <a:off x="5757840" y="1171440"/>
              <a:ext cx="714600" cy="3553200"/>
            </p14:xfrm>
          </p:contentPart>
        </mc:Choice>
        <mc:Fallback>
          <p:pic>
            <p:nvPicPr>
              <p:cNvPr id="3" name="Ink 2">
                <a:extLst>
                  <a:ext uri="{FF2B5EF4-FFF2-40B4-BE49-F238E27FC236}">
                    <a16:creationId xmlns:a16="http://schemas.microsoft.com/office/drawing/2014/main" id="{2DBFB581-C1B0-4EA9-A5CB-B0E44DB5ED7A}"/>
                  </a:ext>
                </a:extLst>
              </p:cNvPr>
              <p:cNvPicPr/>
              <p:nvPr/>
            </p:nvPicPr>
            <p:blipFill>
              <a:blip r:embed="rId6"/>
              <a:stretch>
                <a:fillRect/>
              </a:stretch>
            </p:blipFill>
            <p:spPr>
              <a:xfrm>
                <a:off x="5748480" y="1162080"/>
                <a:ext cx="733320" cy="3571920"/>
              </a:xfrm>
              <a:prstGeom prst="rect">
                <a:avLst/>
              </a:prstGeom>
            </p:spPr>
          </p:pic>
        </mc:Fallback>
      </mc:AlternateContent>
    </p:spTree>
    <p:extLst>
      <p:ext uri="{BB962C8B-B14F-4D97-AF65-F5344CB8AC3E}">
        <p14:creationId xmlns:p14="http://schemas.microsoft.com/office/powerpoint/2010/main" val="3043321488"/>
      </p:ext>
    </p:extLst>
  </p:cSld>
  <p:clrMapOvr>
    <a:masterClrMapping/>
  </p:clrMapOvr>
  <p:transition spd="med">
    <p:wipe dir="r"/>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10C3E-E555-4010-97DE-9E271731FF60}"/>
              </a:ext>
            </a:extLst>
          </p:cNvPr>
          <p:cNvSpPr>
            <a:spLocks noGrp="1"/>
          </p:cNvSpPr>
          <p:nvPr>
            <p:ph type="title"/>
          </p:nvPr>
        </p:nvSpPr>
        <p:spPr>
          <a:xfrm>
            <a:off x="0" y="0"/>
            <a:ext cx="8549863" cy="640080"/>
          </a:xfrm>
        </p:spPr>
        <p:txBody>
          <a:bodyPr/>
          <a:lstStyle/>
          <a:p>
            <a:r>
              <a:rPr lang="en-US" dirty="0"/>
              <a:t>Matrix multiplication -  Compatibility </a:t>
            </a:r>
          </a:p>
        </p:txBody>
      </p:sp>
      <p:sp>
        <p:nvSpPr>
          <p:cNvPr id="3" name="Content Placeholder 2">
            <a:extLst>
              <a:ext uri="{FF2B5EF4-FFF2-40B4-BE49-F238E27FC236}">
                <a16:creationId xmlns:a16="http://schemas.microsoft.com/office/drawing/2014/main" id="{C36D32FF-86B2-4D30-9725-EEE86FC27A64}"/>
              </a:ext>
            </a:extLst>
          </p:cNvPr>
          <p:cNvSpPr>
            <a:spLocks noGrp="1"/>
          </p:cNvSpPr>
          <p:nvPr>
            <p:ph sz="half" idx="13"/>
          </p:nvPr>
        </p:nvSpPr>
        <p:spPr>
          <a:xfrm>
            <a:off x="88299" y="875311"/>
            <a:ext cx="8967402" cy="3200400"/>
          </a:xfrm>
        </p:spPr>
        <p:txBody>
          <a:bodyPr/>
          <a:lstStyle/>
          <a:p>
            <a:r>
              <a:rPr lang="en-US" dirty="0"/>
              <a:t>A matrix is compatible with another only if the number of columns in the first matrix is equal to the number of rows in the second</a:t>
            </a:r>
          </a:p>
        </p:txBody>
      </p:sp>
      <p:pic>
        <p:nvPicPr>
          <p:cNvPr id="5" name="Picture 4">
            <a:extLst>
              <a:ext uri="{FF2B5EF4-FFF2-40B4-BE49-F238E27FC236}">
                <a16:creationId xmlns:a16="http://schemas.microsoft.com/office/drawing/2014/main" id="{3E681C18-0FEB-40C2-AD89-9779F42F8D7A}"/>
              </a:ext>
            </a:extLst>
          </p:cNvPr>
          <p:cNvPicPr>
            <a:picLocks noChangeAspect="1"/>
          </p:cNvPicPr>
          <p:nvPr/>
        </p:nvPicPr>
        <p:blipFill>
          <a:blip r:embed="rId2"/>
          <a:stretch>
            <a:fillRect/>
          </a:stretch>
        </p:blipFill>
        <p:spPr>
          <a:xfrm>
            <a:off x="720374" y="1641146"/>
            <a:ext cx="4856768" cy="2627043"/>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7C6222A0-2BC7-404F-9DC9-4E5FD8A8E74D}"/>
                  </a:ext>
                </a:extLst>
              </p14:cNvPr>
              <p14:cNvContentPartPr/>
              <p14:nvPr/>
            </p14:nvContentPartPr>
            <p14:xfrm>
              <a:off x="895320" y="604800"/>
              <a:ext cx="7648920" cy="3615120"/>
            </p14:xfrm>
          </p:contentPart>
        </mc:Choice>
        <mc:Fallback>
          <p:pic>
            <p:nvPicPr>
              <p:cNvPr id="4" name="Ink 3">
                <a:extLst>
                  <a:ext uri="{FF2B5EF4-FFF2-40B4-BE49-F238E27FC236}">
                    <a16:creationId xmlns:a16="http://schemas.microsoft.com/office/drawing/2014/main" id="{7C6222A0-2BC7-404F-9DC9-4E5FD8A8E74D}"/>
                  </a:ext>
                </a:extLst>
              </p:cNvPr>
              <p:cNvPicPr/>
              <p:nvPr/>
            </p:nvPicPr>
            <p:blipFill>
              <a:blip r:embed="rId4"/>
              <a:stretch>
                <a:fillRect/>
              </a:stretch>
            </p:blipFill>
            <p:spPr>
              <a:xfrm>
                <a:off x="885960" y="595440"/>
                <a:ext cx="7667640" cy="3633840"/>
              </a:xfrm>
              <a:prstGeom prst="rect">
                <a:avLst/>
              </a:prstGeom>
            </p:spPr>
          </p:pic>
        </mc:Fallback>
      </mc:AlternateContent>
    </p:spTree>
    <p:extLst>
      <p:ext uri="{BB962C8B-B14F-4D97-AF65-F5344CB8AC3E}">
        <p14:creationId xmlns:p14="http://schemas.microsoft.com/office/powerpoint/2010/main" val="1204448208"/>
      </p:ext>
    </p:extLst>
  </p:cSld>
  <p:clrMapOvr>
    <a:masterClrMapping/>
  </p:clrMapOvr>
  <p:transition spd="med">
    <p:wipe dir="r"/>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16240-BB33-4B0D-B473-E7839EE8CC11}"/>
              </a:ext>
            </a:extLst>
          </p:cNvPr>
          <p:cNvSpPr>
            <a:spLocks noGrp="1"/>
          </p:cNvSpPr>
          <p:nvPr>
            <p:ph type="title"/>
          </p:nvPr>
        </p:nvSpPr>
        <p:spPr>
          <a:xfrm>
            <a:off x="0" y="22860"/>
            <a:ext cx="4295219" cy="640080"/>
          </a:xfrm>
        </p:spPr>
        <p:txBody>
          <a:bodyPr/>
          <a:lstStyle/>
          <a:p>
            <a:r>
              <a:rPr lang="en-US" dirty="0"/>
              <a:t>Identity Matrix</a:t>
            </a:r>
          </a:p>
        </p:txBody>
      </p:sp>
      <p:sp>
        <p:nvSpPr>
          <p:cNvPr id="3" name="Content Placeholder 2">
            <a:extLst>
              <a:ext uri="{FF2B5EF4-FFF2-40B4-BE49-F238E27FC236}">
                <a16:creationId xmlns:a16="http://schemas.microsoft.com/office/drawing/2014/main" id="{72397C41-6F3F-4D1E-9D0E-77993D9C3342}"/>
              </a:ext>
            </a:extLst>
          </p:cNvPr>
          <p:cNvSpPr>
            <a:spLocks noGrp="1"/>
          </p:cNvSpPr>
          <p:nvPr>
            <p:ph sz="half" idx="13"/>
          </p:nvPr>
        </p:nvSpPr>
        <p:spPr>
          <a:xfrm>
            <a:off x="274320" y="2156866"/>
            <a:ext cx="6768654" cy="2323693"/>
          </a:xfrm>
        </p:spPr>
        <p:txBody>
          <a:bodyPr/>
          <a:lstStyle/>
          <a:p>
            <a:r>
              <a:rPr lang="en-US" dirty="0"/>
              <a:t>It is “square” (has same number of rows as columns)</a:t>
            </a:r>
          </a:p>
          <a:p>
            <a:r>
              <a:rPr lang="en-US" dirty="0"/>
              <a:t>It can be large or small (2x2, 100x100,… so on)</a:t>
            </a:r>
          </a:p>
          <a:p>
            <a:r>
              <a:rPr lang="en-US" dirty="0"/>
              <a:t>It has 1s on the main diagonal and 0s everywhere else</a:t>
            </a:r>
          </a:p>
          <a:p>
            <a:r>
              <a:rPr lang="en-US" dirty="0"/>
              <a:t>Its symbol is the capital letter I</a:t>
            </a:r>
          </a:p>
        </p:txBody>
      </p:sp>
      <p:pic>
        <p:nvPicPr>
          <p:cNvPr id="5" name="Picture 4">
            <a:extLst>
              <a:ext uri="{FF2B5EF4-FFF2-40B4-BE49-F238E27FC236}">
                <a16:creationId xmlns:a16="http://schemas.microsoft.com/office/drawing/2014/main" id="{125AA284-9367-4610-85B0-797E13CE3605}"/>
              </a:ext>
            </a:extLst>
          </p:cNvPr>
          <p:cNvPicPr>
            <a:picLocks noChangeAspect="1"/>
          </p:cNvPicPr>
          <p:nvPr/>
        </p:nvPicPr>
        <p:blipFill>
          <a:blip r:embed="rId2"/>
          <a:stretch>
            <a:fillRect/>
          </a:stretch>
        </p:blipFill>
        <p:spPr>
          <a:xfrm>
            <a:off x="2301159" y="662940"/>
            <a:ext cx="2284663" cy="1399004"/>
          </a:xfrm>
          <a:prstGeom prst="rect">
            <a:avLst/>
          </a:prstGeom>
        </p:spPr>
      </p:pic>
      <p:pic>
        <p:nvPicPr>
          <p:cNvPr id="7" name="Picture 6">
            <a:extLst>
              <a:ext uri="{FF2B5EF4-FFF2-40B4-BE49-F238E27FC236}">
                <a16:creationId xmlns:a16="http://schemas.microsoft.com/office/drawing/2014/main" id="{73DA0457-B35E-40D4-A2B4-E69C08558E6D}"/>
              </a:ext>
            </a:extLst>
          </p:cNvPr>
          <p:cNvPicPr>
            <a:picLocks noChangeAspect="1"/>
          </p:cNvPicPr>
          <p:nvPr/>
        </p:nvPicPr>
        <p:blipFill>
          <a:blip r:embed="rId3"/>
          <a:stretch>
            <a:fillRect/>
          </a:stretch>
        </p:blipFill>
        <p:spPr>
          <a:xfrm>
            <a:off x="3214132" y="4146031"/>
            <a:ext cx="1490492" cy="958642"/>
          </a:xfrm>
          <a:prstGeom prst="rect">
            <a:avLst/>
          </a:prstGeom>
        </p:spPr>
      </p:pic>
      <p:sp>
        <p:nvSpPr>
          <p:cNvPr id="8" name="TextBox 7">
            <a:extLst>
              <a:ext uri="{FF2B5EF4-FFF2-40B4-BE49-F238E27FC236}">
                <a16:creationId xmlns:a16="http://schemas.microsoft.com/office/drawing/2014/main" id="{F41A1D55-5665-4080-9E02-D3DE9A3F8C07}"/>
              </a:ext>
            </a:extLst>
          </p:cNvPr>
          <p:cNvSpPr txBox="1"/>
          <p:nvPr/>
        </p:nvSpPr>
        <p:spPr>
          <a:xfrm>
            <a:off x="216385" y="3713441"/>
            <a:ext cx="704995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It is a special matrix, because  when we multiply by it, the original matrix is unchanged</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2310D124-4930-480F-A6DE-C9DAA1F35BCB}"/>
                  </a:ext>
                </a:extLst>
              </p14:cNvPr>
              <p14:cNvContentPartPr/>
              <p14:nvPr/>
            </p14:nvContentPartPr>
            <p14:xfrm>
              <a:off x="2962440" y="666720"/>
              <a:ext cx="5429520" cy="4472280"/>
            </p14:xfrm>
          </p:contentPart>
        </mc:Choice>
        <mc:Fallback>
          <p:pic>
            <p:nvPicPr>
              <p:cNvPr id="4" name="Ink 3">
                <a:extLst>
                  <a:ext uri="{FF2B5EF4-FFF2-40B4-BE49-F238E27FC236}">
                    <a16:creationId xmlns:a16="http://schemas.microsoft.com/office/drawing/2014/main" id="{2310D124-4930-480F-A6DE-C9DAA1F35BCB}"/>
                  </a:ext>
                </a:extLst>
              </p:cNvPr>
              <p:cNvPicPr/>
              <p:nvPr/>
            </p:nvPicPr>
            <p:blipFill>
              <a:blip r:embed="rId5"/>
              <a:stretch>
                <a:fillRect/>
              </a:stretch>
            </p:blipFill>
            <p:spPr>
              <a:xfrm>
                <a:off x="2953080" y="657360"/>
                <a:ext cx="5448240" cy="4491000"/>
              </a:xfrm>
              <a:prstGeom prst="rect">
                <a:avLst/>
              </a:prstGeom>
            </p:spPr>
          </p:pic>
        </mc:Fallback>
      </mc:AlternateContent>
    </p:spTree>
    <p:extLst>
      <p:ext uri="{BB962C8B-B14F-4D97-AF65-F5344CB8AC3E}">
        <p14:creationId xmlns:p14="http://schemas.microsoft.com/office/powerpoint/2010/main" val="1107294824"/>
      </p:ext>
    </p:extLst>
  </p:cSld>
  <p:clrMapOvr>
    <a:masterClrMapping/>
  </p:clrMapOvr>
  <p:transition spd="med">
    <p:wipe dir="r"/>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634F8-3763-45F0-A1DE-C2F78F327115}"/>
              </a:ext>
            </a:extLst>
          </p:cNvPr>
          <p:cNvSpPr>
            <a:spLocks noGrp="1"/>
          </p:cNvSpPr>
          <p:nvPr>
            <p:ph type="title"/>
          </p:nvPr>
        </p:nvSpPr>
        <p:spPr>
          <a:xfrm>
            <a:off x="0" y="22860"/>
            <a:ext cx="4295219" cy="640080"/>
          </a:xfrm>
        </p:spPr>
        <p:txBody>
          <a:bodyPr/>
          <a:lstStyle/>
          <a:p>
            <a:r>
              <a:rPr lang="en-US" dirty="0"/>
              <a:t>Order of Multiplication </a:t>
            </a:r>
          </a:p>
        </p:txBody>
      </p:sp>
      <p:sp>
        <p:nvSpPr>
          <p:cNvPr id="3" name="Content Placeholder 2">
            <a:extLst>
              <a:ext uri="{FF2B5EF4-FFF2-40B4-BE49-F238E27FC236}">
                <a16:creationId xmlns:a16="http://schemas.microsoft.com/office/drawing/2014/main" id="{A3980B23-9561-4AB9-8447-C53D73273956}"/>
              </a:ext>
            </a:extLst>
          </p:cNvPr>
          <p:cNvSpPr>
            <a:spLocks noGrp="1"/>
          </p:cNvSpPr>
          <p:nvPr>
            <p:ph sz="half" idx="13"/>
          </p:nvPr>
        </p:nvSpPr>
        <p:spPr>
          <a:xfrm>
            <a:off x="105749" y="662940"/>
            <a:ext cx="8932501" cy="3817620"/>
          </a:xfrm>
        </p:spPr>
        <p:txBody>
          <a:bodyPr/>
          <a:lstStyle/>
          <a:p>
            <a:endParaRPr lang="en-US"/>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8668A47A-3B20-4EE7-8091-382C7EFE1E8D}"/>
                  </a:ext>
                </a:extLst>
              </p14:cNvPr>
              <p14:cNvContentPartPr/>
              <p14:nvPr/>
            </p14:nvContentPartPr>
            <p14:xfrm>
              <a:off x="2529000" y="309600"/>
              <a:ext cx="4429440" cy="2576880"/>
            </p14:xfrm>
          </p:contentPart>
        </mc:Choice>
        <mc:Fallback>
          <p:pic>
            <p:nvPicPr>
              <p:cNvPr id="4" name="Ink 3">
                <a:extLst>
                  <a:ext uri="{FF2B5EF4-FFF2-40B4-BE49-F238E27FC236}">
                    <a16:creationId xmlns:a16="http://schemas.microsoft.com/office/drawing/2014/main" id="{8668A47A-3B20-4EE7-8091-382C7EFE1E8D}"/>
                  </a:ext>
                </a:extLst>
              </p:cNvPr>
              <p:cNvPicPr/>
              <p:nvPr/>
            </p:nvPicPr>
            <p:blipFill>
              <a:blip r:embed="rId3"/>
              <a:stretch>
                <a:fillRect/>
              </a:stretch>
            </p:blipFill>
            <p:spPr>
              <a:xfrm>
                <a:off x="2519640" y="300240"/>
                <a:ext cx="4448160" cy="2595600"/>
              </a:xfrm>
              <a:prstGeom prst="rect">
                <a:avLst/>
              </a:prstGeom>
            </p:spPr>
          </p:pic>
        </mc:Fallback>
      </mc:AlternateContent>
    </p:spTree>
    <p:extLst>
      <p:ext uri="{BB962C8B-B14F-4D97-AF65-F5344CB8AC3E}">
        <p14:creationId xmlns:p14="http://schemas.microsoft.com/office/powerpoint/2010/main" val="1244905684"/>
      </p:ext>
    </p:extLst>
  </p:cSld>
  <p:clrMapOvr>
    <a:masterClrMapping/>
  </p:clrMapOvr>
  <p:transition spd="med">
    <p:wipe dir="r"/>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63BA7-EFC0-44D5-B846-F5C57C72B312}"/>
              </a:ext>
            </a:extLst>
          </p:cNvPr>
          <p:cNvSpPr>
            <a:spLocks noGrp="1"/>
          </p:cNvSpPr>
          <p:nvPr>
            <p:ph type="title"/>
          </p:nvPr>
        </p:nvSpPr>
        <p:spPr>
          <a:xfrm>
            <a:off x="0" y="0"/>
            <a:ext cx="4295219" cy="640080"/>
          </a:xfrm>
        </p:spPr>
        <p:txBody>
          <a:bodyPr/>
          <a:lstStyle/>
          <a:p>
            <a:r>
              <a:rPr lang="en-US" dirty="0"/>
              <a:t>Factorization</a:t>
            </a:r>
          </a:p>
        </p:txBody>
      </p:sp>
      <p:sp>
        <p:nvSpPr>
          <p:cNvPr id="3" name="Content Placeholder 2">
            <a:extLst>
              <a:ext uri="{FF2B5EF4-FFF2-40B4-BE49-F238E27FC236}">
                <a16:creationId xmlns:a16="http://schemas.microsoft.com/office/drawing/2014/main" id="{D64F550C-7CAF-4641-8999-EA086C38BEB2}"/>
              </a:ext>
            </a:extLst>
          </p:cNvPr>
          <p:cNvSpPr>
            <a:spLocks noGrp="1"/>
          </p:cNvSpPr>
          <p:nvPr>
            <p:ph sz="half" idx="13"/>
          </p:nvPr>
        </p:nvSpPr>
        <p:spPr>
          <a:xfrm>
            <a:off x="155656" y="812489"/>
            <a:ext cx="8646315" cy="3200400"/>
          </a:xfrm>
        </p:spPr>
        <p:txBody>
          <a:bodyPr/>
          <a:lstStyle/>
          <a:p>
            <a:r>
              <a:rPr lang="en-US" dirty="0"/>
              <a:t>Factors of a number are numbers that divide evenly into another number. Factorization writes a number as the product of smaller numbers</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C4485D92-D0A4-4A54-96F5-D0BA33479EB5}"/>
                  </a:ext>
                </a:extLst>
              </p14:cNvPr>
              <p14:cNvContentPartPr/>
              <p14:nvPr/>
            </p14:nvContentPartPr>
            <p14:xfrm>
              <a:off x="2290680" y="1357200"/>
              <a:ext cx="5496480" cy="3177000"/>
            </p14:xfrm>
          </p:contentPart>
        </mc:Choice>
        <mc:Fallback>
          <p:pic>
            <p:nvPicPr>
              <p:cNvPr id="4" name="Ink 3">
                <a:extLst>
                  <a:ext uri="{FF2B5EF4-FFF2-40B4-BE49-F238E27FC236}">
                    <a16:creationId xmlns:a16="http://schemas.microsoft.com/office/drawing/2014/main" id="{C4485D92-D0A4-4A54-96F5-D0BA33479EB5}"/>
                  </a:ext>
                </a:extLst>
              </p:cNvPr>
              <p:cNvPicPr/>
              <p:nvPr/>
            </p:nvPicPr>
            <p:blipFill>
              <a:blip r:embed="rId3"/>
              <a:stretch>
                <a:fillRect/>
              </a:stretch>
            </p:blipFill>
            <p:spPr>
              <a:xfrm>
                <a:off x="2281320" y="1347840"/>
                <a:ext cx="5515200" cy="3195720"/>
              </a:xfrm>
              <a:prstGeom prst="rect">
                <a:avLst/>
              </a:prstGeom>
            </p:spPr>
          </p:pic>
        </mc:Fallback>
      </mc:AlternateContent>
    </p:spTree>
    <p:extLst>
      <p:ext uri="{BB962C8B-B14F-4D97-AF65-F5344CB8AC3E}">
        <p14:creationId xmlns:p14="http://schemas.microsoft.com/office/powerpoint/2010/main" val="590319493"/>
      </p:ext>
    </p:extLst>
  </p:cSld>
  <p:clrMapOvr>
    <a:masterClrMapping/>
  </p:clrMapOvr>
  <p:transition spd="med">
    <p:wipe dir="r"/>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125C3-3D05-45AA-B061-7F3BEBE2DCF6}"/>
              </a:ext>
            </a:extLst>
          </p:cNvPr>
          <p:cNvSpPr>
            <a:spLocks noGrp="1"/>
          </p:cNvSpPr>
          <p:nvPr>
            <p:ph type="title"/>
          </p:nvPr>
        </p:nvSpPr>
        <p:spPr>
          <a:xfrm>
            <a:off x="0" y="0"/>
            <a:ext cx="6574480" cy="640080"/>
          </a:xfrm>
        </p:spPr>
        <p:txBody>
          <a:bodyPr/>
          <a:lstStyle/>
          <a:p>
            <a:r>
              <a:rPr lang="en-US" dirty="0"/>
              <a:t>Why do we use factorization ?</a:t>
            </a:r>
          </a:p>
        </p:txBody>
      </p:sp>
      <p:sp>
        <p:nvSpPr>
          <p:cNvPr id="3" name="Content Placeholder 2">
            <a:extLst>
              <a:ext uri="{FF2B5EF4-FFF2-40B4-BE49-F238E27FC236}">
                <a16:creationId xmlns:a16="http://schemas.microsoft.com/office/drawing/2014/main" id="{0DF9D8B8-2868-4CE6-ACF5-72B10B55C14F}"/>
              </a:ext>
            </a:extLst>
          </p:cNvPr>
          <p:cNvSpPr>
            <a:spLocks noGrp="1"/>
          </p:cNvSpPr>
          <p:nvPr>
            <p:ph sz="half" idx="13"/>
          </p:nvPr>
        </p:nvSpPr>
        <p:spPr>
          <a:xfrm>
            <a:off x="274319" y="1280160"/>
            <a:ext cx="7180483" cy="1225715"/>
          </a:xfrm>
        </p:spPr>
        <p:txBody>
          <a:bodyPr/>
          <a:lstStyle/>
          <a:p>
            <a:r>
              <a:rPr lang="en-US" dirty="0"/>
              <a:t>It can be used for many things, like helping perform arithmetic operation.</a:t>
            </a:r>
          </a:p>
          <a:p>
            <a:r>
              <a:rPr lang="en-US" dirty="0"/>
              <a:t>For ex 15 X 8 </a:t>
            </a:r>
          </a:p>
          <a:p>
            <a:pPr lvl="1"/>
            <a:r>
              <a:rPr lang="en-US" dirty="0"/>
              <a:t>Factor 15 and 8 :</a:t>
            </a:r>
          </a:p>
          <a:p>
            <a:pPr lvl="2"/>
            <a:r>
              <a:rPr lang="en-US" dirty="0"/>
              <a:t>15 = 3X5</a:t>
            </a:r>
          </a:p>
          <a:p>
            <a:pPr lvl="2"/>
            <a:r>
              <a:rPr lang="en-US" dirty="0"/>
              <a:t>8 = 2X4</a:t>
            </a:r>
          </a:p>
        </p:txBody>
      </p:sp>
      <p:sp>
        <p:nvSpPr>
          <p:cNvPr id="4" name="TextBox 3">
            <a:extLst>
              <a:ext uri="{FF2B5EF4-FFF2-40B4-BE49-F238E27FC236}">
                <a16:creationId xmlns:a16="http://schemas.microsoft.com/office/drawing/2014/main" id="{97496E6F-9696-47F5-99E6-9EA00A9FFA1D}"/>
              </a:ext>
            </a:extLst>
          </p:cNvPr>
          <p:cNvSpPr txBox="1"/>
          <p:nvPr/>
        </p:nvSpPr>
        <p:spPr>
          <a:xfrm>
            <a:off x="307127" y="2778101"/>
            <a:ext cx="7280299" cy="738664"/>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Now we group the factors so that it is easier for us to multiply </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742950" lvl="1"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2X5) X (3X4) = 10 X 12 = 120</a:t>
            </a:r>
          </a:p>
        </p:txBody>
      </p:sp>
      <mc:AlternateContent xmlns:mc="http://schemas.openxmlformats.org/markup-compatibility/2006">
        <mc:Choice xmlns:p14="http://schemas.microsoft.com/office/powerpoint/2010/main" Requires="p14">
          <p:contentPart p14:bwMode="auto" r:id="rId2">
            <p14:nvContentPartPr>
              <p14:cNvPr id="5" name="Ink 4">
                <a:extLst>
                  <a:ext uri="{FF2B5EF4-FFF2-40B4-BE49-F238E27FC236}">
                    <a16:creationId xmlns:a16="http://schemas.microsoft.com/office/drawing/2014/main" id="{59B2EC9F-A485-4877-AB6A-5273C1003C9F}"/>
                  </a:ext>
                </a:extLst>
              </p14:cNvPr>
              <p14:cNvContentPartPr/>
              <p14:nvPr/>
            </p14:nvContentPartPr>
            <p14:xfrm>
              <a:off x="1104840" y="1352520"/>
              <a:ext cx="7463160" cy="3453120"/>
            </p14:xfrm>
          </p:contentPart>
        </mc:Choice>
        <mc:Fallback>
          <p:pic>
            <p:nvPicPr>
              <p:cNvPr id="5" name="Ink 4">
                <a:extLst>
                  <a:ext uri="{FF2B5EF4-FFF2-40B4-BE49-F238E27FC236}">
                    <a16:creationId xmlns:a16="http://schemas.microsoft.com/office/drawing/2014/main" id="{59B2EC9F-A485-4877-AB6A-5273C1003C9F}"/>
                  </a:ext>
                </a:extLst>
              </p:cNvPr>
              <p:cNvPicPr/>
              <p:nvPr/>
            </p:nvPicPr>
            <p:blipFill>
              <a:blip r:embed="rId3"/>
              <a:stretch>
                <a:fillRect/>
              </a:stretch>
            </p:blipFill>
            <p:spPr>
              <a:xfrm>
                <a:off x="1095480" y="1343160"/>
                <a:ext cx="7481880" cy="3471840"/>
              </a:xfrm>
              <a:prstGeom prst="rect">
                <a:avLst/>
              </a:prstGeom>
            </p:spPr>
          </p:pic>
        </mc:Fallback>
      </mc:AlternateContent>
    </p:spTree>
    <p:extLst>
      <p:ext uri="{BB962C8B-B14F-4D97-AF65-F5344CB8AC3E}">
        <p14:creationId xmlns:p14="http://schemas.microsoft.com/office/powerpoint/2010/main" val="3440900294"/>
      </p:ext>
    </p:extLst>
  </p:cSld>
  <p:clrMapOvr>
    <a:masterClrMapping/>
  </p:clrMapOvr>
  <p:transition spd="med">
    <p:wipe dir="r"/>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CC50A-AFE1-48EC-8CCC-68DEBBB201A1}"/>
              </a:ext>
            </a:extLst>
          </p:cNvPr>
          <p:cNvSpPr>
            <a:spLocks noGrp="1"/>
          </p:cNvSpPr>
          <p:nvPr>
            <p:ph type="title"/>
          </p:nvPr>
        </p:nvSpPr>
        <p:spPr>
          <a:xfrm>
            <a:off x="0" y="0"/>
            <a:ext cx="4295219" cy="640080"/>
          </a:xfrm>
        </p:spPr>
        <p:txBody>
          <a:bodyPr/>
          <a:lstStyle/>
          <a:p>
            <a:r>
              <a:rPr lang="en-US" dirty="0"/>
              <a:t>Prime Factorization</a:t>
            </a:r>
          </a:p>
        </p:txBody>
      </p:sp>
      <p:sp>
        <p:nvSpPr>
          <p:cNvPr id="3" name="Content Placeholder 2">
            <a:extLst>
              <a:ext uri="{FF2B5EF4-FFF2-40B4-BE49-F238E27FC236}">
                <a16:creationId xmlns:a16="http://schemas.microsoft.com/office/drawing/2014/main" id="{3B5B625E-7F0E-4692-B9FA-21CAC093ECB2}"/>
              </a:ext>
            </a:extLst>
          </p:cNvPr>
          <p:cNvSpPr>
            <a:spLocks noGrp="1"/>
          </p:cNvSpPr>
          <p:nvPr>
            <p:ph sz="half" idx="13"/>
          </p:nvPr>
        </p:nvSpPr>
        <p:spPr>
          <a:xfrm>
            <a:off x="183578" y="826450"/>
            <a:ext cx="6838456" cy="3200400"/>
          </a:xfrm>
        </p:spPr>
        <p:txBody>
          <a:bodyPr/>
          <a:lstStyle/>
          <a:p>
            <a:r>
              <a:rPr lang="en-US" dirty="0"/>
              <a:t>Let's complete the prime factorization of the number 24</a:t>
            </a:r>
          </a:p>
          <a:p>
            <a:endParaRPr lang="en-US" dirty="0"/>
          </a:p>
          <a:p>
            <a:pPr marL="0" indent="0">
              <a:buNone/>
            </a:pPr>
            <a:endParaRPr lang="en-US" dirty="0"/>
          </a:p>
        </p:txBody>
      </p:sp>
      <p:pic>
        <p:nvPicPr>
          <p:cNvPr id="5" name="Picture 4">
            <a:extLst>
              <a:ext uri="{FF2B5EF4-FFF2-40B4-BE49-F238E27FC236}">
                <a16:creationId xmlns:a16="http://schemas.microsoft.com/office/drawing/2014/main" id="{3B8AF694-7D3A-4CDC-95BA-CE2D0280F55F}"/>
              </a:ext>
            </a:extLst>
          </p:cNvPr>
          <p:cNvPicPr>
            <a:picLocks noChangeAspect="1"/>
          </p:cNvPicPr>
          <p:nvPr/>
        </p:nvPicPr>
        <p:blipFill>
          <a:blip r:embed="rId2"/>
          <a:stretch>
            <a:fillRect/>
          </a:stretch>
        </p:blipFill>
        <p:spPr>
          <a:xfrm>
            <a:off x="822022" y="1217557"/>
            <a:ext cx="776433" cy="1597877"/>
          </a:xfrm>
          <a:prstGeom prst="rect">
            <a:avLst/>
          </a:prstGeom>
        </p:spPr>
      </p:pic>
      <p:sp>
        <p:nvSpPr>
          <p:cNvPr id="6" name="TextBox 5">
            <a:extLst>
              <a:ext uri="{FF2B5EF4-FFF2-40B4-BE49-F238E27FC236}">
                <a16:creationId xmlns:a16="http://schemas.microsoft.com/office/drawing/2014/main" id="{82D46DEC-A825-448B-89DB-232298E604FC}"/>
              </a:ext>
            </a:extLst>
          </p:cNvPr>
          <p:cNvSpPr txBox="1"/>
          <p:nvPr/>
        </p:nvSpPr>
        <p:spPr>
          <a:xfrm>
            <a:off x="183578" y="3036366"/>
            <a:ext cx="6838456" cy="738664"/>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prime factors of the number 24 are found to the right of the vertical lin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24 = 2 X 2 X 2 X 3</a:t>
            </a: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E0F40FD3-357D-4647-90B8-366ABB545423}"/>
                  </a:ext>
                </a:extLst>
              </p14:cNvPr>
              <p14:cNvContentPartPr/>
              <p14:nvPr/>
            </p14:nvContentPartPr>
            <p14:xfrm>
              <a:off x="314280" y="442800"/>
              <a:ext cx="4820040" cy="3410280"/>
            </p14:xfrm>
          </p:contentPart>
        </mc:Choice>
        <mc:Fallback>
          <p:pic>
            <p:nvPicPr>
              <p:cNvPr id="4" name="Ink 3">
                <a:extLst>
                  <a:ext uri="{FF2B5EF4-FFF2-40B4-BE49-F238E27FC236}">
                    <a16:creationId xmlns:a16="http://schemas.microsoft.com/office/drawing/2014/main" id="{E0F40FD3-357D-4647-90B8-366ABB545423}"/>
                  </a:ext>
                </a:extLst>
              </p:cNvPr>
              <p:cNvPicPr/>
              <p:nvPr/>
            </p:nvPicPr>
            <p:blipFill>
              <a:blip r:embed="rId4"/>
              <a:stretch>
                <a:fillRect/>
              </a:stretch>
            </p:blipFill>
            <p:spPr>
              <a:xfrm>
                <a:off x="304920" y="433440"/>
                <a:ext cx="4838760" cy="3429000"/>
              </a:xfrm>
              <a:prstGeom prst="rect">
                <a:avLst/>
              </a:prstGeom>
            </p:spPr>
          </p:pic>
        </mc:Fallback>
      </mc:AlternateContent>
    </p:spTree>
    <p:extLst>
      <p:ext uri="{BB962C8B-B14F-4D97-AF65-F5344CB8AC3E}">
        <p14:creationId xmlns:p14="http://schemas.microsoft.com/office/powerpoint/2010/main" val="2351119523"/>
      </p:ext>
    </p:extLst>
  </p:cSld>
  <p:clrMapOvr>
    <a:masterClrMapping/>
  </p:clrMapOvr>
  <p:transition spd="med">
    <p:wipe dir="r"/>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5205"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959777"/>
          </a:xfrm>
        </p:spPr>
        <p:txBody>
          <a:bodyPr/>
          <a:lstStyle/>
          <a:p>
            <a:r>
              <a:rPr lang="en-US" sz="4800" dirty="0">
                <a:solidFill>
                  <a:schemeClr val="tx2"/>
                </a:solidFill>
              </a:rPr>
              <a:t>Hypothesis Testing</a:t>
            </a:r>
            <a:br>
              <a:rPr lang="en-US" sz="4800" dirty="0">
                <a:solidFill>
                  <a:schemeClr val="tx2"/>
                </a:solidFill>
              </a:rPr>
            </a:br>
            <a:br>
              <a:rPr lang="en-US" sz="4800" dirty="0">
                <a:solidFill>
                  <a:schemeClr val="tx2"/>
                </a:solidFill>
              </a:rPr>
            </a:br>
            <a:br>
              <a:rPr lang="en-US" dirty="0"/>
            </a:br>
            <a:br>
              <a:rPr lang="en-US" dirty="0"/>
            </a:br>
            <a:r>
              <a:rPr lang="en-US" dirty="0"/>
              <a:t> </a:t>
            </a:r>
          </a:p>
        </p:txBody>
      </p:sp>
    </p:spTree>
    <p:extLst>
      <p:ext uri="{BB962C8B-B14F-4D97-AF65-F5344CB8AC3E}">
        <p14:creationId xmlns:p14="http://schemas.microsoft.com/office/powerpoint/2010/main" val="2701195836"/>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C8215-06B8-4351-9335-9403B3D730B9}"/>
              </a:ext>
            </a:extLst>
          </p:cNvPr>
          <p:cNvSpPr>
            <a:spLocks noGrp="1"/>
          </p:cNvSpPr>
          <p:nvPr>
            <p:ph type="title"/>
          </p:nvPr>
        </p:nvSpPr>
        <p:spPr>
          <a:xfrm>
            <a:off x="0" y="0"/>
            <a:ext cx="7955280" cy="640080"/>
          </a:xfrm>
        </p:spPr>
        <p:txBody>
          <a:bodyPr/>
          <a:lstStyle/>
          <a:p>
            <a:r>
              <a:rPr lang="en-US" dirty="0"/>
              <a:t>Independent, Dependent &amp; Control variable</a:t>
            </a:r>
          </a:p>
        </p:txBody>
      </p:sp>
      <p:pic>
        <p:nvPicPr>
          <p:cNvPr id="8" name="Picture 7">
            <a:extLst>
              <a:ext uri="{FF2B5EF4-FFF2-40B4-BE49-F238E27FC236}">
                <a16:creationId xmlns:a16="http://schemas.microsoft.com/office/drawing/2014/main" id="{AD1BE78B-FDD2-4D9B-AFEC-AC74CC8BAC9D}"/>
              </a:ext>
            </a:extLst>
          </p:cNvPr>
          <p:cNvPicPr>
            <a:picLocks noChangeAspect="1"/>
          </p:cNvPicPr>
          <p:nvPr/>
        </p:nvPicPr>
        <p:blipFill>
          <a:blip r:embed="rId2"/>
          <a:stretch>
            <a:fillRect/>
          </a:stretch>
        </p:blipFill>
        <p:spPr>
          <a:xfrm>
            <a:off x="0" y="920893"/>
            <a:ext cx="9144000" cy="1514796"/>
          </a:xfrm>
          <a:prstGeom prst="rect">
            <a:avLst/>
          </a:prstGeom>
        </p:spPr>
      </p:pic>
      <p:sp>
        <p:nvSpPr>
          <p:cNvPr id="9" name="TextBox 8">
            <a:extLst>
              <a:ext uri="{FF2B5EF4-FFF2-40B4-BE49-F238E27FC236}">
                <a16:creationId xmlns:a16="http://schemas.microsoft.com/office/drawing/2014/main" id="{C743302E-AC6C-4AE7-821D-EAB10932335B}"/>
              </a:ext>
            </a:extLst>
          </p:cNvPr>
          <p:cNvSpPr txBox="1"/>
          <p:nvPr/>
        </p:nvSpPr>
        <p:spPr>
          <a:xfrm>
            <a:off x="48861" y="2716502"/>
            <a:ext cx="8390144" cy="1877437"/>
          </a:xfrm>
          <a:prstGeom prst="rect">
            <a:avLst/>
          </a:prstGeom>
          <a:noFill/>
        </p:spPr>
        <p:txBody>
          <a:bodyPr wrap="square" rtlCol="0">
            <a:spAutoFit/>
          </a:bodyPr>
          <a:lstStyle/>
          <a:p>
            <a:pPr algn="l"/>
            <a:r>
              <a:rPr lang="en-US" sz="1100" b="1" i="0" dirty="0">
                <a:solidFill>
                  <a:srgbClr val="000000"/>
                </a:solidFill>
                <a:effectLst/>
                <a:latin typeface="Open Sans" panose="020B0606030504020204" pitchFamily="34" charset="0"/>
              </a:rPr>
              <a:t>Importance of the Control Variables</a:t>
            </a:r>
          </a:p>
          <a:p>
            <a:pPr algn="l"/>
            <a:endParaRPr lang="en-US" sz="1100" b="0" i="0" dirty="0">
              <a:solidFill>
                <a:srgbClr val="000000"/>
              </a:solidFill>
              <a:effectLst/>
              <a:latin typeface="Open Sans" panose="020B0606030504020204" pitchFamily="34" charset="0"/>
            </a:endParaRPr>
          </a:p>
          <a:p>
            <a:pPr marL="171450" indent="-171450">
              <a:buFont typeface="Arial" panose="020B0604020202020204" pitchFamily="34" charset="0"/>
              <a:buChar char="•"/>
            </a:pPr>
            <a:r>
              <a:rPr lang="en-US" sz="1000" dirty="0">
                <a:solidFill>
                  <a:schemeClr val="bg2">
                    <a:lumMod val="50000"/>
                    <a:lumOff val="50000"/>
                  </a:schemeClr>
                </a:solidFill>
                <a:latin typeface="+mn-lt"/>
              </a:rPr>
              <a:t>Although control variables may not be measured as they are not recorded, yet they can have a significant effect on the outcome of an experiment.</a:t>
            </a:r>
          </a:p>
          <a:p>
            <a:pPr marL="171450" indent="-171450">
              <a:buFont typeface="Arial" panose="020B0604020202020204" pitchFamily="34" charset="0"/>
              <a:buChar char="•"/>
            </a:pPr>
            <a:r>
              <a:rPr lang="en-US" sz="1000" dirty="0">
                <a:solidFill>
                  <a:schemeClr val="bg2">
                    <a:lumMod val="50000"/>
                    <a:lumOff val="50000"/>
                  </a:schemeClr>
                </a:solidFill>
                <a:latin typeface="+mn-lt"/>
              </a:rPr>
              <a:t>Therefore, the lack of awareness of control variables may lead to faulty results or what is called “confounding variables”. So, recording control variables makes it easier to reproduce an experiment and to establish the relationship between the independent and dependent variables.</a:t>
            </a:r>
          </a:p>
          <a:p>
            <a:pPr marL="171450" indent="-171450">
              <a:buFont typeface="Arial" panose="020B0604020202020204" pitchFamily="34" charset="0"/>
              <a:buChar char="•"/>
            </a:pPr>
            <a:r>
              <a:rPr lang="en-US" sz="1000" dirty="0">
                <a:solidFill>
                  <a:schemeClr val="bg2">
                    <a:lumMod val="50000"/>
                    <a:lumOff val="50000"/>
                  </a:schemeClr>
                </a:solidFill>
                <a:latin typeface="+mn-lt"/>
              </a:rPr>
              <a:t>For example, suppose we are trying to determine whether a particular fertilizer influences plant growth. Here, the independent variable is the presence or absence of the fertilizer, whereas the dependent variable is the height of the plant or rate of growth.</a:t>
            </a:r>
          </a:p>
          <a:p>
            <a:pPr marL="171450" indent="-171450">
              <a:buFont typeface="Arial" panose="020B0604020202020204" pitchFamily="34" charset="0"/>
              <a:buChar char="•"/>
            </a:pPr>
            <a:r>
              <a:rPr lang="en-US" sz="1000" dirty="0">
                <a:solidFill>
                  <a:schemeClr val="bg2">
                    <a:lumMod val="50000"/>
                    <a:lumOff val="50000"/>
                  </a:schemeClr>
                </a:solidFill>
                <a:latin typeface="+mn-lt"/>
              </a:rPr>
              <a:t>If we don’t control the amount of light, for example, we perform some part of the experiment in the summer and some part during the winter, we may skew our results.</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2513017721"/>
      </p:ext>
    </p:extLst>
  </p:cSld>
  <p:clrMapOvr>
    <a:masterClrMapping/>
  </p:clrMapOvr>
  <p:transition spd="med">
    <p:wipe dir="r"/>
  </p:transition>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6B4B8-AB69-4DE2-A838-D6D1F3E343ED}"/>
              </a:ext>
            </a:extLst>
          </p:cNvPr>
          <p:cNvSpPr>
            <a:spLocks noGrp="1"/>
          </p:cNvSpPr>
          <p:nvPr>
            <p:ph type="title"/>
          </p:nvPr>
        </p:nvSpPr>
        <p:spPr>
          <a:xfrm>
            <a:off x="0" y="0"/>
            <a:ext cx="8229600" cy="637794"/>
          </a:xfrm>
        </p:spPr>
        <p:txBody>
          <a:bodyPr/>
          <a:lstStyle/>
          <a:p>
            <a:r>
              <a:rPr lang="en-US" dirty="0"/>
              <a:t>Hypothesis testing</a:t>
            </a:r>
          </a:p>
        </p:txBody>
      </p:sp>
      <p:sp>
        <p:nvSpPr>
          <p:cNvPr id="3" name="TextBox 2">
            <a:extLst>
              <a:ext uri="{FF2B5EF4-FFF2-40B4-BE49-F238E27FC236}">
                <a16:creationId xmlns:a16="http://schemas.microsoft.com/office/drawing/2014/main" id="{783A7594-BE5B-4BDF-BD55-892AD0992783}"/>
              </a:ext>
            </a:extLst>
          </p:cNvPr>
          <p:cNvSpPr txBox="1"/>
          <p:nvPr/>
        </p:nvSpPr>
        <p:spPr>
          <a:xfrm>
            <a:off x="118997" y="970767"/>
            <a:ext cx="5768236" cy="3539430"/>
          </a:xfrm>
          <a:prstGeom prst="rect">
            <a:avLst/>
          </a:prstGeom>
          <a:noFill/>
        </p:spPr>
        <p:txBody>
          <a:bodyPr wrap="square" rtlCol="0">
            <a:spAutoFit/>
          </a:bodyPr>
          <a:lstStyle/>
          <a:p>
            <a:pPr marL="0" indent="0">
              <a:buNone/>
            </a:pPr>
            <a:r>
              <a:rPr lang="en-US" sz="1400" kern="1200" dirty="0">
                <a:solidFill>
                  <a:schemeClr val="bg2">
                    <a:lumMod val="50000"/>
                    <a:lumOff val="50000"/>
                  </a:schemeClr>
                </a:solidFill>
                <a:latin typeface="+mn-lt"/>
                <a:ea typeface="+mn-ea"/>
                <a:cs typeface="+mn-cs"/>
              </a:rPr>
              <a:t>A hypothesis is a </a:t>
            </a:r>
            <a:r>
              <a:rPr lang="en-US" sz="1400" b="1" kern="1200" dirty="0">
                <a:solidFill>
                  <a:schemeClr val="bg2">
                    <a:lumMod val="50000"/>
                    <a:lumOff val="50000"/>
                  </a:schemeClr>
                </a:solidFill>
                <a:latin typeface="+mn-lt"/>
                <a:ea typeface="+mn-ea"/>
                <a:cs typeface="+mn-cs"/>
              </a:rPr>
              <a:t>tentative statement </a:t>
            </a:r>
            <a:r>
              <a:rPr lang="en-US" sz="1400" kern="1200" dirty="0">
                <a:solidFill>
                  <a:schemeClr val="bg2">
                    <a:lumMod val="50000"/>
                    <a:lumOff val="50000"/>
                  </a:schemeClr>
                </a:solidFill>
                <a:latin typeface="+mn-lt"/>
                <a:ea typeface="+mn-ea"/>
                <a:cs typeface="+mn-cs"/>
              </a:rPr>
              <a:t>about the relationship between </a:t>
            </a:r>
            <a:r>
              <a:rPr lang="en-US" sz="1400" b="1" kern="1200" dirty="0">
                <a:solidFill>
                  <a:schemeClr val="bg2">
                    <a:lumMod val="50000"/>
                    <a:lumOff val="50000"/>
                  </a:schemeClr>
                </a:solidFill>
                <a:latin typeface="+mn-lt"/>
                <a:ea typeface="+mn-ea"/>
                <a:cs typeface="+mn-cs"/>
              </a:rPr>
              <a:t>two or more variables</a:t>
            </a:r>
            <a:r>
              <a:rPr lang="en-US" sz="1400" kern="1200" dirty="0">
                <a:solidFill>
                  <a:schemeClr val="bg2">
                    <a:lumMod val="50000"/>
                    <a:lumOff val="50000"/>
                  </a:schemeClr>
                </a:solidFill>
                <a:latin typeface="+mn-lt"/>
                <a:ea typeface="+mn-ea"/>
                <a:cs typeface="+mn-cs"/>
              </a:rPr>
              <a:t>. It is a specific, testable prediction about what you expect to happen in a study.</a:t>
            </a:r>
          </a:p>
          <a:p>
            <a:pPr marL="0" indent="0">
              <a:buNone/>
            </a:pPr>
            <a:endParaRPr lang="en-US" sz="1400" kern="1200" dirty="0">
              <a:solidFill>
                <a:schemeClr val="bg2">
                  <a:lumMod val="50000"/>
                  <a:lumOff val="50000"/>
                </a:schemeClr>
              </a:solidFill>
              <a:latin typeface="+mn-lt"/>
              <a:ea typeface="+mn-ea"/>
              <a:cs typeface="+mn-cs"/>
            </a:endParaRPr>
          </a:p>
          <a:p>
            <a:pPr marL="0" indent="0" algn="l" fontAlgn="base">
              <a:buNone/>
            </a:pPr>
            <a:r>
              <a:rPr lang="en-US" sz="1400" b="1" kern="1200" dirty="0">
                <a:solidFill>
                  <a:schemeClr val="accent1"/>
                </a:solidFill>
                <a:latin typeface="+mn-lt"/>
                <a:ea typeface="+mn-ea"/>
                <a:cs typeface="+mn-cs"/>
              </a:rPr>
              <a:t>A few examples:</a:t>
            </a:r>
          </a:p>
          <a:p>
            <a:pPr marL="0" indent="0" algn="l" fontAlgn="base">
              <a:buNone/>
            </a:pPr>
            <a:endParaRPr lang="en-US" sz="1400" b="1" kern="1200" dirty="0">
              <a:solidFill>
                <a:schemeClr val="accent1"/>
              </a:solidFill>
              <a:latin typeface="+mn-lt"/>
              <a:ea typeface="+mn-ea"/>
              <a:cs typeface="+mn-cs"/>
            </a:endParaRPr>
          </a:p>
          <a:p>
            <a:pPr algn="l" fontAlgn="base">
              <a:buFont typeface="Arial" panose="020B0604020202020204" pitchFamily="34" charset="0"/>
              <a:buChar char="•"/>
            </a:pPr>
            <a:r>
              <a:rPr lang="en-US" sz="1400" kern="1200" dirty="0">
                <a:solidFill>
                  <a:schemeClr val="bg2">
                    <a:lumMod val="50000"/>
                    <a:lumOff val="50000"/>
                  </a:schemeClr>
                </a:solidFill>
                <a:latin typeface="+mn-lt"/>
                <a:ea typeface="+mn-ea"/>
                <a:cs typeface="+mn-cs"/>
              </a:rPr>
              <a:t>"Students who eat breakfast will perform better on a math exam than students who do not eat breakfast.“</a:t>
            </a:r>
          </a:p>
          <a:p>
            <a:pPr algn="l" fontAlgn="base"/>
            <a:endParaRPr lang="en-US" sz="1400" kern="1200" dirty="0">
              <a:solidFill>
                <a:schemeClr val="bg2">
                  <a:lumMod val="50000"/>
                  <a:lumOff val="50000"/>
                </a:schemeClr>
              </a:solidFill>
              <a:latin typeface="+mn-lt"/>
              <a:ea typeface="+mn-ea"/>
              <a:cs typeface="+mn-cs"/>
            </a:endParaRPr>
          </a:p>
          <a:p>
            <a:pPr algn="l" fontAlgn="base">
              <a:buFont typeface="Arial" panose="020B0604020202020204" pitchFamily="34" charset="0"/>
              <a:buChar char="•"/>
            </a:pPr>
            <a:r>
              <a:rPr lang="en-US" sz="1400" kern="1200" dirty="0">
                <a:solidFill>
                  <a:schemeClr val="bg2">
                    <a:lumMod val="50000"/>
                    <a:lumOff val="50000"/>
                  </a:schemeClr>
                </a:solidFill>
                <a:latin typeface="+mn-lt"/>
                <a:ea typeface="+mn-ea"/>
                <a:cs typeface="+mn-cs"/>
              </a:rPr>
              <a:t>"Students who experience test anxiety prior to an English exam will get higher scores than students who do not experience test anxiety."​</a:t>
            </a:r>
          </a:p>
          <a:p>
            <a:pPr algn="l" fontAlgn="base"/>
            <a:endParaRPr lang="en-US" sz="1400" kern="1200" dirty="0">
              <a:solidFill>
                <a:schemeClr val="bg2">
                  <a:lumMod val="50000"/>
                  <a:lumOff val="50000"/>
                </a:schemeClr>
              </a:solidFill>
              <a:latin typeface="+mn-lt"/>
              <a:ea typeface="+mn-ea"/>
              <a:cs typeface="+mn-cs"/>
            </a:endParaRPr>
          </a:p>
          <a:p>
            <a:pPr algn="l" fontAlgn="base">
              <a:buFont typeface="Arial" panose="020B0604020202020204" pitchFamily="34" charset="0"/>
              <a:buChar char="•"/>
            </a:pPr>
            <a:r>
              <a:rPr lang="en-US" sz="1400" kern="1200" dirty="0">
                <a:solidFill>
                  <a:schemeClr val="bg2">
                    <a:lumMod val="50000"/>
                    <a:lumOff val="50000"/>
                  </a:schemeClr>
                </a:solidFill>
                <a:latin typeface="+mn-lt"/>
                <a:ea typeface="+mn-ea"/>
                <a:cs typeface="+mn-cs"/>
              </a:rPr>
              <a:t>"Motorists who talk on the phone while driving will be more likely to make errors on a driving course than those who do not talk on the phone."</a:t>
            </a:r>
          </a:p>
          <a:p>
            <a:pPr>
              <a:spcBef>
                <a:spcPts val="0"/>
              </a:spcBef>
              <a:spcAft>
                <a:spcPts val="0"/>
              </a:spcAft>
              <a:buClr>
                <a:schemeClr val="bg1"/>
              </a:buClr>
            </a:pPr>
            <a:endParaRPr lang="en-US" sz="1400" dirty="0" err="1">
              <a:solidFill>
                <a:schemeClr val="bg2"/>
              </a:solidFill>
              <a:latin typeface="+mn-lt"/>
            </a:endParaRPr>
          </a:p>
        </p:txBody>
      </p:sp>
      <p:pic>
        <p:nvPicPr>
          <p:cNvPr id="5" name="Picture 4" descr="A picture containing text&#10;&#10;Description automatically generated">
            <a:extLst>
              <a:ext uri="{FF2B5EF4-FFF2-40B4-BE49-F238E27FC236}">
                <a16:creationId xmlns:a16="http://schemas.microsoft.com/office/drawing/2014/main" id="{5E1DCF39-CE05-4DE8-AFC5-D7B634B366F1}"/>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725231" y="1055872"/>
            <a:ext cx="3174511" cy="2285739"/>
          </a:xfrm>
          <a:prstGeom prst="rect">
            <a:avLst/>
          </a:prstGeom>
        </p:spPr>
      </p:pic>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CC6B95BE-2B47-48D2-A0B1-821D32F34A8B}"/>
                  </a:ext>
                </a:extLst>
              </p14:cNvPr>
              <p14:cNvContentPartPr/>
              <p14:nvPr/>
            </p14:nvContentPartPr>
            <p14:xfrm>
              <a:off x="390600" y="42840"/>
              <a:ext cx="8720280" cy="4901040"/>
            </p14:xfrm>
          </p:contentPart>
        </mc:Choice>
        <mc:Fallback>
          <p:pic>
            <p:nvPicPr>
              <p:cNvPr id="4" name="Ink 3">
                <a:extLst>
                  <a:ext uri="{FF2B5EF4-FFF2-40B4-BE49-F238E27FC236}">
                    <a16:creationId xmlns:a16="http://schemas.microsoft.com/office/drawing/2014/main" id="{CC6B95BE-2B47-48D2-A0B1-821D32F34A8B}"/>
                  </a:ext>
                </a:extLst>
              </p:cNvPr>
              <p:cNvPicPr/>
              <p:nvPr/>
            </p:nvPicPr>
            <p:blipFill>
              <a:blip r:embed="rId6"/>
              <a:stretch>
                <a:fillRect/>
              </a:stretch>
            </p:blipFill>
            <p:spPr>
              <a:xfrm>
                <a:off x="381240" y="33480"/>
                <a:ext cx="8739000" cy="4919760"/>
              </a:xfrm>
              <a:prstGeom prst="rect">
                <a:avLst/>
              </a:prstGeom>
            </p:spPr>
          </p:pic>
        </mc:Fallback>
      </mc:AlternateContent>
    </p:spTree>
    <p:extLst>
      <p:ext uri="{BB962C8B-B14F-4D97-AF65-F5344CB8AC3E}">
        <p14:creationId xmlns:p14="http://schemas.microsoft.com/office/powerpoint/2010/main" val="1224971465"/>
      </p:ext>
    </p:extLst>
  </p:cSld>
  <p:clrMapOvr>
    <a:masterClrMapping/>
  </p:clrMapOvr>
  <p:transition spd="med">
    <p:wipe dir="r"/>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38B80-4F7A-431C-83F8-3B00184B9F4D}"/>
              </a:ext>
            </a:extLst>
          </p:cNvPr>
          <p:cNvSpPr>
            <a:spLocks noGrp="1"/>
          </p:cNvSpPr>
          <p:nvPr>
            <p:ph type="title"/>
          </p:nvPr>
        </p:nvSpPr>
        <p:spPr>
          <a:xfrm>
            <a:off x="0" y="0"/>
            <a:ext cx="8229600" cy="637794"/>
          </a:xfrm>
        </p:spPr>
        <p:txBody>
          <a:bodyPr/>
          <a:lstStyle/>
          <a:p>
            <a:r>
              <a:rPr lang="en-US" dirty="0"/>
              <a:t>Hypothesis Testing </a:t>
            </a:r>
          </a:p>
        </p:txBody>
      </p:sp>
      <p:sp>
        <p:nvSpPr>
          <p:cNvPr id="3" name="TextBox 2">
            <a:extLst>
              <a:ext uri="{FF2B5EF4-FFF2-40B4-BE49-F238E27FC236}">
                <a16:creationId xmlns:a16="http://schemas.microsoft.com/office/drawing/2014/main" id="{80139C55-8B81-4BD5-9BCE-3AC09F631737}"/>
              </a:ext>
            </a:extLst>
          </p:cNvPr>
          <p:cNvSpPr txBox="1"/>
          <p:nvPr/>
        </p:nvSpPr>
        <p:spPr>
          <a:xfrm>
            <a:off x="97866" y="696855"/>
            <a:ext cx="7515616" cy="2285497"/>
          </a:xfrm>
          <a:prstGeom prst="rect">
            <a:avLst/>
          </a:prstGeom>
          <a:noFill/>
        </p:spPr>
        <p:txBody>
          <a:bodyPr wrap="square" rtlCol="0">
            <a:spAutoFit/>
          </a:bodyPr>
          <a:lstStyle/>
          <a:p>
            <a:pPr>
              <a:spcBef>
                <a:spcPts val="0"/>
              </a:spcBef>
              <a:spcAft>
                <a:spcPts val="0"/>
              </a:spcAft>
              <a:buClr>
                <a:schemeClr val="bg1"/>
              </a:buClr>
            </a:pPr>
            <a:r>
              <a:rPr lang="en-US"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There are two hypotheses that are made the null hypothesis denoted Ho and the alternative hypothesis denoted H1 or Ha.</a:t>
            </a:r>
          </a:p>
          <a:p>
            <a:pPr>
              <a:spcBef>
                <a:spcPts val="0"/>
              </a:spcBef>
              <a:spcAft>
                <a:spcPts val="0"/>
              </a:spcAft>
              <a:buClr>
                <a:schemeClr val="bg1"/>
              </a:buClr>
            </a:pPr>
            <a:endParaRPr lang="en-US" sz="1800" dirty="0">
              <a:solidFill>
                <a:srgbClr val="000000"/>
              </a:solidFill>
              <a:latin typeface="Times New Roman" panose="02020603050405020304" pitchFamily="18"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The null hypothesis is the one to be tested and the alternative is everything else.</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lnSpc>
                <a:spcPct val="107000"/>
              </a:lnSpc>
              <a:spcBef>
                <a:spcPts val="0"/>
              </a:spcBef>
              <a:spcAft>
                <a:spcPts val="0"/>
              </a:spcAft>
            </a:pPr>
            <a:r>
              <a:rPr lang="en-US"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In our example, the null hypothesis would be.</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a:spcBef>
                <a:spcPts val="0"/>
              </a:spcBef>
              <a:spcAft>
                <a:spcPts val="0"/>
              </a:spcAft>
              <a:buClr>
                <a:schemeClr val="bg1"/>
              </a:buClr>
            </a:pP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a:spcBef>
                <a:spcPts val="0"/>
              </a:spcBef>
              <a:spcAft>
                <a:spcPts val="0"/>
              </a:spcAft>
              <a:buClr>
                <a:schemeClr val="bg1"/>
              </a:buClr>
            </a:pP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E788D533-F181-42A6-8A1E-8E8E2F3034A8}"/>
              </a:ext>
            </a:extLst>
          </p:cNvPr>
          <p:cNvPicPr>
            <a:picLocks noChangeAspect="1"/>
          </p:cNvPicPr>
          <p:nvPr/>
        </p:nvPicPr>
        <p:blipFill>
          <a:blip r:embed="rId2"/>
          <a:stretch>
            <a:fillRect/>
          </a:stretch>
        </p:blipFill>
        <p:spPr>
          <a:xfrm>
            <a:off x="854810" y="2571750"/>
            <a:ext cx="6519979" cy="1810622"/>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DC7CD151-41A9-40DD-B329-33FC254FAB0E}"/>
                  </a:ext>
                </a:extLst>
              </p14:cNvPr>
              <p14:cNvContentPartPr/>
              <p14:nvPr/>
            </p14:nvContentPartPr>
            <p14:xfrm>
              <a:off x="766800" y="0"/>
              <a:ext cx="8282160" cy="4691520"/>
            </p14:xfrm>
          </p:contentPart>
        </mc:Choice>
        <mc:Fallback>
          <p:pic>
            <p:nvPicPr>
              <p:cNvPr id="4" name="Ink 3">
                <a:extLst>
                  <a:ext uri="{FF2B5EF4-FFF2-40B4-BE49-F238E27FC236}">
                    <a16:creationId xmlns:a16="http://schemas.microsoft.com/office/drawing/2014/main" id="{DC7CD151-41A9-40DD-B329-33FC254FAB0E}"/>
                  </a:ext>
                </a:extLst>
              </p:cNvPr>
              <p:cNvPicPr/>
              <p:nvPr/>
            </p:nvPicPr>
            <p:blipFill>
              <a:blip r:embed="rId4"/>
              <a:stretch>
                <a:fillRect/>
              </a:stretch>
            </p:blipFill>
            <p:spPr>
              <a:xfrm>
                <a:off x="757440" y="-9360"/>
                <a:ext cx="8300880" cy="4710240"/>
              </a:xfrm>
              <a:prstGeom prst="rect">
                <a:avLst/>
              </a:prstGeom>
            </p:spPr>
          </p:pic>
        </mc:Fallback>
      </mc:AlternateContent>
    </p:spTree>
    <p:extLst>
      <p:ext uri="{BB962C8B-B14F-4D97-AF65-F5344CB8AC3E}">
        <p14:creationId xmlns:p14="http://schemas.microsoft.com/office/powerpoint/2010/main" val="4218712023"/>
      </p:ext>
    </p:extLst>
  </p:cSld>
  <p:clrMapOvr>
    <a:masterClrMapping/>
  </p:clrMapOvr>
  <p:transition spd="med">
    <p:wipe dir="r"/>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B4433-AFA0-4134-8DE8-9FD12AF10C49}"/>
              </a:ext>
            </a:extLst>
          </p:cNvPr>
          <p:cNvSpPr>
            <a:spLocks noGrp="1"/>
          </p:cNvSpPr>
          <p:nvPr>
            <p:ph type="title"/>
          </p:nvPr>
        </p:nvSpPr>
        <p:spPr>
          <a:xfrm>
            <a:off x="0" y="0"/>
            <a:ext cx="8229600" cy="637794"/>
          </a:xfrm>
        </p:spPr>
        <p:txBody>
          <a:bodyPr/>
          <a:lstStyle/>
          <a:p>
            <a:r>
              <a:rPr lang="en-US" dirty="0"/>
              <a:t>Hypothesis Testing</a:t>
            </a:r>
          </a:p>
        </p:txBody>
      </p:sp>
      <p:pic>
        <p:nvPicPr>
          <p:cNvPr id="4" name="Picture 3" descr="A picture containing person, person, sitting, indoor&#10;&#10;Description automatically generated">
            <a:extLst>
              <a:ext uri="{FF2B5EF4-FFF2-40B4-BE49-F238E27FC236}">
                <a16:creationId xmlns:a16="http://schemas.microsoft.com/office/drawing/2014/main" id="{99F63499-0450-460B-B55F-E3C5BF1C728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8491" y="833966"/>
            <a:ext cx="5486400" cy="3717036"/>
          </a:xfrm>
          <a:prstGeom prst="rect">
            <a:avLst/>
          </a:prstGeom>
        </p:spPr>
      </p:pic>
      <p:sp>
        <p:nvSpPr>
          <p:cNvPr id="6" name="TextBox 5">
            <a:extLst>
              <a:ext uri="{FF2B5EF4-FFF2-40B4-BE49-F238E27FC236}">
                <a16:creationId xmlns:a16="http://schemas.microsoft.com/office/drawing/2014/main" id="{8D5CA0CC-9B02-4966-9B93-AFAAA5DC11B3}"/>
              </a:ext>
            </a:extLst>
          </p:cNvPr>
          <p:cNvSpPr txBox="1"/>
          <p:nvPr/>
        </p:nvSpPr>
        <p:spPr>
          <a:xfrm>
            <a:off x="5733191" y="1228600"/>
            <a:ext cx="2974932" cy="2554545"/>
          </a:xfrm>
          <a:prstGeom prst="rect">
            <a:avLst/>
          </a:prstGeom>
          <a:noFill/>
        </p:spPr>
        <p:txBody>
          <a:bodyPr wrap="square" rtlCol="0">
            <a:spAutoFit/>
          </a:bodyPr>
          <a:lstStyle/>
          <a:p>
            <a:pPr>
              <a:spcBef>
                <a:spcPts val="0"/>
              </a:spcBef>
              <a:spcAft>
                <a:spcPts val="0"/>
              </a:spcAft>
              <a:buClr>
                <a:schemeClr val="bg1"/>
              </a:buClr>
            </a:pPr>
            <a:r>
              <a:rPr lang="en-US" sz="4000" dirty="0">
                <a:solidFill>
                  <a:schemeClr val="bg1"/>
                </a:solidFill>
                <a:effectLst/>
                <a:latin typeface="Times New Roman" panose="02020603050405020304" pitchFamily="18" charset="0"/>
                <a:ea typeface="Times New Roman" panose="02020603050405020304" pitchFamily="18" charset="0"/>
              </a:rPr>
              <a:t>Ho is like</a:t>
            </a:r>
            <a:r>
              <a:rPr lang="en-US" sz="4000" dirty="0">
                <a:effectLst/>
                <a:latin typeface="Times New Roman" panose="02020603050405020304" pitchFamily="18" charset="0"/>
                <a:ea typeface="Times New Roman" panose="02020603050405020304" pitchFamily="18" charset="0"/>
              </a:rPr>
              <a:t> </a:t>
            </a:r>
            <a:r>
              <a:rPr lang="en-US" sz="4000" b="1" dirty="0">
                <a:effectLst/>
                <a:latin typeface="Times New Roman" panose="02020603050405020304" pitchFamily="18" charset="0"/>
                <a:ea typeface="Times New Roman" panose="02020603050405020304" pitchFamily="18" charset="0"/>
              </a:rPr>
              <a:t>“innocent until proven guilty”</a:t>
            </a:r>
            <a:endParaRPr lang="en-US" sz="1400" dirty="0">
              <a:solidFill>
                <a:schemeClr val="bg2"/>
              </a:solidFill>
              <a:latin typeface="+mn-lt"/>
            </a:endParaRPr>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895CBBD7-0022-4A2E-8FA4-96408054A914}"/>
                  </a:ext>
                </a:extLst>
              </p14:cNvPr>
              <p14:cNvContentPartPr/>
              <p14:nvPr/>
            </p14:nvContentPartPr>
            <p14:xfrm>
              <a:off x="4200480" y="57240"/>
              <a:ext cx="4881960" cy="4896000"/>
            </p14:xfrm>
          </p:contentPart>
        </mc:Choice>
        <mc:Fallback>
          <p:pic>
            <p:nvPicPr>
              <p:cNvPr id="3" name="Ink 2">
                <a:extLst>
                  <a:ext uri="{FF2B5EF4-FFF2-40B4-BE49-F238E27FC236}">
                    <a16:creationId xmlns:a16="http://schemas.microsoft.com/office/drawing/2014/main" id="{895CBBD7-0022-4A2E-8FA4-96408054A914}"/>
                  </a:ext>
                </a:extLst>
              </p:cNvPr>
              <p:cNvPicPr/>
              <p:nvPr/>
            </p:nvPicPr>
            <p:blipFill>
              <a:blip r:embed="rId5"/>
              <a:stretch>
                <a:fillRect/>
              </a:stretch>
            </p:blipFill>
            <p:spPr>
              <a:xfrm>
                <a:off x="4191120" y="47880"/>
                <a:ext cx="4900680" cy="4914720"/>
              </a:xfrm>
              <a:prstGeom prst="rect">
                <a:avLst/>
              </a:prstGeom>
            </p:spPr>
          </p:pic>
        </mc:Fallback>
      </mc:AlternateContent>
    </p:spTree>
    <p:extLst>
      <p:ext uri="{BB962C8B-B14F-4D97-AF65-F5344CB8AC3E}">
        <p14:creationId xmlns:p14="http://schemas.microsoft.com/office/powerpoint/2010/main" val="3127898569"/>
      </p:ext>
    </p:extLst>
  </p:cSld>
  <p:clrMapOvr>
    <a:masterClrMapping/>
  </p:clrMapOvr>
  <p:transition spd="med">
    <p:wipe dir="r"/>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8C6517-247F-4050-A0B4-F7B6E788CB65}"/>
              </a:ext>
            </a:extLst>
          </p:cNvPr>
          <p:cNvSpPr>
            <a:spLocks noGrp="1"/>
          </p:cNvSpPr>
          <p:nvPr>
            <p:ph type="title"/>
          </p:nvPr>
        </p:nvSpPr>
        <p:spPr>
          <a:xfrm>
            <a:off x="0" y="0"/>
            <a:ext cx="8229600" cy="637794"/>
          </a:xfrm>
        </p:spPr>
        <p:txBody>
          <a:bodyPr/>
          <a:lstStyle/>
          <a:p>
            <a:r>
              <a:rPr lang="en-US" dirty="0"/>
              <a:t>Characteristics of Hypothesis</a:t>
            </a:r>
          </a:p>
        </p:txBody>
      </p:sp>
      <p:sp>
        <p:nvSpPr>
          <p:cNvPr id="3" name="TextBox 2">
            <a:extLst>
              <a:ext uri="{FF2B5EF4-FFF2-40B4-BE49-F238E27FC236}">
                <a16:creationId xmlns:a16="http://schemas.microsoft.com/office/drawing/2014/main" id="{83ABBB82-AE00-47FD-9355-14225974A62C}"/>
              </a:ext>
            </a:extLst>
          </p:cNvPr>
          <p:cNvSpPr txBox="1"/>
          <p:nvPr/>
        </p:nvSpPr>
        <p:spPr>
          <a:xfrm>
            <a:off x="87682" y="807929"/>
            <a:ext cx="8805033" cy="2862322"/>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800" dirty="0">
                <a:solidFill>
                  <a:schemeClr val="bg2"/>
                </a:solidFill>
                <a:latin typeface="+mn-lt"/>
              </a:rPr>
              <a:t>The hypothesis should be clear and precise to consider it to be reliable.</a:t>
            </a:r>
          </a:p>
          <a:p>
            <a:pPr>
              <a:spcBef>
                <a:spcPts val="0"/>
              </a:spcBef>
              <a:spcAft>
                <a:spcPts val="0"/>
              </a:spcAft>
              <a:buClr>
                <a:schemeClr val="bg1"/>
              </a:buClr>
            </a:pPr>
            <a:endParaRPr lang="en-US" sz="18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800" dirty="0">
                <a:solidFill>
                  <a:schemeClr val="bg2"/>
                </a:solidFill>
                <a:latin typeface="+mn-lt"/>
              </a:rPr>
              <a:t>If the hypothesis is a relational hypothesis, then it should be stating the relationship between variables.</a:t>
            </a:r>
          </a:p>
          <a:p>
            <a:pPr>
              <a:spcBef>
                <a:spcPts val="0"/>
              </a:spcBef>
              <a:spcAft>
                <a:spcPts val="0"/>
              </a:spcAft>
              <a:buClr>
                <a:schemeClr val="bg1"/>
              </a:buClr>
            </a:pPr>
            <a:endParaRPr lang="en-US" sz="18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800" dirty="0">
                <a:solidFill>
                  <a:schemeClr val="bg2"/>
                </a:solidFill>
                <a:latin typeface="+mn-lt"/>
              </a:rPr>
              <a:t>The hypothesis must be specific and should have scope for conducting more tests.</a:t>
            </a:r>
          </a:p>
          <a:p>
            <a:pPr>
              <a:spcBef>
                <a:spcPts val="0"/>
              </a:spcBef>
              <a:spcAft>
                <a:spcPts val="0"/>
              </a:spcAft>
              <a:buClr>
                <a:schemeClr val="bg1"/>
              </a:buClr>
            </a:pPr>
            <a:endParaRPr lang="en-US" sz="18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800" dirty="0">
                <a:solidFill>
                  <a:schemeClr val="bg2"/>
                </a:solidFill>
                <a:latin typeface="+mn-lt"/>
              </a:rPr>
              <a:t>The way of explanation of the hypothesis must be very simple and it should also be understood that the simplicity of the hypothesis is not related to its significance.</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62C4D78C-9C76-4C9C-8FD3-C8443F669973}"/>
                  </a:ext>
                </a:extLst>
              </p14:cNvPr>
              <p14:cNvContentPartPr/>
              <p14:nvPr/>
            </p14:nvContentPartPr>
            <p14:xfrm>
              <a:off x="171360" y="38160"/>
              <a:ext cx="8849160" cy="4777200"/>
            </p14:xfrm>
          </p:contentPart>
        </mc:Choice>
        <mc:Fallback>
          <p:pic>
            <p:nvPicPr>
              <p:cNvPr id="4" name="Ink 3">
                <a:extLst>
                  <a:ext uri="{FF2B5EF4-FFF2-40B4-BE49-F238E27FC236}">
                    <a16:creationId xmlns:a16="http://schemas.microsoft.com/office/drawing/2014/main" id="{62C4D78C-9C76-4C9C-8FD3-C8443F669973}"/>
                  </a:ext>
                </a:extLst>
              </p:cNvPr>
              <p:cNvPicPr/>
              <p:nvPr/>
            </p:nvPicPr>
            <p:blipFill>
              <a:blip r:embed="rId3"/>
              <a:stretch>
                <a:fillRect/>
              </a:stretch>
            </p:blipFill>
            <p:spPr>
              <a:xfrm>
                <a:off x="162000" y="28800"/>
                <a:ext cx="8867880" cy="4795920"/>
              </a:xfrm>
              <a:prstGeom prst="rect">
                <a:avLst/>
              </a:prstGeom>
            </p:spPr>
          </p:pic>
        </mc:Fallback>
      </mc:AlternateContent>
    </p:spTree>
    <p:extLst>
      <p:ext uri="{BB962C8B-B14F-4D97-AF65-F5344CB8AC3E}">
        <p14:creationId xmlns:p14="http://schemas.microsoft.com/office/powerpoint/2010/main" val="1023448987"/>
      </p:ext>
    </p:extLst>
  </p:cSld>
  <p:clrMapOvr>
    <a:masterClrMapping/>
  </p:clrMapOvr>
  <p:transition spd="med">
    <p:wipe dir="r"/>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FD45CB-1A1A-43F2-91B3-4C1530CC3B65}"/>
              </a:ext>
            </a:extLst>
          </p:cNvPr>
          <p:cNvSpPr>
            <a:spLocks noGrp="1"/>
          </p:cNvSpPr>
          <p:nvPr>
            <p:ph type="title"/>
          </p:nvPr>
        </p:nvSpPr>
        <p:spPr>
          <a:xfrm>
            <a:off x="0" y="0"/>
            <a:ext cx="8229600" cy="637794"/>
          </a:xfrm>
        </p:spPr>
        <p:txBody>
          <a:bodyPr/>
          <a:lstStyle/>
          <a:p>
            <a:r>
              <a:rPr lang="en-US" dirty="0"/>
              <a:t>Null hypothesis</a:t>
            </a:r>
          </a:p>
        </p:txBody>
      </p:sp>
      <p:sp>
        <p:nvSpPr>
          <p:cNvPr id="3" name="TextBox 2">
            <a:extLst>
              <a:ext uri="{FF2B5EF4-FFF2-40B4-BE49-F238E27FC236}">
                <a16:creationId xmlns:a16="http://schemas.microsoft.com/office/drawing/2014/main" id="{5C8732B3-DF0B-4291-AE42-6FD66F633EE7}"/>
              </a:ext>
            </a:extLst>
          </p:cNvPr>
          <p:cNvSpPr txBox="1"/>
          <p:nvPr/>
        </p:nvSpPr>
        <p:spPr>
          <a:xfrm>
            <a:off x="175365" y="755867"/>
            <a:ext cx="6553502" cy="1815882"/>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t is an assertion that we hold as true unless we have a sufficient statistical evidence to conclude otherwise</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Null hypotheses is denoted by Ho</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f a population mean is equal to hypothesized mean, then null hypothesis can be written a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p:txBody>
      </p:sp>
      <p:sp>
        <p:nvSpPr>
          <p:cNvPr id="6" name="TextBox 5">
            <a:extLst>
              <a:ext uri="{FF2B5EF4-FFF2-40B4-BE49-F238E27FC236}">
                <a16:creationId xmlns:a16="http://schemas.microsoft.com/office/drawing/2014/main" id="{9DC7B69E-8742-4CB8-B4D2-A59C9C8B1A11}"/>
              </a:ext>
            </a:extLst>
          </p:cNvPr>
          <p:cNvSpPr txBox="1"/>
          <p:nvPr/>
        </p:nvSpPr>
        <p:spPr>
          <a:xfrm>
            <a:off x="2561716" y="2571749"/>
            <a:ext cx="3106167" cy="769441"/>
          </a:xfrm>
          <a:prstGeom prst="rect">
            <a:avLst/>
          </a:prstGeom>
          <a:noFill/>
        </p:spPr>
        <p:txBody>
          <a:bodyPr wrap="square" rtlCol="0">
            <a:spAutoFit/>
          </a:bodyPr>
          <a:lstStyle/>
          <a:p>
            <a:pPr>
              <a:spcBef>
                <a:spcPts val="0"/>
              </a:spcBef>
              <a:spcAft>
                <a:spcPts val="0"/>
              </a:spcAft>
              <a:buClr>
                <a:schemeClr val="bg1"/>
              </a:buClr>
            </a:pPr>
            <a:r>
              <a:rPr lang="en-US" sz="3200" b="1" dirty="0">
                <a:solidFill>
                  <a:schemeClr val="bg2"/>
                </a:solidFill>
                <a:latin typeface="+mn-lt"/>
              </a:rPr>
              <a:t>Ho : </a:t>
            </a:r>
            <a:r>
              <a:rPr lang="en-US" sz="4400" b="1" dirty="0">
                <a:solidFill>
                  <a:schemeClr val="bg2"/>
                </a:solidFill>
                <a:latin typeface="+mn-lt"/>
              </a:rPr>
              <a:t>µ</a:t>
            </a:r>
            <a:r>
              <a:rPr lang="en-US" sz="3200" b="1" dirty="0">
                <a:solidFill>
                  <a:schemeClr val="bg2"/>
                </a:solidFill>
                <a:latin typeface="+mn-lt"/>
              </a:rPr>
              <a:t> = </a:t>
            </a:r>
            <a:r>
              <a:rPr lang="en-US" sz="4400" b="1" dirty="0">
                <a:solidFill>
                  <a:schemeClr val="bg2"/>
                </a:solidFill>
                <a:latin typeface="+mn-lt"/>
              </a:rPr>
              <a:t>µ</a:t>
            </a:r>
            <a:r>
              <a:rPr lang="en-US" sz="3200" b="1" dirty="0">
                <a:solidFill>
                  <a:schemeClr val="bg2"/>
                </a:solidFill>
                <a:latin typeface="+mn-lt"/>
              </a:rPr>
              <a:t>o </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140C4B5E-026C-4F0B-9351-3DB46C59E5ED}"/>
                  </a:ext>
                </a:extLst>
              </p14:cNvPr>
              <p14:cNvContentPartPr/>
              <p14:nvPr/>
            </p14:nvContentPartPr>
            <p14:xfrm>
              <a:off x="738360" y="942840"/>
              <a:ext cx="7658280" cy="3420000"/>
            </p14:xfrm>
          </p:contentPart>
        </mc:Choice>
        <mc:Fallback>
          <p:pic>
            <p:nvPicPr>
              <p:cNvPr id="4" name="Ink 3">
                <a:extLst>
                  <a:ext uri="{FF2B5EF4-FFF2-40B4-BE49-F238E27FC236}">
                    <a16:creationId xmlns:a16="http://schemas.microsoft.com/office/drawing/2014/main" id="{140C4B5E-026C-4F0B-9351-3DB46C59E5ED}"/>
                  </a:ext>
                </a:extLst>
              </p:cNvPr>
              <p:cNvPicPr/>
              <p:nvPr/>
            </p:nvPicPr>
            <p:blipFill>
              <a:blip r:embed="rId3"/>
              <a:stretch>
                <a:fillRect/>
              </a:stretch>
            </p:blipFill>
            <p:spPr>
              <a:xfrm>
                <a:off x="729000" y="933480"/>
                <a:ext cx="7677000" cy="3438720"/>
              </a:xfrm>
              <a:prstGeom prst="rect">
                <a:avLst/>
              </a:prstGeom>
            </p:spPr>
          </p:pic>
        </mc:Fallback>
      </mc:AlternateContent>
    </p:spTree>
    <p:extLst>
      <p:ext uri="{BB962C8B-B14F-4D97-AF65-F5344CB8AC3E}">
        <p14:creationId xmlns:p14="http://schemas.microsoft.com/office/powerpoint/2010/main" val="988468279"/>
      </p:ext>
    </p:extLst>
  </p:cSld>
  <p:clrMapOvr>
    <a:masterClrMapping/>
  </p:clrMapOvr>
  <p:transition spd="med">
    <p:wipe dir="r"/>
  </p:transition>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035E6-7B5D-4008-8305-5242ADECE9CE}"/>
              </a:ext>
            </a:extLst>
          </p:cNvPr>
          <p:cNvSpPr>
            <a:spLocks noGrp="1"/>
          </p:cNvSpPr>
          <p:nvPr>
            <p:ph type="title"/>
          </p:nvPr>
        </p:nvSpPr>
        <p:spPr>
          <a:xfrm>
            <a:off x="0" y="23718"/>
            <a:ext cx="8229600" cy="637794"/>
          </a:xfrm>
        </p:spPr>
        <p:txBody>
          <a:bodyPr/>
          <a:lstStyle/>
          <a:p>
            <a:r>
              <a:rPr lang="en-US" dirty="0"/>
              <a:t>Alternate Hypothesis</a:t>
            </a:r>
          </a:p>
        </p:txBody>
      </p:sp>
      <p:sp>
        <p:nvSpPr>
          <p:cNvPr id="5" name="TextBox 4">
            <a:extLst>
              <a:ext uri="{FF2B5EF4-FFF2-40B4-BE49-F238E27FC236}">
                <a16:creationId xmlns:a16="http://schemas.microsoft.com/office/drawing/2014/main" id="{6D5A94A9-9594-4777-A35F-54E59F11362E}"/>
              </a:ext>
            </a:extLst>
          </p:cNvPr>
          <p:cNvSpPr txBox="1"/>
          <p:nvPr/>
        </p:nvSpPr>
        <p:spPr>
          <a:xfrm>
            <a:off x="175365" y="755868"/>
            <a:ext cx="7991414" cy="95410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The Alternate hypothesis is negation of null hypothesis and is denoted by Ha or H1</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If Null is given a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p:txBody>
      </p:sp>
      <p:pic>
        <p:nvPicPr>
          <p:cNvPr id="6" name="Picture 5">
            <a:extLst>
              <a:ext uri="{FF2B5EF4-FFF2-40B4-BE49-F238E27FC236}">
                <a16:creationId xmlns:a16="http://schemas.microsoft.com/office/drawing/2014/main" id="{1A5EACF5-78AA-46CC-A723-53C41A375414}"/>
              </a:ext>
            </a:extLst>
          </p:cNvPr>
          <p:cNvPicPr>
            <a:picLocks noChangeAspect="1"/>
          </p:cNvPicPr>
          <p:nvPr/>
        </p:nvPicPr>
        <p:blipFill>
          <a:blip r:embed="rId2"/>
          <a:stretch>
            <a:fillRect/>
          </a:stretch>
        </p:blipFill>
        <p:spPr>
          <a:xfrm>
            <a:off x="2291903" y="1582375"/>
            <a:ext cx="1652848" cy="686088"/>
          </a:xfrm>
          <a:prstGeom prst="rect">
            <a:avLst/>
          </a:prstGeom>
        </p:spPr>
      </p:pic>
      <p:sp>
        <p:nvSpPr>
          <p:cNvPr id="7" name="TextBox 6">
            <a:extLst>
              <a:ext uri="{FF2B5EF4-FFF2-40B4-BE49-F238E27FC236}">
                <a16:creationId xmlns:a16="http://schemas.microsoft.com/office/drawing/2014/main" id="{4110321E-835A-45A3-B6EA-B92B0C13BB56}"/>
              </a:ext>
            </a:extLst>
          </p:cNvPr>
          <p:cNvSpPr txBox="1"/>
          <p:nvPr/>
        </p:nvSpPr>
        <p:spPr>
          <a:xfrm>
            <a:off x="263046" y="2397830"/>
            <a:ext cx="6288065"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n alternate hypothesis can be written a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p:txBody>
      </p:sp>
      <p:pic>
        <p:nvPicPr>
          <p:cNvPr id="9" name="Picture 8">
            <a:extLst>
              <a:ext uri="{FF2B5EF4-FFF2-40B4-BE49-F238E27FC236}">
                <a16:creationId xmlns:a16="http://schemas.microsoft.com/office/drawing/2014/main" id="{62834C50-3D34-4C4E-BBFD-4DA1E61CFC4D}"/>
              </a:ext>
            </a:extLst>
          </p:cNvPr>
          <p:cNvPicPr>
            <a:picLocks noChangeAspect="1"/>
          </p:cNvPicPr>
          <p:nvPr/>
        </p:nvPicPr>
        <p:blipFill>
          <a:blip r:embed="rId3"/>
          <a:stretch>
            <a:fillRect/>
          </a:stretch>
        </p:blipFill>
        <p:spPr>
          <a:xfrm>
            <a:off x="2384902" y="2921049"/>
            <a:ext cx="1466851" cy="1524001"/>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F2339116-CA4E-4F58-B1C3-450E1969D9B1}"/>
                  </a:ext>
                </a:extLst>
              </p14:cNvPr>
              <p14:cNvContentPartPr/>
              <p14:nvPr/>
            </p14:nvContentPartPr>
            <p14:xfrm>
              <a:off x="4305240" y="1609560"/>
              <a:ext cx="2562480" cy="2500920"/>
            </p14:xfrm>
          </p:contentPart>
        </mc:Choice>
        <mc:Fallback>
          <p:pic>
            <p:nvPicPr>
              <p:cNvPr id="3" name="Ink 2">
                <a:extLst>
                  <a:ext uri="{FF2B5EF4-FFF2-40B4-BE49-F238E27FC236}">
                    <a16:creationId xmlns:a16="http://schemas.microsoft.com/office/drawing/2014/main" id="{F2339116-CA4E-4F58-B1C3-450E1969D9B1}"/>
                  </a:ext>
                </a:extLst>
              </p:cNvPr>
              <p:cNvPicPr/>
              <p:nvPr/>
            </p:nvPicPr>
            <p:blipFill>
              <a:blip r:embed="rId5"/>
              <a:stretch>
                <a:fillRect/>
              </a:stretch>
            </p:blipFill>
            <p:spPr>
              <a:xfrm>
                <a:off x="4295880" y="1600200"/>
                <a:ext cx="2581200" cy="2519640"/>
              </a:xfrm>
              <a:prstGeom prst="rect">
                <a:avLst/>
              </a:prstGeom>
            </p:spPr>
          </p:pic>
        </mc:Fallback>
      </mc:AlternateContent>
    </p:spTree>
    <p:extLst>
      <p:ext uri="{BB962C8B-B14F-4D97-AF65-F5344CB8AC3E}">
        <p14:creationId xmlns:p14="http://schemas.microsoft.com/office/powerpoint/2010/main" val="2305712686"/>
      </p:ext>
    </p:extLst>
  </p:cSld>
  <p:clrMapOvr>
    <a:masterClrMapping/>
  </p:clrMapOvr>
  <p:transition spd="med">
    <p:wipe dir="r"/>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F727AB-13F4-456F-B866-F6B98AC11331}"/>
              </a:ext>
            </a:extLst>
          </p:cNvPr>
          <p:cNvSpPr>
            <a:spLocks noGrp="1"/>
          </p:cNvSpPr>
          <p:nvPr>
            <p:ph type="title"/>
          </p:nvPr>
        </p:nvSpPr>
        <p:spPr>
          <a:xfrm>
            <a:off x="0" y="0"/>
            <a:ext cx="8229600" cy="637794"/>
          </a:xfrm>
        </p:spPr>
        <p:txBody>
          <a:bodyPr/>
          <a:lstStyle/>
          <a:p>
            <a:r>
              <a:rPr lang="en-US" dirty="0"/>
              <a:t>Level of Significance and Confidence Interval</a:t>
            </a:r>
          </a:p>
        </p:txBody>
      </p:sp>
      <p:sp>
        <p:nvSpPr>
          <p:cNvPr id="4" name="TextBox 3">
            <a:extLst>
              <a:ext uri="{FF2B5EF4-FFF2-40B4-BE49-F238E27FC236}">
                <a16:creationId xmlns:a16="http://schemas.microsoft.com/office/drawing/2014/main" id="{82D3DB49-8862-4712-B71F-E7994F038ADE}"/>
              </a:ext>
            </a:extLst>
          </p:cNvPr>
          <p:cNvSpPr txBox="1"/>
          <p:nvPr/>
        </p:nvSpPr>
        <p:spPr>
          <a:xfrm>
            <a:off x="175365" y="755868"/>
            <a:ext cx="7741084" cy="1384995"/>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Significance mean the percentage of risk to reject a null hypothesis when it is true, and it is denoted by </a:t>
            </a:r>
            <a:r>
              <a:rPr lang="el-GR" sz="1400" dirty="0">
                <a:solidFill>
                  <a:schemeClr val="bg2"/>
                </a:solidFill>
                <a:latin typeface="+mn-lt"/>
              </a:rPr>
              <a:t>α</a:t>
            </a:r>
            <a:r>
              <a:rPr lang="en-US" sz="1400" dirty="0">
                <a:solidFill>
                  <a:schemeClr val="bg2"/>
                </a:solidFill>
                <a:latin typeface="+mn-lt"/>
              </a:rPr>
              <a:t>. Generally taken as 1%, 5%, 10% . </a:t>
            </a:r>
            <a:r>
              <a:rPr lang="en-US" sz="1400" b="1" i="1" dirty="0">
                <a:solidFill>
                  <a:schemeClr val="bg2"/>
                </a:solidFill>
                <a:latin typeface="+mn-lt"/>
              </a:rPr>
              <a:t>Its value is often 5%</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1- </a:t>
            </a:r>
            <a:r>
              <a:rPr lang="el-GR" sz="1400" dirty="0">
                <a:solidFill>
                  <a:schemeClr val="bg2"/>
                </a:solidFill>
                <a:latin typeface="+mn-lt"/>
              </a:rPr>
              <a:t>α</a:t>
            </a:r>
            <a:r>
              <a:rPr lang="en-US" sz="1400" dirty="0">
                <a:solidFill>
                  <a:schemeClr val="bg2"/>
                </a:solidFill>
                <a:latin typeface="+mn-lt"/>
              </a:rPr>
              <a:t>) is the confidence interval in which the null hypothesis will exist when it is true,</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p:txBody>
      </p:sp>
      <p:pic>
        <p:nvPicPr>
          <p:cNvPr id="3" name="Picture 2">
            <a:extLst>
              <a:ext uri="{FF2B5EF4-FFF2-40B4-BE49-F238E27FC236}">
                <a16:creationId xmlns:a16="http://schemas.microsoft.com/office/drawing/2014/main" id="{0EB77FB1-0E5F-4AB0-8169-84EBEFEE64FF}"/>
              </a:ext>
            </a:extLst>
          </p:cNvPr>
          <p:cNvPicPr>
            <a:picLocks noChangeAspect="1"/>
          </p:cNvPicPr>
          <p:nvPr/>
        </p:nvPicPr>
        <p:blipFill>
          <a:blip r:embed="rId2"/>
          <a:stretch>
            <a:fillRect/>
          </a:stretch>
        </p:blipFill>
        <p:spPr>
          <a:xfrm>
            <a:off x="1472149" y="1937150"/>
            <a:ext cx="5934456" cy="2679192"/>
          </a:xfrm>
          <a:prstGeom prst="rect">
            <a:avLst/>
          </a:prstGeom>
        </p:spPr>
      </p:pic>
      <mc:AlternateContent xmlns:mc="http://schemas.openxmlformats.org/markup-compatibility/2006">
        <mc:Choice xmlns:p14="http://schemas.microsoft.com/office/powerpoint/2010/main" Requires="p14">
          <p:contentPart p14:bwMode="auto" r:id="rId3">
            <p14:nvContentPartPr>
              <p14:cNvPr id="5" name="Ink 4">
                <a:extLst>
                  <a:ext uri="{FF2B5EF4-FFF2-40B4-BE49-F238E27FC236}">
                    <a16:creationId xmlns:a16="http://schemas.microsoft.com/office/drawing/2014/main" id="{72DFFAA4-6BAA-4A52-87B3-7667AA5EAC54}"/>
                  </a:ext>
                </a:extLst>
              </p14:cNvPr>
              <p14:cNvContentPartPr/>
              <p14:nvPr/>
            </p14:nvContentPartPr>
            <p14:xfrm>
              <a:off x="142920" y="14400"/>
              <a:ext cx="8777520" cy="5024520"/>
            </p14:xfrm>
          </p:contentPart>
        </mc:Choice>
        <mc:Fallback>
          <p:pic>
            <p:nvPicPr>
              <p:cNvPr id="5" name="Ink 4">
                <a:extLst>
                  <a:ext uri="{FF2B5EF4-FFF2-40B4-BE49-F238E27FC236}">
                    <a16:creationId xmlns:a16="http://schemas.microsoft.com/office/drawing/2014/main" id="{72DFFAA4-6BAA-4A52-87B3-7667AA5EAC54}"/>
                  </a:ext>
                </a:extLst>
              </p:cNvPr>
              <p:cNvPicPr/>
              <p:nvPr/>
            </p:nvPicPr>
            <p:blipFill>
              <a:blip r:embed="rId4"/>
              <a:stretch>
                <a:fillRect/>
              </a:stretch>
            </p:blipFill>
            <p:spPr>
              <a:xfrm>
                <a:off x="133560" y="5040"/>
                <a:ext cx="8796240" cy="5043240"/>
              </a:xfrm>
              <a:prstGeom prst="rect">
                <a:avLst/>
              </a:prstGeom>
            </p:spPr>
          </p:pic>
        </mc:Fallback>
      </mc:AlternateContent>
    </p:spTree>
    <p:extLst>
      <p:ext uri="{BB962C8B-B14F-4D97-AF65-F5344CB8AC3E}">
        <p14:creationId xmlns:p14="http://schemas.microsoft.com/office/powerpoint/2010/main" val="2918655441"/>
      </p:ext>
    </p:extLst>
  </p:cSld>
  <p:clrMapOvr>
    <a:masterClrMapping/>
  </p:clrMapOvr>
  <p:transition spd="med">
    <p:wipe dir="r"/>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63CC6-4A06-4DE4-989E-729E2C10721F}"/>
              </a:ext>
            </a:extLst>
          </p:cNvPr>
          <p:cNvSpPr>
            <a:spLocks noGrp="1"/>
          </p:cNvSpPr>
          <p:nvPr>
            <p:ph type="title"/>
          </p:nvPr>
        </p:nvSpPr>
        <p:spPr/>
        <p:txBody>
          <a:bodyPr/>
          <a:lstStyle/>
          <a:p>
            <a:r>
              <a:rPr lang="en-US" dirty="0"/>
              <a:t>Risk of rejecting a Null Hypothesis</a:t>
            </a:r>
          </a:p>
        </p:txBody>
      </p:sp>
      <p:pic>
        <p:nvPicPr>
          <p:cNvPr id="6" name="Picture 5">
            <a:extLst>
              <a:ext uri="{FF2B5EF4-FFF2-40B4-BE49-F238E27FC236}">
                <a16:creationId xmlns:a16="http://schemas.microsoft.com/office/drawing/2014/main" id="{A2F7BB1F-BD10-4CA2-9821-239579BB28D2}"/>
              </a:ext>
            </a:extLst>
          </p:cNvPr>
          <p:cNvPicPr>
            <a:picLocks noChangeAspect="1"/>
          </p:cNvPicPr>
          <p:nvPr/>
        </p:nvPicPr>
        <p:blipFill>
          <a:blip r:embed="rId2"/>
          <a:stretch>
            <a:fillRect/>
          </a:stretch>
        </p:blipFill>
        <p:spPr>
          <a:xfrm>
            <a:off x="1481901" y="1247556"/>
            <a:ext cx="5615246" cy="2444945"/>
          </a:xfrm>
          <a:prstGeom prst="rect">
            <a:avLst/>
          </a:prstGeom>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38003797-741F-4572-8524-4E36177CA461}"/>
                  </a:ext>
                </a:extLst>
              </p14:cNvPr>
              <p14:cNvContentPartPr/>
              <p14:nvPr/>
            </p14:nvContentPartPr>
            <p14:xfrm>
              <a:off x="9360" y="114480"/>
              <a:ext cx="8849160" cy="4115160"/>
            </p14:xfrm>
          </p:contentPart>
        </mc:Choice>
        <mc:Fallback>
          <p:pic>
            <p:nvPicPr>
              <p:cNvPr id="3" name="Ink 2">
                <a:extLst>
                  <a:ext uri="{FF2B5EF4-FFF2-40B4-BE49-F238E27FC236}">
                    <a16:creationId xmlns:a16="http://schemas.microsoft.com/office/drawing/2014/main" id="{38003797-741F-4572-8524-4E36177CA461}"/>
                  </a:ext>
                </a:extLst>
              </p:cNvPr>
              <p:cNvPicPr/>
              <p:nvPr/>
            </p:nvPicPr>
            <p:blipFill>
              <a:blip r:embed="rId4"/>
              <a:stretch>
                <a:fillRect/>
              </a:stretch>
            </p:blipFill>
            <p:spPr>
              <a:xfrm>
                <a:off x="0" y="105120"/>
                <a:ext cx="8867880" cy="4133880"/>
              </a:xfrm>
              <a:prstGeom prst="rect">
                <a:avLst/>
              </a:prstGeom>
            </p:spPr>
          </p:pic>
        </mc:Fallback>
      </mc:AlternateContent>
    </p:spTree>
    <p:extLst>
      <p:ext uri="{BB962C8B-B14F-4D97-AF65-F5344CB8AC3E}">
        <p14:creationId xmlns:p14="http://schemas.microsoft.com/office/powerpoint/2010/main" val="696544914"/>
      </p:ext>
    </p:extLst>
  </p:cSld>
  <p:clrMapOvr>
    <a:masterClrMapping/>
  </p:clrMapOvr>
  <p:transition spd="med">
    <p:wipe dir="r"/>
  </p:transition>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2DBD2-CFF7-491C-9297-C544CDFAF836}"/>
              </a:ext>
            </a:extLst>
          </p:cNvPr>
          <p:cNvSpPr>
            <a:spLocks noGrp="1"/>
          </p:cNvSpPr>
          <p:nvPr>
            <p:ph type="title"/>
          </p:nvPr>
        </p:nvSpPr>
        <p:spPr>
          <a:xfrm>
            <a:off x="0" y="0"/>
            <a:ext cx="8229600" cy="637794"/>
          </a:xfrm>
        </p:spPr>
        <p:txBody>
          <a:bodyPr/>
          <a:lstStyle/>
          <a:p>
            <a:r>
              <a:rPr lang="en-US" dirty="0"/>
              <a:t>Two Tailed test @ 5% Significance Level</a:t>
            </a:r>
          </a:p>
        </p:txBody>
      </p:sp>
      <p:pic>
        <p:nvPicPr>
          <p:cNvPr id="4" name="Picture 3">
            <a:extLst>
              <a:ext uri="{FF2B5EF4-FFF2-40B4-BE49-F238E27FC236}">
                <a16:creationId xmlns:a16="http://schemas.microsoft.com/office/drawing/2014/main" id="{D01978AE-3773-4FB2-A8D7-B947D5FA5577}"/>
              </a:ext>
            </a:extLst>
          </p:cNvPr>
          <p:cNvPicPr>
            <a:picLocks noChangeAspect="1"/>
          </p:cNvPicPr>
          <p:nvPr/>
        </p:nvPicPr>
        <p:blipFill>
          <a:blip r:embed="rId2"/>
          <a:stretch>
            <a:fillRect/>
          </a:stretch>
        </p:blipFill>
        <p:spPr>
          <a:xfrm>
            <a:off x="778615" y="948828"/>
            <a:ext cx="6620348" cy="3037210"/>
          </a:xfrm>
          <a:prstGeom prst="rect">
            <a:avLst/>
          </a:prstGeom>
        </p:spPr>
      </p:pic>
      <mc:AlternateContent xmlns:mc="http://schemas.openxmlformats.org/markup-compatibility/2006">
        <mc:Choice xmlns:p14="http://schemas.microsoft.com/office/powerpoint/2010/main" Requires="p14">
          <p:contentPart p14:bwMode="auto" r:id="rId3">
            <p14:nvContentPartPr>
              <p14:cNvPr id="5" name="Ink 4">
                <a:extLst>
                  <a:ext uri="{FF2B5EF4-FFF2-40B4-BE49-F238E27FC236}">
                    <a16:creationId xmlns:a16="http://schemas.microsoft.com/office/drawing/2014/main" id="{E90BB762-07AC-4AF3-8042-3C950B561F6A}"/>
                  </a:ext>
                </a:extLst>
              </p14:cNvPr>
              <p14:cNvContentPartPr/>
              <p14:nvPr/>
            </p14:nvContentPartPr>
            <p14:xfrm>
              <a:off x="266760" y="90360"/>
              <a:ext cx="8572680" cy="4653360"/>
            </p14:xfrm>
          </p:contentPart>
        </mc:Choice>
        <mc:Fallback>
          <p:pic>
            <p:nvPicPr>
              <p:cNvPr id="5" name="Ink 4">
                <a:extLst>
                  <a:ext uri="{FF2B5EF4-FFF2-40B4-BE49-F238E27FC236}">
                    <a16:creationId xmlns:a16="http://schemas.microsoft.com/office/drawing/2014/main" id="{E90BB762-07AC-4AF3-8042-3C950B561F6A}"/>
                  </a:ext>
                </a:extLst>
              </p:cNvPr>
              <p:cNvPicPr/>
              <p:nvPr/>
            </p:nvPicPr>
            <p:blipFill>
              <a:blip r:embed="rId4"/>
              <a:stretch>
                <a:fillRect/>
              </a:stretch>
            </p:blipFill>
            <p:spPr>
              <a:xfrm>
                <a:off x="257400" y="81000"/>
                <a:ext cx="8591400" cy="4672080"/>
              </a:xfrm>
              <a:prstGeom prst="rect">
                <a:avLst/>
              </a:prstGeom>
            </p:spPr>
          </p:pic>
        </mc:Fallback>
      </mc:AlternateContent>
    </p:spTree>
    <p:extLst>
      <p:ext uri="{BB962C8B-B14F-4D97-AF65-F5344CB8AC3E}">
        <p14:creationId xmlns:p14="http://schemas.microsoft.com/office/powerpoint/2010/main" val="2630560590"/>
      </p:ext>
    </p:extLst>
  </p:cSld>
  <p:clrMapOvr>
    <a:masterClrMapping/>
  </p:clrMapOvr>
  <p:transition spd="med">
    <p:wipe dir="r"/>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D5387-1DC2-4042-9C1A-F1658409E114}"/>
              </a:ext>
            </a:extLst>
          </p:cNvPr>
          <p:cNvSpPr>
            <a:spLocks noGrp="1"/>
          </p:cNvSpPr>
          <p:nvPr>
            <p:ph type="title"/>
          </p:nvPr>
        </p:nvSpPr>
        <p:spPr>
          <a:xfrm>
            <a:off x="0" y="0"/>
            <a:ext cx="8229600" cy="637794"/>
          </a:xfrm>
        </p:spPr>
        <p:txBody>
          <a:bodyPr/>
          <a:lstStyle/>
          <a:p>
            <a:r>
              <a:rPr lang="en-US" dirty="0"/>
              <a:t>Left Tailed test @ 5% Significance Level</a:t>
            </a:r>
          </a:p>
        </p:txBody>
      </p:sp>
      <p:pic>
        <p:nvPicPr>
          <p:cNvPr id="4" name="Picture 3">
            <a:extLst>
              <a:ext uri="{FF2B5EF4-FFF2-40B4-BE49-F238E27FC236}">
                <a16:creationId xmlns:a16="http://schemas.microsoft.com/office/drawing/2014/main" id="{47E7A431-5EAE-4C36-BD15-98BE8FE2E9FC}"/>
              </a:ext>
            </a:extLst>
          </p:cNvPr>
          <p:cNvPicPr>
            <a:picLocks noChangeAspect="1"/>
          </p:cNvPicPr>
          <p:nvPr/>
        </p:nvPicPr>
        <p:blipFill>
          <a:blip r:embed="rId2"/>
          <a:stretch>
            <a:fillRect/>
          </a:stretch>
        </p:blipFill>
        <p:spPr>
          <a:xfrm>
            <a:off x="582843" y="1071303"/>
            <a:ext cx="6899881" cy="3178227"/>
          </a:xfrm>
          <a:prstGeom prst="rect">
            <a:avLst/>
          </a:prstGeom>
        </p:spPr>
      </p:pic>
      <mc:AlternateContent xmlns:mc="http://schemas.openxmlformats.org/markup-compatibility/2006">
        <mc:Choice xmlns:p14="http://schemas.microsoft.com/office/powerpoint/2010/main" Requires="p14">
          <p:contentPart p14:bwMode="auto" r:id="rId3">
            <p14:nvContentPartPr>
              <p14:cNvPr id="5" name="Ink 4">
                <a:extLst>
                  <a:ext uri="{FF2B5EF4-FFF2-40B4-BE49-F238E27FC236}">
                    <a16:creationId xmlns:a16="http://schemas.microsoft.com/office/drawing/2014/main" id="{65184006-844C-4AE1-A750-AB92D5B192A8}"/>
                  </a:ext>
                </a:extLst>
              </p14:cNvPr>
              <p14:cNvContentPartPr/>
              <p14:nvPr/>
            </p14:nvContentPartPr>
            <p14:xfrm>
              <a:off x="1838160" y="1471680"/>
              <a:ext cx="5420160" cy="2967480"/>
            </p14:xfrm>
          </p:contentPart>
        </mc:Choice>
        <mc:Fallback>
          <p:pic>
            <p:nvPicPr>
              <p:cNvPr id="5" name="Ink 4">
                <a:extLst>
                  <a:ext uri="{FF2B5EF4-FFF2-40B4-BE49-F238E27FC236}">
                    <a16:creationId xmlns:a16="http://schemas.microsoft.com/office/drawing/2014/main" id="{65184006-844C-4AE1-A750-AB92D5B192A8}"/>
                  </a:ext>
                </a:extLst>
              </p:cNvPr>
              <p:cNvPicPr/>
              <p:nvPr/>
            </p:nvPicPr>
            <p:blipFill>
              <a:blip r:embed="rId4"/>
              <a:stretch>
                <a:fillRect/>
              </a:stretch>
            </p:blipFill>
            <p:spPr>
              <a:xfrm>
                <a:off x="1828800" y="1462320"/>
                <a:ext cx="5438880" cy="2986200"/>
              </a:xfrm>
              <a:prstGeom prst="rect">
                <a:avLst/>
              </a:prstGeom>
            </p:spPr>
          </p:pic>
        </mc:Fallback>
      </mc:AlternateContent>
    </p:spTree>
    <p:extLst>
      <p:ext uri="{BB962C8B-B14F-4D97-AF65-F5344CB8AC3E}">
        <p14:creationId xmlns:p14="http://schemas.microsoft.com/office/powerpoint/2010/main" val="334964026"/>
      </p:ext>
    </p:extLst>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8F0AD-7FFD-4732-86A0-DD18718379E4}"/>
              </a:ext>
            </a:extLst>
          </p:cNvPr>
          <p:cNvSpPr>
            <a:spLocks noGrp="1"/>
          </p:cNvSpPr>
          <p:nvPr>
            <p:ph type="title"/>
          </p:nvPr>
        </p:nvSpPr>
        <p:spPr>
          <a:xfrm>
            <a:off x="137160" y="22860"/>
            <a:ext cx="7955280" cy="640080"/>
          </a:xfrm>
        </p:spPr>
        <p:txBody>
          <a:bodyPr/>
          <a:lstStyle/>
          <a:p>
            <a:r>
              <a:rPr lang="en-US" dirty="0"/>
              <a:t>Types of Statistical Studies</a:t>
            </a:r>
          </a:p>
        </p:txBody>
      </p:sp>
      <p:sp>
        <p:nvSpPr>
          <p:cNvPr id="3" name="Content Placeholder 2">
            <a:extLst>
              <a:ext uri="{FF2B5EF4-FFF2-40B4-BE49-F238E27FC236}">
                <a16:creationId xmlns:a16="http://schemas.microsoft.com/office/drawing/2014/main" id="{51EABE99-0FF9-42EC-AD6B-E1B530304558}"/>
              </a:ext>
            </a:extLst>
          </p:cNvPr>
          <p:cNvSpPr>
            <a:spLocks noGrp="1"/>
          </p:cNvSpPr>
          <p:nvPr>
            <p:ph sz="half" idx="13"/>
          </p:nvPr>
        </p:nvSpPr>
        <p:spPr>
          <a:xfrm>
            <a:off x="243004" y="971550"/>
            <a:ext cx="8343587" cy="3200400"/>
          </a:xfrm>
        </p:spPr>
        <p:txBody>
          <a:bodyPr/>
          <a:lstStyle/>
          <a:p>
            <a:r>
              <a:rPr lang="en-US" dirty="0">
                <a:solidFill>
                  <a:schemeClr val="bg2">
                    <a:lumMod val="50000"/>
                    <a:lumOff val="50000"/>
                  </a:schemeClr>
                </a:solidFill>
              </a:rPr>
              <a:t>When we talk about using data to learn something about the world, we are usually talking about performing a study or an experiment </a:t>
            </a:r>
          </a:p>
          <a:p>
            <a:r>
              <a:rPr lang="en-US" dirty="0">
                <a:solidFill>
                  <a:schemeClr val="bg2">
                    <a:lumMod val="50000"/>
                    <a:lumOff val="50000"/>
                  </a:schemeClr>
                </a:solidFill>
              </a:rPr>
              <a:t>In general, there are two types of statistical studies: </a:t>
            </a:r>
            <a:r>
              <a:rPr lang="en-US" b="1" dirty="0">
                <a:solidFill>
                  <a:schemeClr val="accent1"/>
                </a:solidFill>
              </a:rPr>
              <a:t>Observational studies </a:t>
            </a:r>
            <a:r>
              <a:rPr lang="en-US" dirty="0">
                <a:solidFill>
                  <a:schemeClr val="bg2">
                    <a:lumMod val="50000"/>
                    <a:lumOff val="50000"/>
                  </a:schemeClr>
                </a:solidFill>
              </a:rPr>
              <a:t>and</a:t>
            </a:r>
            <a:r>
              <a:rPr lang="en-US" dirty="0"/>
              <a:t> </a:t>
            </a:r>
            <a:r>
              <a:rPr lang="en-US" b="1" dirty="0">
                <a:solidFill>
                  <a:schemeClr val="accent1"/>
                </a:solidFill>
              </a:rPr>
              <a:t>Experiments</a:t>
            </a:r>
          </a:p>
        </p:txBody>
      </p:sp>
      <p:sp>
        <p:nvSpPr>
          <p:cNvPr id="5" name="Oval 4">
            <a:extLst>
              <a:ext uri="{FF2B5EF4-FFF2-40B4-BE49-F238E27FC236}">
                <a16:creationId xmlns:a16="http://schemas.microsoft.com/office/drawing/2014/main" id="{C10FF536-7FE0-4E2C-8F4A-A9E4EAE14BC5}"/>
              </a:ext>
            </a:extLst>
          </p:cNvPr>
          <p:cNvSpPr/>
          <p:nvPr/>
        </p:nvSpPr>
        <p:spPr>
          <a:xfrm>
            <a:off x="945716" y="3357758"/>
            <a:ext cx="2764912" cy="814192"/>
          </a:xfrm>
          <a:prstGeom prst="ellipse">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bservational</a:t>
            </a:r>
          </a:p>
          <a:p>
            <a:pPr algn="ctr">
              <a:lnSpc>
                <a:spcPct val="90000"/>
              </a:lnSpc>
              <a:spcBef>
                <a:spcPts val="600"/>
              </a:spcBef>
              <a:spcAft>
                <a:spcPts val="0"/>
              </a:spcAft>
            </a:pPr>
            <a:r>
              <a:rPr lang="en-US" sz="2000" dirty="0">
                <a:solidFill>
                  <a:schemeClr val="tx2"/>
                </a:solidFill>
                <a:latin typeface="+mn-lt"/>
              </a:rPr>
              <a:t>Study</a:t>
            </a:r>
          </a:p>
        </p:txBody>
      </p:sp>
      <p:sp>
        <p:nvSpPr>
          <p:cNvPr id="6" name="Oval 5">
            <a:extLst>
              <a:ext uri="{FF2B5EF4-FFF2-40B4-BE49-F238E27FC236}">
                <a16:creationId xmlns:a16="http://schemas.microsoft.com/office/drawing/2014/main" id="{EF6BB1B6-3440-4E16-AA74-7538562431A4}"/>
              </a:ext>
            </a:extLst>
          </p:cNvPr>
          <p:cNvSpPr/>
          <p:nvPr/>
        </p:nvSpPr>
        <p:spPr>
          <a:xfrm>
            <a:off x="4750705" y="3370284"/>
            <a:ext cx="2545705" cy="814192"/>
          </a:xfrm>
          <a:prstGeom prst="ellipse">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Experiments</a:t>
            </a:r>
          </a:p>
        </p:txBody>
      </p:sp>
      <p:sp>
        <p:nvSpPr>
          <p:cNvPr id="7" name="Rectangle: Rounded Corners 6">
            <a:extLst>
              <a:ext uri="{FF2B5EF4-FFF2-40B4-BE49-F238E27FC236}">
                <a16:creationId xmlns:a16="http://schemas.microsoft.com/office/drawing/2014/main" id="{BAAEBE95-2F1B-4168-94E4-96BB97737860}"/>
              </a:ext>
            </a:extLst>
          </p:cNvPr>
          <p:cNvSpPr/>
          <p:nvPr/>
        </p:nvSpPr>
        <p:spPr>
          <a:xfrm>
            <a:off x="3122112" y="1999624"/>
            <a:ext cx="1985376" cy="618316"/>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Statistical Studies</a:t>
            </a:r>
          </a:p>
        </p:txBody>
      </p:sp>
      <p:cxnSp>
        <p:nvCxnSpPr>
          <p:cNvPr id="9" name="Straight Arrow Connector 8">
            <a:extLst>
              <a:ext uri="{FF2B5EF4-FFF2-40B4-BE49-F238E27FC236}">
                <a16:creationId xmlns:a16="http://schemas.microsoft.com/office/drawing/2014/main" id="{C0ACEFDC-C19C-4513-8D70-A2B3D29D65B0}"/>
              </a:ext>
            </a:extLst>
          </p:cNvPr>
          <p:cNvCxnSpPr>
            <a:cxnSpLocks/>
            <a:endCxn id="5" idx="0"/>
          </p:cNvCxnSpPr>
          <p:nvPr/>
        </p:nvCxnSpPr>
        <p:spPr>
          <a:xfrm flipH="1">
            <a:off x="2328172" y="2624203"/>
            <a:ext cx="1786628" cy="733555"/>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63CFE5AD-4E34-4C2A-9489-63A58828807D}"/>
              </a:ext>
            </a:extLst>
          </p:cNvPr>
          <p:cNvCxnSpPr>
            <a:stCxn id="7" idx="2"/>
            <a:endCxn id="6" idx="0"/>
          </p:cNvCxnSpPr>
          <p:nvPr/>
        </p:nvCxnSpPr>
        <p:spPr>
          <a:xfrm>
            <a:off x="4114800" y="2617940"/>
            <a:ext cx="1908758" cy="752344"/>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9397678"/>
      </p:ext>
    </p:extLst>
  </p:cSld>
  <p:clrMapOvr>
    <a:masterClrMapping/>
  </p:clrMapOvr>
  <p:transition spd="med">
    <p:wipe dir="r"/>
  </p:transition>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211AE-A651-476A-B891-80F047B7FC73}"/>
              </a:ext>
            </a:extLst>
          </p:cNvPr>
          <p:cNvSpPr>
            <a:spLocks noGrp="1"/>
          </p:cNvSpPr>
          <p:nvPr>
            <p:ph type="title"/>
          </p:nvPr>
        </p:nvSpPr>
        <p:spPr>
          <a:xfrm>
            <a:off x="0" y="0"/>
            <a:ext cx="8229600" cy="637794"/>
          </a:xfrm>
        </p:spPr>
        <p:txBody>
          <a:bodyPr/>
          <a:lstStyle/>
          <a:p>
            <a:r>
              <a:rPr lang="en-US" dirty="0"/>
              <a:t>Right Tailed Test @ 5% Significance Level </a:t>
            </a:r>
          </a:p>
        </p:txBody>
      </p:sp>
      <p:pic>
        <p:nvPicPr>
          <p:cNvPr id="4" name="Picture 3">
            <a:extLst>
              <a:ext uri="{FF2B5EF4-FFF2-40B4-BE49-F238E27FC236}">
                <a16:creationId xmlns:a16="http://schemas.microsoft.com/office/drawing/2014/main" id="{205C5A05-0C07-4A93-93D9-D4D47F81A9F7}"/>
              </a:ext>
            </a:extLst>
          </p:cNvPr>
          <p:cNvPicPr>
            <a:picLocks noChangeAspect="1"/>
          </p:cNvPicPr>
          <p:nvPr/>
        </p:nvPicPr>
        <p:blipFill>
          <a:blip r:embed="rId2"/>
          <a:stretch>
            <a:fillRect/>
          </a:stretch>
        </p:blipFill>
        <p:spPr>
          <a:xfrm>
            <a:off x="394378" y="884565"/>
            <a:ext cx="7646757" cy="3374370"/>
          </a:xfrm>
          <a:prstGeom prst="rect">
            <a:avLst/>
          </a:prstGeom>
        </p:spPr>
      </p:pic>
      <mc:AlternateContent xmlns:mc="http://schemas.openxmlformats.org/markup-compatibility/2006">
        <mc:Choice xmlns:p14="http://schemas.microsoft.com/office/powerpoint/2010/main" Requires="p14">
          <p:contentPart p14:bwMode="auto" r:id="rId3">
            <p14:nvContentPartPr>
              <p14:cNvPr id="5" name="Ink 4">
                <a:extLst>
                  <a:ext uri="{FF2B5EF4-FFF2-40B4-BE49-F238E27FC236}">
                    <a16:creationId xmlns:a16="http://schemas.microsoft.com/office/drawing/2014/main" id="{00D1DA60-8F8F-4D75-A90E-9772954D8490}"/>
                  </a:ext>
                </a:extLst>
              </p14:cNvPr>
              <p14:cNvContentPartPr/>
              <p14:nvPr/>
            </p14:nvContentPartPr>
            <p14:xfrm>
              <a:off x="7296120" y="1152360"/>
              <a:ext cx="86040" cy="148320"/>
            </p14:xfrm>
          </p:contentPart>
        </mc:Choice>
        <mc:Fallback>
          <p:pic>
            <p:nvPicPr>
              <p:cNvPr id="5" name="Ink 4">
                <a:extLst>
                  <a:ext uri="{FF2B5EF4-FFF2-40B4-BE49-F238E27FC236}">
                    <a16:creationId xmlns:a16="http://schemas.microsoft.com/office/drawing/2014/main" id="{00D1DA60-8F8F-4D75-A90E-9772954D8490}"/>
                  </a:ext>
                </a:extLst>
              </p:cNvPr>
              <p:cNvPicPr/>
              <p:nvPr/>
            </p:nvPicPr>
            <p:blipFill>
              <a:blip r:embed="rId4"/>
              <a:stretch>
                <a:fillRect/>
              </a:stretch>
            </p:blipFill>
            <p:spPr>
              <a:xfrm>
                <a:off x="7286760" y="1143000"/>
                <a:ext cx="104760" cy="167040"/>
              </a:xfrm>
              <a:prstGeom prst="rect">
                <a:avLst/>
              </a:prstGeom>
            </p:spPr>
          </p:pic>
        </mc:Fallback>
      </mc:AlternateContent>
    </p:spTree>
    <p:extLst>
      <p:ext uri="{BB962C8B-B14F-4D97-AF65-F5344CB8AC3E}">
        <p14:creationId xmlns:p14="http://schemas.microsoft.com/office/powerpoint/2010/main" val="3918380488"/>
      </p:ext>
    </p:extLst>
  </p:cSld>
  <p:clrMapOvr>
    <a:masterClrMapping/>
  </p:clrMapOvr>
  <p:transition spd="med">
    <p:wipe dir="r"/>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CF496-9FFB-448A-8831-14C5BB83649C}"/>
              </a:ext>
            </a:extLst>
          </p:cNvPr>
          <p:cNvSpPr>
            <a:spLocks noGrp="1"/>
          </p:cNvSpPr>
          <p:nvPr>
            <p:ph type="title"/>
          </p:nvPr>
        </p:nvSpPr>
        <p:spPr>
          <a:xfrm>
            <a:off x="0" y="0"/>
            <a:ext cx="8229600" cy="637794"/>
          </a:xfrm>
        </p:spPr>
        <p:txBody>
          <a:bodyPr/>
          <a:lstStyle/>
          <a:p>
            <a:r>
              <a:rPr lang="en-US" dirty="0"/>
              <a:t>Hypothesis Testing Examples</a:t>
            </a:r>
          </a:p>
        </p:txBody>
      </p:sp>
      <p:sp>
        <p:nvSpPr>
          <p:cNvPr id="4" name="TextBox 3">
            <a:extLst>
              <a:ext uri="{FF2B5EF4-FFF2-40B4-BE49-F238E27FC236}">
                <a16:creationId xmlns:a16="http://schemas.microsoft.com/office/drawing/2014/main" id="{AD83BA8D-F621-4C18-B52F-3A7713FE2F1E}"/>
              </a:ext>
            </a:extLst>
          </p:cNvPr>
          <p:cNvSpPr txBox="1"/>
          <p:nvPr/>
        </p:nvSpPr>
        <p:spPr>
          <a:xfrm>
            <a:off x="83764" y="746877"/>
            <a:ext cx="6023870" cy="2677656"/>
          </a:xfrm>
          <a:prstGeom prst="rect">
            <a:avLst/>
          </a:prstGeom>
          <a:noFill/>
        </p:spPr>
        <p:txBody>
          <a:bodyPr wrap="square" rtlCol="0">
            <a:spAutoFit/>
          </a:bodyPr>
          <a:lstStyle/>
          <a:p>
            <a:pPr>
              <a:spcBef>
                <a:spcPts val="0"/>
              </a:spcBef>
              <a:spcAft>
                <a:spcPts val="0"/>
              </a:spcAft>
              <a:buClr>
                <a:schemeClr val="bg1"/>
              </a:buClr>
            </a:pPr>
            <a:r>
              <a:rPr lang="en-US" dirty="0">
                <a:solidFill>
                  <a:schemeClr val="bg2"/>
                </a:solidFill>
                <a:latin typeface="+mn-lt"/>
              </a:rPr>
              <a:t>The average IQ for the adult population is 100 with a standard deviation of 15. A researcher believed this value as changes. The researcher decided to test the IQ of 75 random adults. The average IQ of the sample is 104. Is there enough evidence to suggest the average IQ has changed ? </a:t>
            </a:r>
          </a:p>
        </p:txBody>
      </p:sp>
      <p:pic>
        <p:nvPicPr>
          <p:cNvPr id="6" name="Picture 5" descr="A picture containing text, headdress, helmet, light&#10;&#10;Description automatically generated">
            <a:extLst>
              <a:ext uri="{FF2B5EF4-FFF2-40B4-BE49-F238E27FC236}">
                <a16:creationId xmlns:a16="http://schemas.microsoft.com/office/drawing/2014/main" id="{940EEF37-950A-4261-A202-7AF35E960C0B}"/>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63475" y="746877"/>
            <a:ext cx="2980525" cy="2211400"/>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AE571FB0-2A42-4175-B6CF-1365681831E4}"/>
                  </a:ext>
                </a:extLst>
              </p14:cNvPr>
              <p14:cNvContentPartPr/>
              <p14:nvPr/>
            </p14:nvContentPartPr>
            <p14:xfrm>
              <a:off x="166680" y="1500120"/>
              <a:ext cx="4591440" cy="2838960"/>
            </p14:xfrm>
          </p:contentPart>
        </mc:Choice>
        <mc:Fallback>
          <p:pic>
            <p:nvPicPr>
              <p:cNvPr id="3" name="Ink 2">
                <a:extLst>
                  <a:ext uri="{FF2B5EF4-FFF2-40B4-BE49-F238E27FC236}">
                    <a16:creationId xmlns:a16="http://schemas.microsoft.com/office/drawing/2014/main" id="{AE571FB0-2A42-4175-B6CF-1365681831E4}"/>
                  </a:ext>
                </a:extLst>
              </p:cNvPr>
              <p:cNvPicPr/>
              <p:nvPr/>
            </p:nvPicPr>
            <p:blipFill>
              <a:blip r:embed="rId5"/>
              <a:stretch>
                <a:fillRect/>
              </a:stretch>
            </p:blipFill>
            <p:spPr>
              <a:xfrm>
                <a:off x="157320" y="1490760"/>
                <a:ext cx="4610160" cy="2857680"/>
              </a:xfrm>
              <a:prstGeom prst="rect">
                <a:avLst/>
              </a:prstGeom>
            </p:spPr>
          </p:pic>
        </mc:Fallback>
      </mc:AlternateContent>
    </p:spTree>
    <p:extLst>
      <p:ext uri="{BB962C8B-B14F-4D97-AF65-F5344CB8AC3E}">
        <p14:creationId xmlns:p14="http://schemas.microsoft.com/office/powerpoint/2010/main" val="4268418747"/>
      </p:ext>
    </p:extLst>
  </p:cSld>
  <p:clrMapOvr>
    <a:masterClrMapping/>
  </p:clrMapOvr>
  <p:transition spd="med">
    <p:wipe dir="r"/>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31D8E5-FA6E-4248-BA63-18FB34306751}"/>
              </a:ext>
            </a:extLst>
          </p:cNvPr>
          <p:cNvSpPr>
            <a:spLocks noGrp="1"/>
          </p:cNvSpPr>
          <p:nvPr>
            <p:ph type="title"/>
          </p:nvPr>
        </p:nvSpPr>
        <p:spPr>
          <a:xfrm>
            <a:off x="0" y="0"/>
            <a:ext cx="8229600" cy="637794"/>
          </a:xfrm>
        </p:spPr>
        <p:txBody>
          <a:bodyPr/>
          <a:lstStyle/>
          <a:p>
            <a:r>
              <a:rPr lang="en-US" dirty="0"/>
              <a:t>Hypothesis Testing - Steps</a:t>
            </a:r>
          </a:p>
        </p:txBody>
      </p:sp>
      <p:sp>
        <p:nvSpPr>
          <p:cNvPr id="3" name="TextBox 2">
            <a:extLst>
              <a:ext uri="{FF2B5EF4-FFF2-40B4-BE49-F238E27FC236}">
                <a16:creationId xmlns:a16="http://schemas.microsoft.com/office/drawing/2014/main" id="{6049F860-6F45-41D3-9E06-3A3B4E72DB40}"/>
              </a:ext>
            </a:extLst>
          </p:cNvPr>
          <p:cNvSpPr txBox="1"/>
          <p:nvPr/>
        </p:nvSpPr>
        <p:spPr>
          <a:xfrm>
            <a:off x="0" y="637794"/>
            <a:ext cx="8941576" cy="3244158"/>
          </a:xfrm>
          <a:prstGeom prst="rect">
            <a:avLst/>
          </a:prstGeom>
          <a:noFill/>
        </p:spPr>
        <p:txBody>
          <a:bodyPr wrap="square" rtlCol="0">
            <a:spAutoFit/>
          </a:bodyPr>
          <a:lstStyle/>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State null (Ho) and alternative (H1 or Ha) hypothesis</a:t>
            </a:r>
          </a:p>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Choose level of significance (</a:t>
            </a:r>
            <a:r>
              <a:rPr lang="el-GR" sz="2800" dirty="0">
                <a:solidFill>
                  <a:schemeClr val="bg2"/>
                </a:solidFill>
                <a:latin typeface="+mn-lt"/>
              </a:rPr>
              <a:t>α</a:t>
            </a:r>
            <a:r>
              <a:rPr lang="en-US" sz="2800" dirty="0">
                <a:solidFill>
                  <a:schemeClr val="bg2"/>
                </a:solidFill>
                <a:latin typeface="+mn-lt"/>
              </a:rPr>
              <a:t> )</a:t>
            </a:r>
          </a:p>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Find Critical values</a:t>
            </a:r>
          </a:p>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Find test statistics </a:t>
            </a:r>
          </a:p>
          <a:p>
            <a:pPr marL="342900" indent="-342900">
              <a:lnSpc>
                <a:spcPct val="150000"/>
              </a:lnSpc>
              <a:spcBef>
                <a:spcPts val="0"/>
              </a:spcBef>
              <a:spcAft>
                <a:spcPts val="0"/>
              </a:spcAft>
              <a:buClr>
                <a:schemeClr val="bg1"/>
              </a:buClr>
              <a:buAutoNum type="arabicPeriod"/>
            </a:pPr>
            <a:r>
              <a:rPr lang="en-US" sz="2800" dirty="0">
                <a:solidFill>
                  <a:schemeClr val="bg2"/>
                </a:solidFill>
                <a:latin typeface="+mn-lt"/>
              </a:rPr>
              <a:t>Draw you conclusion</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3C0E96B1-E8B7-48CA-A736-71C465F82DD5}"/>
                  </a:ext>
                </a:extLst>
              </p14:cNvPr>
              <p14:cNvContentPartPr/>
              <p14:nvPr/>
            </p14:nvContentPartPr>
            <p14:xfrm>
              <a:off x="1881360" y="2205000"/>
              <a:ext cx="4548240" cy="1576800"/>
            </p14:xfrm>
          </p:contentPart>
        </mc:Choice>
        <mc:Fallback>
          <p:pic>
            <p:nvPicPr>
              <p:cNvPr id="4" name="Ink 3">
                <a:extLst>
                  <a:ext uri="{FF2B5EF4-FFF2-40B4-BE49-F238E27FC236}">
                    <a16:creationId xmlns:a16="http://schemas.microsoft.com/office/drawing/2014/main" id="{3C0E96B1-E8B7-48CA-A736-71C465F82DD5}"/>
                  </a:ext>
                </a:extLst>
              </p:cNvPr>
              <p:cNvPicPr/>
              <p:nvPr/>
            </p:nvPicPr>
            <p:blipFill>
              <a:blip r:embed="rId3"/>
              <a:stretch>
                <a:fillRect/>
              </a:stretch>
            </p:blipFill>
            <p:spPr>
              <a:xfrm>
                <a:off x="1872000" y="2195640"/>
                <a:ext cx="4566960" cy="1595520"/>
              </a:xfrm>
              <a:prstGeom prst="rect">
                <a:avLst/>
              </a:prstGeom>
            </p:spPr>
          </p:pic>
        </mc:Fallback>
      </mc:AlternateContent>
    </p:spTree>
    <p:extLst>
      <p:ext uri="{BB962C8B-B14F-4D97-AF65-F5344CB8AC3E}">
        <p14:creationId xmlns:p14="http://schemas.microsoft.com/office/powerpoint/2010/main" val="204049777"/>
      </p:ext>
    </p:extLst>
  </p:cSld>
  <p:clrMapOvr>
    <a:masterClrMapping/>
  </p:clrMapOvr>
  <p:transition spd="med">
    <p:wipe dir="r"/>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1BAA2-D019-49AC-ABEE-0868D81CFFA9}"/>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62FB1BB1-6F3D-42D6-B7DB-1C2D1FBED6C6}"/>
              </a:ext>
            </a:extLst>
          </p:cNvPr>
          <p:cNvSpPr txBox="1"/>
          <p:nvPr/>
        </p:nvSpPr>
        <p:spPr>
          <a:xfrm>
            <a:off x="181484" y="637794"/>
            <a:ext cx="4390516"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tep 1: State Null &amp; Alternative Hypothesis</a:t>
            </a:r>
          </a:p>
        </p:txBody>
      </p:sp>
      <p:sp>
        <p:nvSpPr>
          <p:cNvPr id="4" name="TextBox 3">
            <a:extLst>
              <a:ext uri="{FF2B5EF4-FFF2-40B4-BE49-F238E27FC236}">
                <a16:creationId xmlns:a16="http://schemas.microsoft.com/office/drawing/2014/main" id="{1D61FC9B-4B76-4752-9017-EF8FB387F56F}"/>
              </a:ext>
            </a:extLst>
          </p:cNvPr>
          <p:cNvSpPr txBox="1"/>
          <p:nvPr/>
        </p:nvSpPr>
        <p:spPr>
          <a:xfrm>
            <a:off x="307127" y="1465832"/>
            <a:ext cx="346215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verage IQ of the adult population is 100 </a:t>
            </a:r>
          </a:p>
        </p:txBody>
      </p:sp>
      <p:sp>
        <p:nvSpPr>
          <p:cNvPr id="5" name="TextBox 4">
            <a:extLst>
              <a:ext uri="{FF2B5EF4-FFF2-40B4-BE49-F238E27FC236}">
                <a16:creationId xmlns:a16="http://schemas.microsoft.com/office/drawing/2014/main" id="{4628530F-12AE-4E1C-8898-D94771F7BC8A}"/>
              </a:ext>
            </a:extLst>
          </p:cNvPr>
          <p:cNvSpPr txBox="1"/>
          <p:nvPr/>
        </p:nvSpPr>
        <p:spPr>
          <a:xfrm>
            <a:off x="397869" y="1033063"/>
            <a:ext cx="2868842"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 : </a:t>
            </a:r>
            <a:r>
              <a:rPr lang="el-GR" sz="1400" dirty="0">
                <a:solidFill>
                  <a:schemeClr val="bg2"/>
                </a:solidFill>
                <a:latin typeface="+mn-lt"/>
              </a:rPr>
              <a:t>μ</a:t>
            </a:r>
            <a:r>
              <a:rPr lang="en-US" sz="1400" dirty="0">
                <a:solidFill>
                  <a:schemeClr val="bg2"/>
                </a:solidFill>
                <a:latin typeface="+mn-lt"/>
              </a:rPr>
              <a:t> = 100</a:t>
            </a:r>
          </a:p>
        </p:txBody>
      </p:sp>
      <p:sp>
        <p:nvSpPr>
          <p:cNvPr id="6" name="TextBox 5">
            <a:extLst>
              <a:ext uri="{FF2B5EF4-FFF2-40B4-BE49-F238E27FC236}">
                <a16:creationId xmlns:a16="http://schemas.microsoft.com/office/drawing/2014/main" id="{204FFC55-8734-4FCB-97C1-271D7B1910D1}"/>
              </a:ext>
            </a:extLst>
          </p:cNvPr>
          <p:cNvSpPr txBox="1"/>
          <p:nvPr/>
        </p:nvSpPr>
        <p:spPr>
          <a:xfrm>
            <a:off x="4822122" y="1451359"/>
            <a:ext cx="386118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 researcher believes this value has changed</a:t>
            </a:r>
          </a:p>
        </p:txBody>
      </p:sp>
      <p:sp>
        <p:nvSpPr>
          <p:cNvPr id="7" name="TextBox 6">
            <a:extLst>
              <a:ext uri="{FF2B5EF4-FFF2-40B4-BE49-F238E27FC236}">
                <a16:creationId xmlns:a16="http://schemas.microsoft.com/office/drawing/2014/main" id="{BF9D3648-256D-432A-8ED3-B09104C9A129}"/>
              </a:ext>
            </a:extLst>
          </p:cNvPr>
          <p:cNvSpPr txBox="1"/>
          <p:nvPr/>
        </p:nvSpPr>
        <p:spPr>
          <a:xfrm>
            <a:off x="4912864" y="1018590"/>
            <a:ext cx="2868842"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1 : </a:t>
            </a:r>
            <a:r>
              <a:rPr lang="el-GR" sz="1400" dirty="0">
                <a:solidFill>
                  <a:schemeClr val="bg2"/>
                </a:solidFill>
                <a:latin typeface="+mn-lt"/>
              </a:rPr>
              <a:t>μ</a:t>
            </a:r>
            <a:r>
              <a:rPr lang="en-US" sz="1400" dirty="0">
                <a:solidFill>
                  <a:schemeClr val="bg2"/>
                </a:solidFill>
                <a:latin typeface="+mn-lt"/>
              </a:rPr>
              <a:t> != 100</a:t>
            </a:r>
          </a:p>
        </p:txBody>
      </p:sp>
      <p:sp>
        <p:nvSpPr>
          <p:cNvPr id="8" name="TextBox 7">
            <a:extLst>
              <a:ext uri="{FF2B5EF4-FFF2-40B4-BE49-F238E27FC236}">
                <a16:creationId xmlns:a16="http://schemas.microsoft.com/office/drawing/2014/main" id="{88927D2B-DB4F-47BF-977C-68BD8C9A5935}"/>
              </a:ext>
            </a:extLst>
          </p:cNvPr>
          <p:cNvSpPr txBox="1"/>
          <p:nvPr/>
        </p:nvSpPr>
        <p:spPr>
          <a:xfrm>
            <a:off x="258265" y="2279397"/>
            <a:ext cx="6184415" cy="1600438"/>
          </a:xfrm>
          <a:prstGeom prst="rect">
            <a:avLst/>
          </a:prstGeom>
          <a:noFill/>
        </p:spPr>
        <p:txBody>
          <a:bodyPr wrap="square" rtlCol="0">
            <a:spAutoFit/>
          </a:bodyPr>
          <a:lstStyle/>
          <a:p>
            <a:pPr>
              <a:spcBef>
                <a:spcPts val="0"/>
              </a:spcBef>
              <a:spcAft>
                <a:spcPts val="0"/>
              </a:spcAft>
              <a:buClr>
                <a:schemeClr val="bg1"/>
              </a:buClr>
            </a:pPr>
            <a:r>
              <a:rPr lang="en-US" sz="1400" b="1" u="sng" dirty="0">
                <a:solidFill>
                  <a:schemeClr val="bg2"/>
                </a:solidFill>
                <a:latin typeface="+mn-lt"/>
              </a:rPr>
              <a:t>Simple Rules: </a:t>
            </a:r>
          </a:p>
          <a:p>
            <a:pPr>
              <a:spcBef>
                <a:spcPts val="0"/>
              </a:spcBef>
              <a:spcAft>
                <a:spcPts val="0"/>
              </a:spcAft>
              <a:buClr>
                <a:schemeClr val="bg1"/>
              </a:buClr>
            </a:pPr>
            <a:endParaRPr lang="en-US" sz="1400" dirty="0">
              <a:solidFill>
                <a:schemeClr val="bg2"/>
              </a:solidFill>
              <a:latin typeface="+mn-lt"/>
            </a:endParaRPr>
          </a:p>
          <a:p>
            <a:pPr marL="342900" indent="-342900">
              <a:spcBef>
                <a:spcPts val="0"/>
              </a:spcBef>
              <a:spcAft>
                <a:spcPts val="0"/>
              </a:spcAft>
              <a:buClr>
                <a:schemeClr val="bg1"/>
              </a:buClr>
              <a:buAutoNum type="arabicPeriod"/>
            </a:pPr>
            <a:r>
              <a:rPr lang="en-US" sz="1400" dirty="0">
                <a:solidFill>
                  <a:schemeClr val="bg2"/>
                </a:solidFill>
                <a:latin typeface="+mn-lt"/>
              </a:rPr>
              <a:t>Null hypothesis should always have = or &gt;= or &lt;= symbol</a:t>
            </a:r>
          </a:p>
          <a:p>
            <a:pPr marL="342900" indent="-342900">
              <a:spcBef>
                <a:spcPts val="0"/>
              </a:spcBef>
              <a:spcAft>
                <a:spcPts val="0"/>
              </a:spcAft>
              <a:buClr>
                <a:schemeClr val="bg1"/>
              </a:buClr>
              <a:buAutoNum type="arabicPeriod"/>
            </a:pPr>
            <a:r>
              <a:rPr lang="en-US" sz="1400" dirty="0">
                <a:solidFill>
                  <a:schemeClr val="bg2"/>
                </a:solidFill>
                <a:latin typeface="+mn-lt"/>
              </a:rPr>
              <a:t>Alternative hypothesis could have one of these &gt; or &lt; or != </a:t>
            </a:r>
          </a:p>
          <a:p>
            <a:pPr marL="342900" indent="-342900">
              <a:spcBef>
                <a:spcPts val="0"/>
              </a:spcBef>
              <a:spcAft>
                <a:spcPts val="0"/>
              </a:spcAft>
              <a:buClr>
                <a:schemeClr val="bg1"/>
              </a:buClr>
              <a:buAutoNum type="arabicPeriod"/>
            </a:pPr>
            <a:r>
              <a:rPr lang="en-US" sz="1400" dirty="0">
                <a:solidFill>
                  <a:schemeClr val="bg2"/>
                </a:solidFill>
                <a:latin typeface="+mn-lt"/>
              </a:rPr>
              <a:t>Alternative hypothesis is “what is being claimed”</a:t>
            </a:r>
          </a:p>
          <a:p>
            <a:pPr marL="342900" indent="-342900">
              <a:spcBef>
                <a:spcPts val="0"/>
              </a:spcBef>
              <a:spcAft>
                <a:spcPts val="0"/>
              </a:spcAft>
              <a:buClr>
                <a:schemeClr val="bg1"/>
              </a:buClr>
              <a:buAutoNum type="arabicPeriod"/>
            </a:pPr>
            <a:r>
              <a:rPr lang="en-US" sz="1400" dirty="0">
                <a:solidFill>
                  <a:schemeClr val="bg2"/>
                </a:solidFill>
                <a:latin typeface="+mn-lt"/>
              </a:rPr>
              <a:t>When H1 has != then we do a two tailed test</a:t>
            </a:r>
          </a:p>
          <a:p>
            <a:pPr marL="342900" indent="-342900">
              <a:spcBef>
                <a:spcPts val="0"/>
              </a:spcBef>
              <a:spcAft>
                <a:spcPts val="0"/>
              </a:spcAft>
              <a:buClr>
                <a:schemeClr val="bg1"/>
              </a:buClr>
              <a:buAutoNum type="arabicPeriod"/>
            </a:pPr>
            <a:r>
              <a:rPr lang="en-US" sz="1400" dirty="0">
                <a:solidFill>
                  <a:schemeClr val="bg2"/>
                </a:solidFill>
                <a:latin typeface="+mn-lt"/>
              </a:rPr>
              <a:t>When H1 has either &gt; or &lt; or &gt;= or &lt;= then we do a one tailed test</a:t>
            </a:r>
          </a:p>
        </p:txBody>
      </p:sp>
      <p:sp>
        <p:nvSpPr>
          <p:cNvPr id="9" name="TextBox 8">
            <a:extLst>
              <a:ext uri="{FF2B5EF4-FFF2-40B4-BE49-F238E27FC236}">
                <a16:creationId xmlns:a16="http://schemas.microsoft.com/office/drawing/2014/main" id="{24B59567-0D3A-4C6E-B806-E2AC2A730FD3}"/>
              </a:ext>
            </a:extLst>
          </p:cNvPr>
          <p:cNvSpPr txBox="1"/>
          <p:nvPr/>
        </p:nvSpPr>
        <p:spPr>
          <a:xfrm>
            <a:off x="258265" y="4062449"/>
            <a:ext cx="7217479" cy="276999"/>
          </a:xfrm>
          <a:prstGeom prst="rect">
            <a:avLst/>
          </a:prstGeom>
          <a:noFill/>
        </p:spPr>
        <p:txBody>
          <a:bodyPr wrap="square" rtlCol="0">
            <a:spAutoFit/>
          </a:bodyPr>
          <a:lstStyle/>
          <a:p>
            <a:pPr>
              <a:spcBef>
                <a:spcPts val="0"/>
              </a:spcBef>
              <a:spcAft>
                <a:spcPts val="0"/>
              </a:spcAft>
              <a:buClr>
                <a:schemeClr val="bg1"/>
              </a:buClr>
            </a:pPr>
            <a:r>
              <a:rPr lang="en-US" sz="1200" b="1" i="1" dirty="0">
                <a:solidFill>
                  <a:schemeClr val="bg2"/>
                </a:solidFill>
                <a:latin typeface="+mn-lt"/>
              </a:rPr>
              <a:t>**Note : Hypothesis Testing is done to prove whether Ho can be Rejected or Accepted</a:t>
            </a:r>
          </a:p>
        </p:txBody>
      </p:sp>
      <mc:AlternateContent xmlns:mc="http://schemas.openxmlformats.org/markup-compatibility/2006">
        <mc:Choice xmlns:p14="http://schemas.microsoft.com/office/powerpoint/2010/main" Requires="p14">
          <p:contentPart p14:bwMode="auto" r:id="rId2">
            <p14:nvContentPartPr>
              <p14:cNvPr id="10" name="Ink 9">
                <a:extLst>
                  <a:ext uri="{FF2B5EF4-FFF2-40B4-BE49-F238E27FC236}">
                    <a16:creationId xmlns:a16="http://schemas.microsoft.com/office/drawing/2014/main" id="{6F876AFD-A929-45F1-8CA4-62B1405C0890}"/>
                  </a:ext>
                </a:extLst>
              </p14:cNvPr>
              <p14:cNvContentPartPr/>
              <p14:nvPr/>
            </p14:nvContentPartPr>
            <p14:xfrm>
              <a:off x="314280" y="876240"/>
              <a:ext cx="8349120" cy="3557880"/>
            </p14:xfrm>
          </p:contentPart>
        </mc:Choice>
        <mc:Fallback>
          <p:pic>
            <p:nvPicPr>
              <p:cNvPr id="10" name="Ink 9">
                <a:extLst>
                  <a:ext uri="{FF2B5EF4-FFF2-40B4-BE49-F238E27FC236}">
                    <a16:creationId xmlns:a16="http://schemas.microsoft.com/office/drawing/2014/main" id="{6F876AFD-A929-45F1-8CA4-62B1405C0890}"/>
                  </a:ext>
                </a:extLst>
              </p:cNvPr>
              <p:cNvPicPr/>
              <p:nvPr/>
            </p:nvPicPr>
            <p:blipFill>
              <a:blip r:embed="rId3"/>
              <a:stretch>
                <a:fillRect/>
              </a:stretch>
            </p:blipFill>
            <p:spPr>
              <a:xfrm>
                <a:off x="304920" y="866880"/>
                <a:ext cx="8367840" cy="3576600"/>
              </a:xfrm>
              <a:prstGeom prst="rect">
                <a:avLst/>
              </a:prstGeom>
            </p:spPr>
          </p:pic>
        </mc:Fallback>
      </mc:AlternateContent>
    </p:spTree>
    <p:extLst>
      <p:ext uri="{BB962C8B-B14F-4D97-AF65-F5344CB8AC3E}">
        <p14:creationId xmlns:p14="http://schemas.microsoft.com/office/powerpoint/2010/main" val="2700326730"/>
      </p:ext>
    </p:extLst>
  </p:cSld>
  <p:clrMapOvr>
    <a:masterClrMapping/>
  </p:clrMapOvr>
  <p:transition spd="med">
    <p:wipe dir="r"/>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315E4-0472-4F1D-B864-56A1F903B741}"/>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EE0A83F7-FEC2-47B6-A8DC-367D2360EAFC}"/>
              </a:ext>
            </a:extLst>
          </p:cNvPr>
          <p:cNvSpPr txBox="1"/>
          <p:nvPr/>
        </p:nvSpPr>
        <p:spPr>
          <a:xfrm>
            <a:off x="181484" y="637794"/>
            <a:ext cx="4390516"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tep 2: Choose the level of Significance</a:t>
            </a:r>
          </a:p>
        </p:txBody>
      </p:sp>
      <p:pic>
        <p:nvPicPr>
          <p:cNvPr id="5" name="Picture 4">
            <a:extLst>
              <a:ext uri="{FF2B5EF4-FFF2-40B4-BE49-F238E27FC236}">
                <a16:creationId xmlns:a16="http://schemas.microsoft.com/office/drawing/2014/main" id="{CA044120-2E73-4EE5-85C3-ED19BDE864E2}"/>
              </a:ext>
            </a:extLst>
          </p:cNvPr>
          <p:cNvPicPr>
            <a:picLocks noChangeAspect="1"/>
          </p:cNvPicPr>
          <p:nvPr/>
        </p:nvPicPr>
        <p:blipFill>
          <a:blip r:embed="rId2"/>
          <a:stretch>
            <a:fillRect/>
          </a:stretch>
        </p:blipFill>
        <p:spPr>
          <a:xfrm>
            <a:off x="690505" y="1013777"/>
            <a:ext cx="2866459" cy="1864646"/>
          </a:xfrm>
          <a:prstGeom prst="rect">
            <a:avLst/>
          </a:prstGeom>
        </p:spPr>
      </p:pic>
      <p:sp>
        <p:nvSpPr>
          <p:cNvPr id="6" name="TextBox 5">
            <a:extLst>
              <a:ext uri="{FF2B5EF4-FFF2-40B4-BE49-F238E27FC236}">
                <a16:creationId xmlns:a16="http://schemas.microsoft.com/office/drawing/2014/main" id="{C064D84D-392C-4C73-8B18-11D5BEDF8E75}"/>
              </a:ext>
            </a:extLst>
          </p:cNvPr>
          <p:cNvSpPr txBox="1"/>
          <p:nvPr/>
        </p:nvSpPr>
        <p:spPr>
          <a:xfrm>
            <a:off x="4114800" y="1256427"/>
            <a:ext cx="4338695" cy="138499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is is the area under the curve (</a:t>
            </a:r>
            <a:r>
              <a:rPr lang="en-US" sz="1400" dirty="0">
                <a:solidFill>
                  <a:srgbClr val="FF0000"/>
                </a:solidFill>
                <a:latin typeface="+mn-lt"/>
              </a:rPr>
              <a:t>marked red</a:t>
            </a:r>
            <a:r>
              <a:rPr lang="en-US" sz="1400" dirty="0">
                <a:solidFill>
                  <a:schemeClr val="bg2"/>
                </a:solidFill>
                <a:latin typeface="+mn-lt"/>
              </a:rPr>
              <a:t>)</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Usually, values are 5% or 1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5% =&gt; .05</a:t>
            </a:r>
          </a:p>
          <a:p>
            <a:pPr>
              <a:spcBef>
                <a:spcPts val="0"/>
              </a:spcBef>
              <a:spcAft>
                <a:spcPts val="0"/>
              </a:spcAft>
              <a:buClr>
                <a:schemeClr val="bg1"/>
              </a:buClr>
            </a:pPr>
            <a:r>
              <a:rPr lang="en-US" sz="1400" dirty="0">
                <a:solidFill>
                  <a:schemeClr val="bg2"/>
                </a:solidFill>
                <a:latin typeface="+mn-lt"/>
              </a:rPr>
              <a:t>1% = &gt; 0.01</a:t>
            </a:r>
          </a:p>
        </p:txBody>
      </p:sp>
      <p:pic>
        <p:nvPicPr>
          <p:cNvPr id="7" name="Picture 6">
            <a:extLst>
              <a:ext uri="{FF2B5EF4-FFF2-40B4-BE49-F238E27FC236}">
                <a16:creationId xmlns:a16="http://schemas.microsoft.com/office/drawing/2014/main" id="{9B9C2D55-639D-4B75-8801-9BC3DC241246}"/>
              </a:ext>
            </a:extLst>
          </p:cNvPr>
          <p:cNvPicPr>
            <a:picLocks noChangeAspect="1"/>
          </p:cNvPicPr>
          <p:nvPr/>
        </p:nvPicPr>
        <p:blipFill>
          <a:blip r:embed="rId3"/>
          <a:stretch>
            <a:fillRect/>
          </a:stretch>
        </p:blipFill>
        <p:spPr>
          <a:xfrm>
            <a:off x="5585327" y="3005279"/>
            <a:ext cx="2868168" cy="1866900"/>
          </a:xfrm>
          <a:prstGeom prst="rect">
            <a:avLst/>
          </a:prstGeom>
        </p:spPr>
      </p:pic>
      <p:sp>
        <p:nvSpPr>
          <p:cNvPr id="8" name="TextBox 7">
            <a:extLst>
              <a:ext uri="{FF2B5EF4-FFF2-40B4-BE49-F238E27FC236}">
                <a16:creationId xmlns:a16="http://schemas.microsoft.com/office/drawing/2014/main" id="{4D961854-9A77-407B-B194-98630954D410}"/>
              </a:ext>
            </a:extLst>
          </p:cNvPr>
          <p:cNvSpPr txBox="1"/>
          <p:nvPr/>
        </p:nvSpPr>
        <p:spPr>
          <a:xfrm>
            <a:off x="558412" y="3189930"/>
            <a:ext cx="373438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Note : If our test statistics comes in red tail’s part then we would Reject Ho else we will Reject Ho</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C4B7D36F-4C50-43B5-9048-799C640244B7}"/>
                  </a:ext>
                </a:extLst>
              </p14:cNvPr>
              <p14:cNvContentPartPr/>
              <p14:nvPr/>
            </p14:nvContentPartPr>
            <p14:xfrm>
              <a:off x="657360" y="3643200"/>
              <a:ext cx="3229200" cy="319680"/>
            </p14:xfrm>
          </p:contentPart>
        </mc:Choice>
        <mc:Fallback>
          <p:pic>
            <p:nvPicPr>
              <p:cNvPr id="4" name="Ink 3">
                <a:extLst>
                  <a:ext uri="{FF2B5EF4-FFF2-40B4-BE49-F238E27FC236}">
                    <a16:creationId xmlns:a16="http://schemas.microsoft.com/office/drawing/2014/main" id="{C4B7D36F-4C50-43B5-9048-799C640244B7}"/>
                  </a:ext>
                </a:extLst>
              </p:cNvPr>
              <p:cNvPicPr/>
              <p:nvPr/>
            </p:nvPicPr>
            <p:blipFill>
              <a:blip r:embed="rId5"/>
              <a:stretch>
                <a:fillRect/>
              </a:stretch>
            </p:blipFill>
            <p:spPr>
              <a:xfrm>
                <a:off x="648000" y="3633840"/>
                <a:ext cx="3247920" cy="338400"/>
              </a:xfrm>
              <a:prstGeom prst="rect">
                <a:avLst/>
              </a:prstGeom>
            </p:spPr>
          </p:pic>
        </mc:Fallback>
      </mc:AlternateContent>
    </p:spTree>
    <p:extLst>
      <p:ext uri="{BB962C8B-B14F-4D97-AF65-F5344CB8AC3E}">
        <p14:creationId xmlns:p14="http://schemas.microsoft.com/office/powerpoint/2010/main" val="517651273"/>
      </p:ext>
    </p:extLst>
  </p:cSld>
  <p:clrMapOvr>
    <a:masterClrMapping/>
  </p:clrMapOvr>
  <p:transition spd="med">
    <p:wipe dir="r"/>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5095F64-07E5-485E-AD58-9A2268D180FF}"/>
              </a:ext>
            </a:extLst>
          </p:cNvPr>
          <p:cNvSpPr>
            <a:spLocks noGrp="1"/>
          </p:cNvSpPr>
          <p:nvPr>
            <p:ph type="title"/>
          </p:nvPr>
        </p:nvSpPr>
        <p:spPr>
          <a:xfrm>
            <a:off x="0" y="0"/>
            <a:ext cx="8229600" cy="637794"/>
          </a:xfrm>
        </p:spPr>
        <p:txBody>
          <a:bodyPr/>
          <a:lstStyle/>
          <a:p>
            <a:r>
              <a:rPr lang="en-US" dirty="0"/>
              <a:t>Hypothesis testing : Example 1</a:t>
            </a:r>
          </a:p>
        </p:txBody>
      </p:sp>
      <p:sp>
        <p:nvSpPr>
          <p:cNvPr id="4" name="TextBox 3">
            <a:extLst>
              <a:ext uri="{FF2B5EF4-FFF2-40B4-BE49-F238E27FC236}">
                <a16:creationId xmlns:a16="http://schemas.microsoft.com/office/drawing/2014/main" id="{E59CFFE2-E172-4B36-A905-AB9C1FC4F987}"/>
              </a:ext>
            </a:extLst>
          </p:cNvPr>
          <p:cNvSpPr txBox="1"/>
          <p:nvPr/>
        </p:nvSpPr>
        <p:spPr>
          <a:xfrm>
            <a:off x="223364" y="719281"/>
            <a:ext cx="2673399"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tep 3 : Find Critical Values</a:t>
            </a:r>
          </a:p>
        </p:txBody>
      </p:sp>
      <p:sp>
        <p:nvSpPr>
          <p:cNvPr id="5" name="TextBox 4">
            <a:extLst>
              <a:ext uri="{FF2B5EF4-FFF2-40B4-BE49-F238E27FC236}">
                <a16:creationId xmlns:a16="http://schemas.microsoft.com/office/drawing/2014/main" id="{0CD91029-CD3D-47A6-8701-5B9AD650FBFE}"/>
              </a:ext>
            </a:extLst>
          </p:cNvPr>
          <p:cNvSpPr txBox="1"/>
          <p:nvPr/>
        </p:nvSpPr>
        <p:spPr>
          <a:xfrm>
            <a:off x="300147" y="1137765"/>
            <a:ext cx="390190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re we need to find Z-value or T-value</a:t>
            </a:r>
          </a:p>
        </p:txBody>
      </p:sp>
      <p:sp>
        <p:nvSpPr>
          <p:cNvPr id="6" name="TextBox 5">
            <a:extLst>
              <a:ext uri="{FF2B5EF4-FFF2-40B4-BE49-F238E27FC236}">
                <a16:creationId xmlns:a16="http://schemas.microsoft.com/office/drawing/2014/main" id="{832CC761-E2BF-4EC0-8468-B2CDF18280EE}"/>
              </a:ext>
            </a:extLst>
          </p:cNvPr>
          <p:cNvSpPr txBox="1"/>
          <p:nvPr/>
        </p:nvSpPr>
        <p:spPr>
          <a:xfrm>
            <a:off x="5737684" y="637794"/>
            <a:ext cx="3238791"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How do we decide between z-value or t-value ? </a:t>
            </a:r>
          </a:p>
          <a:p>
            <a:pPr>
              <a:spcBef>
                <a:spcPts val="0"/>
              </a:spcBef>
              <a:spcAft>
                <a:spcPts val="0"/>
              </a:spcAft>
              <a:buClr>
                <a:schemeClr val="bg1"/>
              </a:buClr>
            </a:pPr>
            <a:endParaRPr lang="en-US" sz="1400" dirty="0">
              <a:solidFill>
                <a:schemeClr val="bg2"/>
              </a:solidFill>
              <a:latin typeface="+mn-lt"/>
            </a:endParaRPr>
          </a:p>
          <a:p>
            <a:pPr marL="342900" indent="-342900">
              <a:spcBef>
                <a:spcPts val="0"/>
              </a:spcBef>
              <a:spcAft>
                <a:spcPts val="0"/>
              </a:spcAft>
              <a:buClr>
                <a:schemeClr val="bg1"/>
              </a:buClr>
              <a:buAutoNum type="arabicPeriod"/>
            </a:pPr>
            <a:r>
              <a:rPr lang="en-US" sz="1400" dirty="0">
                <a:solidFill>
                  <a:schemeClr val="bg2"/>
                </a:solidFill>
                <a:latin typeface="+mn-lt"/>
              </a:rPr>
              <a:t>If the Std Deviation of population is not given .</a:t>
            </a:r>
          </a:p>
          <a:p>
            <a:pPr marL="342900" indent="-342900">
              <a:spcBef>
                <a:spcPts val="0"/>
              </a:spcBef>
              <a:spcAft>
                <a:spcPts val="0"/>
              </a:spcAft>
              <a:buClr>
                <a:schemeClr val="bg1"/>
              </a:buClr>
              <a:buAutoNum type="arabicPeriod"/>
            </a:pPr>
            <a:r>
              <a:rPr lang="en-US" sz="1400" dirty="0">
                <a:solidFill>
                  <a:schemeClr val="bg2"/>
                </a:solidFill>
                <a:latin typeface="+mn-lt"/>
              </a:rPr>
              <a:t>If the Sample size &lt;30 </a:t>
            </a:r>
          </a:p>
          <a:p>
            <a:pPr marL="342900" indent="-342900">
              <a:spcBef>
                <a:spcPts val="0"/>
              </a:spcBef>
              <a:spcAft>
                <a:spcPts val="0"/>
              </a:spcAft>
              <a:buClr>
                <a:schemeClr val="bg1"/>
              </a:buClr>
              <a:buAutoNum type="arabicPeriod"/>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Then find t- value, b using a t-table</a:t>
            </a:r>
          </a:p>
        </p:txBody>
      </p:sp>
      <p:sp>
        <p:nvSpPr>
          <p:cNvPr id="7" name="Star: 5 Points 6">
            <a:extLst>
              <a:ext uri="{FF2B5EF4-FFF2-40B4-BE49-F238E27FC236}">
                <a16:creationId xmlns:a16="http://schemas.microsoft.com/office/drawing/2014/main" id="{D89879C2-04F7-4641-A76F-EBFFBE69EA5D}"/>
              </a:ext>
            </a:extLst>
          </p:cNvPr>
          <p:cNvSpPr/>
          <p:nvPr/>
        </p:nvSpPr>
        <p:spPr>
          <a:xfrm>
            <a:off x="5256053" y="549242"/>
            <a:ext cx="481631" cy="488611"/>
          </a:xfrm>
          <a:prstGeom prst="star5">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9" name="Picture 8">
            <a:extLst>
              <a:ext uri="{FF2B5EF4-FFF2-40B4-BE49-F238E27FC236}">
                <a16:creationId xmlns:a16="http://schemas.microsoft.com/office/drawing/2014/main" id="{480B6689-98FA-46B9-829A-DE94D403FAA5}"/>
              </a:ext>
            </a:extLst>
          </p:cNvPr>
          <p:cNvPicPr>
            <a:picLocks noChangeAspect="1"/>
          </p:cNvPicPr>
          <p:nvPr/>
        </p:nvPicPr>
        <p:blipFill>
          <a:blip r:embed="rId2"/>
          <a:stretch>
            <a:fillRect/>
          </a:stretch>
        </p:blipFill>
        <p:spPr>
          <a:xfrm>
            <a:off x="397977" y="1661276"/>
            <a:ext cx="1891513" cy="3078344"/>
          </a:xfrm>
          <a:prstGeom prst="rect">
            <a:avLst/>
          </a:prstGeom>
        </p:spPr>
      </p:pic>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1E68CB0D-8753-47D5-8EC8-F922ED7D24D3}"/>
                  </a:ext>
                </a:extLst>
              </p14:cNvPr>
              <p14:cNvContentPartPr/>
              <p14:nvPr/>
            </p14:nvContentPartPr>
            <p14:xfrm>
              <a:off x="514440" y="1014480"/>
              <a:ext cx="8277480" cy="4124520"/>
            </p14:xfrm>
          </p:contentPart>
        </mc:Choice>
        <mc:Fallback>
          <p:pic>
            <p:nvPicPr>
              <p:cNvPr id="2" name="Ink 1">
                <a:extLst>
                  <a:ext uri="{FF2B5EF4-FFF2-40B4-BE49-F238E27FC236}">
                    <a16:creationId xmlns:a16="http://schemas.microsoft.com/office/drawing/2014/main" id="{1E68CB0D-8753-47D5-8EC8-F922ED7D24D3}"/>
                  </a:ext>
                </a:extLst>
              </p:cNvPr>
              <p:cNvPicPr/>
              <p:nvPr/>
            </p:nvPicPr>
            <p:blipFill>
              <a:blip r:embed="rId4"/>
              <a:stretch>
                <a:fillRect/>
              </a:stretch>
            </p:blipFill>
            <p:spPr>
              <a:xfrm>
                <a:off x="505080" y="1005120"/>
                <a:ext cx="8296200" cy="4143240"/>
              </a:xfrm>
              <a:prstGeom prst="rect">
                <a:avLst/>
              </a:prstGeom>
            </p:spPr>
          </p:pic>
        </mc:Fallback>
      </mc:AlternateContent>
    </p:spTree>
    <p:extLst>
      <p:ext uri="{BB962C8B-B14F-4D97-AF65-F5344CB8AC3E}">
        <p14:creationId xmlns:p14="http://schemas.microsoft.com/office/powerpoint/2010/main" val="2924544652"/>
      </p:ext>
    </p:extLst>
  </p:cSld>
  <p:clrMapOvr>
    <a:masterClrMapping/>
  </p:clrMapOvr>
  <p:transition spd="med">
    <p:wipe dir="r"/>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0D712-C5CA-4169-8764-9964D5D251AF}"/>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C25C5A0B-9E40-421B-807B-0E957BC32ED7}"/>
              </a:ext>
            </a:extLst>
          </p:cNvPr>
          <p:cNvSpPr txBox="1"/>
          <p:nvPr/>
        </p:nvSpPr>
        <p:spPr>
          <a:xfrm>
            <a:off x="97722" y="704996"/>
            <a:ext cx="7280299" cy="954107"/>
          </a:xfrm>
          <a:prstGeom prst="rect">
            <a:avLst/>
          </a:prstGeom>
          <a:noFill/>
        </p:spPr>
        <p:txBody>
          <a:bodyPr wrap="square" rtlCol="0">
            <a:spAutoFit/>
          </a:bodyPr>
          <a:lstStyle/>
          <a:p>
            <a:pPr>
              <a:spcBef>
                <a:spcPts val="0"/>
              </a:spcBef>
              <a:spcAft>
                <a:spcPts val="0"/>
              </a:spcAft>
              <a:buClr>
                <a:schemeClr val="bg1"/>
              </a:buClr>
            </a:pPr>
            <a:r>
              <a:rPr lang="el-GR" b="1" dirty="0">
                <a:solidFill>
                  <a:schemeClr val="bg2"/>
                </a:solidFill>
                <a:latin typeface="+mn-lt"/>
              </a:rPr>
              <a:t>σ</a:t>
            </a:r>
            <a:r>
              <a:rPr lang="en-US" b="1" dirty="0">
                <a:solidFill>
                  <a:schemeClr val="bg2"/>
                </a:solidFill>
                <a:latin typeface="+mn-lt"/>
              </a:rPr>
              <a:t>  = 15  </a:t>
            </a:r>
            <a:r>
              <a:rPr lang="en-US" sz="1600" dirty="0">
                <a:solidFill>
                  <a:schemeClr val="bg2"/>
                </a:solidFill>
                <a:latin typeface="+mn-lt"/>
              </a:rPr>
              <a:t>(standard deviation of 15)</a:t>
            </a:r>
          </a:p>
          <a:p>
            <a:pPr>
              <a:spcBef>
                <a:spcPts val="0"/>
              </a:spcBef>
              <a:spcAft>
                <a:spcPts val="0"/>
              </a:spcAft>
              <a:buClr>
                <a:schemeClr val="bg1"/>
              </a:buClr>
            </a:pPr>
            <a:endParaRPr lang="en-US" sz="1600" dirty="0">
              <a:solidFill>
                <a:schemeClr val="bg2"/>
              </a:solidFill>
              <a:latin typeface="+mn-lt"/>
            </a:endParaRPr>
          </a:p>
          <a:p>
            <a:pPr>
              <a:spcBef>
                <a:spcPts val="0"/>
              </a:spcBef>
              <a:spcAft>
                <a:spcPts val="0"/>
              </a:spcAft>
              <a:buClr>
                <a:schemeClr val="bg1"/>
              </a:buClr>
            </a:pPr>
            <a:r>
              <a:rPr lang="en-US" sz="1600" b="1" dirty="0">
                <a:solidFill>
                  <a:schemeClr val="bg2"/>
                </a:solidFill>
                <a:latin typeface="+mn-lt"/>
              </a:rPr>
              <a:t>Sample Size &gt; 30   </a:t>
            </a:r>
            <a:r>
              <a:rPr lang="en-US" sz="1600" dirty="0">
                <a:solidFill>
                  <a:schemeClr val="bg2"/>
                </a:solidFill>
                <a:latin typeface="+mn-lt"/>
              </a:rPr>
              <a:t>( researchers decides to test the IQ of 75 random adults)</a:t>
            </a:r>
            <a:endParaRPr lang="en-US" sz="1400" dirty="0">
              <a:solidFill>
                <a:schemeClr val="bg2"/>
              </a:solidFill>
              <a:latin typeface="+mn-lt"/>
            </a:endParaRPr>
          </a:p>
        </p:txBody>
      </p:sp>
      <p:pic>
        <p:nvPicPr>
          <p:cNvPr id="4" name="Picture 3">
            <a:extLst>
              <a:ext uri="{FF2B5EF4-FFF2-40B4-BE49-F238E27FC236}">
                <a16:creationId xmlns:a16="http://schemas.microsoft.com/office/drawing/2014/main" id="{CA044120-2E73-4EE5-85C3-ED19BDE864E2}"/>
              </a:ext>
            </a:extLst>
          </p:cNvPr>
          <p:cNvPicPr>
            <a:picLocks noChangeAspect="1"/>
          </p:cNvPicPr>
          <p:nvPr/>
        </p:nvPicPr>
        <p:blipFill>
          <a:blip r:embed="rId2"/>
          <a:stretch>
            <a:fillRect/>
          </a:stretch>
        </p:blipFill>
        <p:spPr>
          <a:xfrm>
            <a:off x="1826501" y="2260660"/>
            <a:ext cx="3347928" cy="2177844"/>
          </a:xfrm>
          <a:prstGeom prst="rect">
            <a:avLst/>
          </a:prstGeom>
        </p:spPr>
      </p:pic>
      <p:pic>
        <p:nvPicPr>
          <p:cNvPr id="6" name="Picture 5">
            <a:extLst>
              <a:ext uri="{FF2B5EF4-FFF2-40B4-BE49-F238E27FC236}">
                <a16:creationId xmlns:a16="http://schemas.microsoft.com/office/drawing/2014/main" id="{6C7379BD-41AB-4214-9148-7A72D3557845}"/>
              </a:ext>
            </a:extLst>
          </p:cNvPr>
          <p:cNvPicPr>
            <a:picLocks noChangeAspect="1"/>
          </p:cNvPicPr>
          <p:nvPr/>
        </p:nvPicPr>
        <p:blipFill>
          <a:blip r:embed="rId3"/>
          <a:stretch>
            <a:fillRect/>
          </a:stretch>
        </p:blipFill>
        <p:spPr>
          <a:xfrm>
            <a:off x="442839" y="3146260"/>
            <a:ext cx="1152525" cy="676275"/>
          </a:xfrm>
          <a:prstGeom prst="rect">
            <a:avLst/>
          </a:prstGeom>
        </p:spPr>
      </p:pic>
      <p:pic>
        <p:nvPicPr>
          <p:cNvPr id="7" name="Picture 6">
            <a:extLst>
              <a:ext uri="{FF2B5EF4-FFF2-40B4-BE49-F238E27FC236}">
                <a16:creationId xmlns:a16="http://schemas.microsoft.com/office/drawing/2014/main" id="{6824B365-EA27-4BD3-9ACC-F27FA94730E9}"/>
              </a:ext>
            </a:extLst>
          </p:cNvPr>
          <p:cNvPicPr>
            <a:picLocks noChangeAspect="1"/>
          </p:cNvPicPr>
          <p:nvPr/>
        </p:nvPicPr>
        <p:blipFill>
          <a:blip r:embed="rId3"/>
          <a:stretch>
            <a:fillRect/>
          </a:stretch>
        </p:blipFill>
        <p:spPr>
          <a:xfrm>
            <a:off x="5634909" y="3146259"/>
            <a:ext cx="1152525" cy="676275"/>
          </a:xfrm>
          <a:prstGeom prst="rect">
            <a:avLst/>
          </a:prstGeom>
        </p:spPr>
      </p:pic>
      <p:cxnSp>
        <p:nvCxnSpPr>
          <p:cNvPr id="9" name="Straight Arrow Connector 8">
            <a:extLst>
              <a:ext uri="{FF2B5EF4-FFF2-40B4-BE49-F238E27FC236}">
                <a16:creationId xmlns:a16="http://schemas.microsoft.com/office/drawing/2014/main" id="{B729AD38-0FBC-4CB1-BFCA-5559283BDB24}"/>
              </a:ext>
            </a:extLst>
          </p:cNvPr>
          <p:cNvCxnSpPr/>
          <p:nvPr/>
        </p:nvCxnSpPr>
        <p:spPr>
          <a:xfrm flipV="1">
            <a:off x="5011750" y="3822535"/>
            <a:ext cx="558412" cy="400457"/>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A1D873AC-F344-420C-8866-6065D74CB422}"/>
              </a:ext>
            </a:extLst>
          </p:cNvPr>
          <p:cNvCxnSpPr/>
          <p:nvPr/>
        </p:nvCxnSpPr>
        <p:spPr>
          <a:xfrm flipH="1" flipV="1">
            <a:off x="1546398" y="3822534"/>
            <a:ext cx="509446" cy="435359"/>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mc:Choice xmlns:p14="http://schemas.microsoft.com/office/powerpoint/2010/main" Requires="p14">
          <p:contentPart p14:bwMode="auto" r:id="rId4">
            <p14:nvContentPartPr>
              <p14:cNvPr id="5" name="Ink 4">
                <a:extLst>
                  <a:ext uri="{FF2B5EF4-FFF2-40B4-BE49-F238E27FC236}">
                    <a16:creationId xmlns:a16="http://schemas.microsoft.com/office/drawing/2014/main" id="{979DB679-D53B-498D-B28D-D451764F452C}"/>
                  </a:ext>
                </a:extLst>
              </p14:cNvPr>
              <p14:cNvContentPartPr/>
              <p14:nvPr/>
            </p14:nvContentPartPr>
            <p14:xfrm>
              <a:off x="1995480" y="2004840"/>
              <a:ext cx="6534360" cy="2877120"/>
            </p14:xfrm>
          </p:contentPart>
        </mc:Choice>
        <mc:Fallback>
          <p:pic>
            <p:nvPicPr>
              <p:cNvPr id="5" name="Ink 4">
                <a:extLst>
                  <a:ext uri="{FF2B5EF4-FFF2-40B4-BE49-F238E27FC236}">
                    <a16:creationId xmlns:a16="http://schemas.microsoft.com/office/drawing/2014/main" id="{979DB679-D53B-498D-B28D-D451764F452C}"/>
                  </a:ext>
                </a:extLst>
              </p:cNvPr>
              <p:cNvPicPr/>
              <p:nvPr/>
            </p:nvPicPr>
            <p:blipFill>
              <a:blip r:embed="rId5"/>
              <a:stretch>
                <a:fillRect/>
              </a:stretch>
            </p:blipFill>
            <p:spPr>
              <a:xfrm>
                <a:off x="1986120" y="1995480"/>
                <a:ext cx="6553080" cy="2895840"/>
              </a:xfrm>
              <a:prstGeom prst="rect">
                <a:avLst/>
              </a:prstGeom>
            </p:spPr>
          </p:pic>
        </mc:Fallback>
      </mc:AlternateContent>
    </p:spTree>
    <p:extLst>
      <p:ext uri="{BB962C8B-B14F-4D97-AF65-F5344CB8AC3E}">
        <p14:creationId xmlns:p14="http://schemas.microsoft.com/office/powerpoint/2010/main" val="3969977669"/>
      </p:ext>
    </p:extLst>
  </p:cSld>
  <p:clrMapOvr>
    <a:masterClrMapping/>
  </p:clrMapOvr>
  <p:transition spd="med">
    <p:wipe dir="r"/>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4CA8C-AA56-4D47-8141-4E2E75F2561E}"/>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2A8B8F45-DDF3-4EFD-B598-8C56DD858E37}"/>
              </a:ext>
            </a:extLst>
          </p:cNvPr>
          <p:cNvSpPr txBox="1"/>
          <p:nvPr/>
        </p:nvSpPr>
        <p:spPr>
          <a:xfrm>
            <a:off x="118663" y="691035"/>
            <a:ext cx="5144372"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4 : find test statistics </a:t>
            </a:r>
            <a:r>
              <a:rPr lang="en-US" sz="1400" i="1" dirty="0" err="1">
                <a:solidFill>
                  <a:srgbClr val="FF0000"/>
                </a:solidFill>
                <a:latin typeface="+mn-lt"/>
              </a:rPr>
              <a:t>i.e</a:t>
            </a:r>
            <a:r>
              <a:rPr lang="en-US" sz="1400" i="1" dirty="0">
                <a:solidFill>
                  <a:srgbClr val="FF0000"/>
                </a:solidFill>
                <a:latin typeface="+mn-lt"/>
              </a:rPr>
              <a:t> the Z-value in this case </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3C05793-72A7-4CE8-88A0-EEC0E08277AC}"/>
                  </a:ext>
                </a:extLst>
              </p14:cNvPr>
              <p14:cNvContentPartPr/>
              <p14:nvPr/>
            </p14:nvContentPartPr>
            <p14:xfrm>
              <a:off x="914400" y="1276200"/>
              <a:ext cx="6024960" cy="657720"/>
            </p14:xfrm>
          </p:contentPart>
        </mc:Choice>
        <mc:Fallback xmlns="">
          <p:pic>
            <p:nvPicPr>
              <p:cNvPr id="4" name="Ink 3">
                <a:extLst>
                  <a:ext uri="{FF2B5EF4-FFF2-40B4-BE49-F238E27FC236}">
                    <a16:creationId xmlns:a16="http://schemas.microsoft.com/office/drawing/2014/main" id="{63C05793-72A7-4CE8-88A0-EEC0E08277AC}"/>
                  </a:ext>
                </a:extLst>
              </p:cNvPr>
              <p:cNvPicPr/>
              <p:nvPr/>
            </p:nvPicPr>
            <p:blipFill>
              <a:blip r:embed="rId3"/>
              <a:stretch>
                <a:fillRect/>
              </a:stretch>
            </p:blipFill>
            <p:spPr>
              <a:xfrm>
                <a:off x="905040" y="1266840"/>
                <a:ext cx="6043680" cy="676440"/>
              </a:xfrm>
              <a:prstGeom prst="rect">
                <a:avLst/>
              </a:prstGeom>
            </p:spPr>
          </p:pic>
        </mc:Fallback>
      </mc:AlternateContent>
      <p:sp>
        <p:nvSpPr>
          <p:cNvPr id="5" name="Rectangle 4">
            <a:extLst>
              <a:ext uri="{FF2B5EF4-FFF2-40B4-BE49-F238E27FC236}">
                <a16:creationId xmlns:a16="http://schemas.microsoft.com/office/drawing/2014/main" id="{6FAA2351-AC32-4B38-95CD-37746AEEE9ED}"/>
              </a:ext>
            </a:extLst>
          </p:cNvPr>
          <p:cNvSpPr/>
          <p:nvPr/>
        </p:nvSpPr>
        <p:spPr>
          <a:xfrm>
            <a:off x="809698" y="1179646"/>
            <a:ext cx="1640336" cy="858559"/>
          </a:xfrm>
          <a:prstGeom prst="rect">
            <a:avLst/>
          </a:prstGeom>
          <a:noFill/>
          <a:ln w="28575" cmpd="sng">
            <a:solidFill>
              <a:srgbClr val="0070C0"/>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6" name="Rectangle 5">
            <a:extLst>
              <a:ext uri="{FF2B5EF4-FFF2-40B4-BE49-F238E27FC236}">
                <a16:creationId xmlns:a16="http://schemas.microsoft.com/office/drawing/2014/main" id="{7A60F0B1-E98A-412B-8C49-44FD2F8D42A9}"/>
              </a:ext>
            </a:extLst>
          </p:cNvPr>
          <p:cNvSpPr/>
          <p:nvPr/>
        </p:nvSpPr>
        <p:spPr>
          <a:xfrm>
            <a:off x="3054361" y="1172016"/>
            <a:ext cx="4044454" cy="858559"/>
          </a:xfrm>
          <a:prstGeom prst="rect">
            <a:avLst/>
          </a:prstGeom>
          <a:noFill/>
          <a:ln w="28575" cmpd="sng">
            <a:solidFill>
              <a:srgbClr val="0070C0"/>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7" name="TextBox 6">
            <a:extLst>
              <a:ext uri="{FF2B5EF4-FFF2-40B4-BE49-F238E27FC236}">
                <a16:creationId xmlns:a16="http://schemas.microsoft.com/office/drawing/2014/main" id="{F3B75425-6298-4251-97C2-69407F58537F}"/>
              </a:ext>
            </a:extLst>
          </p:cNvPr>
          <p:cNvSpPr txBox="1"/>
          <p:nvPr/>
        </p:nvSpPr>
        <p:spPr>
          <a:xfrm>
            <a:off x="7294260" y="1409991"/>
            <a:ext cx="1444891" cy="307777"/>
          </a:xfrm>
          <a:prstGeom prst="rect">
            <a:avLst/>
          </a:prstGeom>
          <a:noFill/>
        </p:spPr>
        <p:txBody>
          <a:bodyPr wrap="square" rtlCol="0">
            <a:spAutoFit/>
          </a:bodyPr>
          <a:lstStyle/>
          <a:p>
            <a:pPr>
              <a:spcBef>
                <a:spcPts val="0"/>
              </a:spcBef>
              <a:spcAft>
                <a:spcPts val="0"/>
              </a:spcAft>
              <a:buClr>
                <a:schemeClr val="bg1"/>
              </a:buClr>
            </a:pPr>
            <a:r>
              <a:rPr lang="en-US" sz="1400" i="1" dirty="0">
                <a:solidFill>
                  <a:schemeClr val="bg2"/>
                </a:solidFill>
                <a:latin typeface="+mn-lt"/>
              </a:rPr>
              <a:t>(Test Statistics)</a:t>
            </a:r>
          </a:p>
        </p:txBody>
      </p:sp>
      <p:sp>
        <p:nvSpPr>
          <p:cNvPr id="8" name="TextBox 7">
            <a:extLst>
              <a:ext uri="{FF2B5EF4-FFF2-40B4-BE49-F238E27FC236}">
                <a16:creationId xmlns:a16="http://schemas.microsoft.com/office/drawing/2014/main" id="{17ED0999-FCE7-485D-BB1E-EBF870E4A79D}"/>
              </a:ext>
            </a:extLst>
          </p:cNvPr>
          <p:cNvSpPr txBox="1"/>
          <p:nvPr/>
        </p:nvSpPr>
        <p:spPr>
          <a:xfrm>
            <a:off x="404849" y="2771121"/>
            <a:ext cx="3685520"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o, our test statistics value is 2.89</a:t>
            </a:r>
          </a:p>
        </p:txBody>
      </p:sp>
      <p:pic>
        <p:nvPicPr>
          <p:cNvPr id="9" name="Picture 8">
            <a:extLst>
              <a:ext uri="{FF2B5EF4-FFF2-40B4-BE49-F238E27FC236}">
                <a16:creationId xmlns:a16="http://schemas.microsoft.com/office/drawing/2014/main" id="{391B1B9A-C7B4-4AAA-ACD2-2F56E6798D31}"/>
              </a:ext>
            </a:extLst>
          </p:cNvPr>
          <p:cNvPicPr>
            <a:picLocks noChangeAspect="1"/>
          </p:cNvPicPr>
          <p:nvPr/>
        </p:nvPicPr>
        <p:blipFill>
          <a:blip r:embed="rId4"/>
          <a:stretch>
            <a:fillRect/>
          </a:stretch>
        </p:blipFill>
        <p:spPr>
          <a:xfrm>
            <a:off x="4229122" y="2584040"/>
            <a:ext cx="3260581" cy="2122927"/>
          </a:xfrm>
          <a:prstGeom prst="rect">
            <a:avLst/>
          </a:prstGeom>
        </p:spPr>
      </p:pic>
      <mc:AlternateContent xmlns:mc="http://schemas.openxmlformats.org/markup-compatibility/2006">
        <mc:Choice xmlns:p14="http://schemas.microsoft.com/office/powerpoint/2010/main" Requires="p14">
          <p:contentPart p14:bwMode="auto" r:id="rId5">
            <p14:nvContentPartPr>
              <p14:cNvPr id="10" name="Ink 9">
                <a:extLst>
                  <a:ext uri="{FF2B5EF4-FFF2-40B4-BE49-F238E27FC236}">
                    <a16:creationId xmlns:a16="http://schemas.microsoft.com/office/drawing/2014/main" id="{0E893958-4885-4127-95E8-E2FD213ED177}"/>
                  </a:ext>
                </a:extLst>
              </p14:cNvPr>
              <p14:cNvContentPartPr/>
              <p14:nvPr/>
            </p14:nvContentPartPr>
            <p14:xfrm>
              <a:off x="1552680" y="214200"/>
              <a:ext cx="7172640" cy="4653360"/>
            </p14:xfrm>
          </p:contentPart>
        </mc:Choice>
        <mc:Fallback>
          <p:pic>
            <p:nvPicPr>
              <p:cNvPr id="10" name="Ink 9">
                <a:extLst>
                  <a:ext uri="{FF2B5EF4-FFF2-40B4-BE49-F238E27FC236}">
                    <a16:creationId xmlns:a16="http://schemas.microsoft.com/office/drawing/2014/main" id="{0E893958-4885-4127-95E8-E2FD213ED177}"/>
                  </a:ext>
                </a:extLst>
              </p:cNvPr>
              <p:cNvPicPr/>
              <p:nvPr/>
            </p:nvPicPr>
            <p:blipFill>
              <a:blip r:embed="rId6"/>
              <a:stretch>
                <a:fillRect/>
              </a:stretch>
            </p:blipFill>
            <p:spPr>
              <a:xfrm>
                <a:off x="1543320" y="204840"/>
                <a:ext cx="7191360" cy="4672080"/>
              </a:xfrm>
              <a:prstGeom prst="rect">
                <a:avLst/>
              </a:prstGeom>
            </p:spPr>
          </p:pic>
        </mc:Fallback>
      </mc:AlternateContent>
    </p:spTree>
    <p:extLst>
      <p:ext uri="{BB962C8B-B14F-4D97-AF65-F5344CB8AC3E}">
        <p14:creationId xmlns:p14="http://schemas.microsoft.com/office/powerpoint/2010/main" val="495668007"/>
      </p:ext>
    </p:extLst>
  </p:cSld>
  <p:clrMapOvr>
    <a:masterClrMapping/>
  </p:clrMapOvr>
  <p:transition spd="med">
    <p:wipe dir="r"/>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B8AEF-F8F2-4301-BCEE-F3929B071B7B}"/>
              </a:ext>
            </a:extLst>
          </p:cNvPr>
          <p:cNvSpPr>
            <a:spLocks noGrp="1"/>
          </p:cNvSpPr>
          <p:nvPr>
            <p:ph type="title"/>
          </p:nvPr>
        </p:nvSpPr>
        <p:spPr>
          <a:xfrm>
            <a:off x="0" y="0"/>
            <a:ext cx="8229600" cy="637794"/>
          </a:xfrm>
        </p:spPr>
        <p:txBody>
          <a:bodyPr/>
          <a:lstStyle/>
          <a:p>
            <a:r>
              <a:rPr lang="en-US" dirty="0"/>
              <a:t>Hypothesis testing : Example 1</a:t>
            </a:r>
          </a:p>
        </p:txBody>
      </p:sp>
      <p:sp>
        <p:nvSpPr>
          <p:cNvPr id="3" name="TextBox 2">
            <a:extLst>
              <a:ext uri="{FF2B5EF4-FFF2-40B4-BE49-F238E27FC236}">
                <a16:creationId xmlns:a16="http://schemas.microsoft.com/office/drawing/2014/main" id="{84CE6CD4-5A31-463D-BA48-9816D9938152}"/>
              </a:ext>
            </a:extLst>
          </p:cNvPr>
          <p:cNvSpPr txBox="1"/>
          <p:nvPr/>
        </p:nvSpPr>
        <p:spPr>
          <a:xfrm>
            <a:off x="216385" y="781778"/>
            <a:ext cx="4683682" cy="646331"/>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solidFill>
                <a:latin typeface="+mn-lt"/>
              </a:rPr>
              <a:t>Reject Ho ?</a:t>
            </a:r>
          </a:p>
          <a:p>
            <a:pPr>
              <a:spcBef>
                <a:spcPts val="0"/>
              </a:spcBef>
              <a:spcAft>
                <a:spcPts val="0"/>
              </a:spcAft>
              <a:buClr>
                <a:schemeClr val="bg1"/>
              </a:buClr>
            </a:pPr>
            <a:r>
              <a:rPr lang="en-US" sz="1800" dirty="0">
                <a:solidFill>
                  <a:schemeClr val="bg2"/>
                </a:solidFill>
                <a:latin typeface="+mn-lt"/>
              </a:rPr>
              <a:t>Accept Ho ?</a:t>
            </a:r>
          </a:p>
        </p:txBody>
      </p:sp>
      <p:sp>
        <p:nvSpPr>
          <p:cNvPr id="4" name="TextBox 3">
            <a:extLst>
              <a:ext uri="{FF2B5EF4-FFF2-40B4-BE49-F238E27FC236}">
                <a16:creationId xmlns:a16="http://schemas.microsoft.com/office/drawing/2014/main" id="{919E7F3D-5E5B-4F1C-A96F-0980A679BF0C}"/>
              </a:ext>
            </a:extLst>
          </p:cNvPr>
          <p:cNvSpPr txBox="1"/>
          <p:nvPr/>
        </p:nvSpPr>
        <p:spPr>
          <a:xfrm>
            <a:off x="509551" y="2149887"/>
            <a:ext cx="6009912"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nce, we can say with 95% confidence that there is enough evident to support the claim : “Avg IQ has changed” </a:t>
            </a:r>
          </a:p>
        </p:txBody>
      </p:sp>
      <p:sp>
        <p:nvSpPr>
          <p:cNvPr id="5" name="TextBox 4">
            <a:extLst>
              <a:ext uri="{FF2B5EF4-FFF2-40B4-BE49-F238E27FC236}">
                <a16:creationId xmlns:a16="http://schemas.microsoft.com/office/drawing/2014/main" id="{2C14FABB-8D8C-4AD5-96CB-E26E80EF4920}"/>
              </a:ext>
            </a:extLst>
          </p:cNvPr>
          <p:cNvSpPr txBox="1"/>
          <p:nvPr/>
        </p:nvSpPr>
        <p:spPr>
          <a:xfrm>
            <a:off x="2903744" y="951054"/>
            <a:ext cx="3685520"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So, our test statistics value is 2.89</a:t>
            </a:r>
          </a:p>
        </p:txBody>
      </p:sp>
      <mc:AlternateContent xmlns:mc="http://schemas.openxmlformats.org/markup-compatibility/2006">
        <mc:Choice xmlns:p14="http://schemas.microsoft.com/office/powerpoint/2010/main" Requires="p14">
          <p:contentPart p14:bwMode="auto" r:id="rId2">
            <p14:nvContentPartPr>
              <p14:cNvPr id="6" name="Ink 5">
                <a:extLst>
                  <a:ext uri="{FF2B5EF4-FFF2-40B4-BE49-F238E27FC236}">
                    <a16:creationId xmlns:a16="http://schemas.microsoft.com/office/drawing/2014/main" id="{65F42417-6AB9-4992-A60A-5740E784C577}"/>
                  </a:ext>
                </a:extLst>
              </p14:cNvPr>
              <p14:cNvContentPartPr/>
              <p14:nvPr/>
            </p14:nvContentPartPr>
            <p14:xfrm>
              <a:off x="0" y="619200"/>
              <a:ext cx="8968320" cy="3834000"/>
            </p14:xfrm>
          </p:contentPart>
        </mc:Choice>
        <mc:Fallback>
          <p:pic>
            <p:nvPicPr>
              <p:cNvPr id="6" name="Ink 5">
                <a:extLst>
                  <a:ext uri="{FF2B5EF4-FFF2-40B4-BE49-F238E27FC236}">
                    <a16:creationId xmlns:a16="http://schemas.microsoft.com/office/drawing/2014/main" id="{65F42417-6AB9-4992-A60A-5740E784C577}"/>
                  </a:ext>
                </a:extLst>
              </p:cNvPr>
              <p:cNvPicPr/>
              <p:nvPr/>
            </p:nvPicPr>
            <p:blipFill>
              <a:blip r:embed="rId3"/>
              <a:stretch>
                <a:fillRect/>
              </a:stretch>
            </p:blipFill>
            <p:spPr>
              <a:xfrm>
                <a:off x="-9360" y="609840"/>
                <a:ext cx="8987040" cy="3852720"/>
              </a:xfrm>
              <a:prstGeom prst="rect">
                <a:avLst/>
              </a:prstGeom>
            </p:spPr>
          </p:pic>
        </mc:Fallback>
      </mc:AlternateContent>
    </p:spTree>
    <p:extLst>
      <p:ext uri="{BB962C8B-B14F-4D97-AF65-F5344CB8AC3E}">
        <p14:creationId xmlns:p14="http://schemas.microsoft.com/office/powerpoint/2010/main" val="952580369"/>
      </p:ext>
    </p:extLst>
  </p:cSld>
  <p:clrMapOvr>
    <a:masterClrMapping/>
  </p:clrMapOvr>
  <p:transition spd="med">
    <p:wipe dir="r"/>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6E112-EAE8-4CBD-B9AE-481B529BAD4C}"/>
              </a:ext>
            </a:extLst>
          </p:cNvPr>
          <p:cNvSpPr>
            <a:spLocks noGrp="1"/>
          </p:cNvSpPr>
          <p:nvPr>
            <p:ph type="title"/>
          </p:nvPr>
        </p:nvSpPr>
        <p:spPr>
          <a:xfrm>
            <a:off x="0" y="0"/>
            <a:ext cx="8229600" cy="637794"/>
          </a:xfrm>
        </p:spPr>
        <p:txBody>
          <a:bodyPr/>
          <a:lstStyle/>
          <a:p>
            <a:r>
              <a:rPr lang="en-US" dirty="0"/>
              <a:t>Hypothesis testing : Example 2</a:t>
            </a:r>
          </a:p>
        </p:txBody>
      </p:sp>
      <p:sp>
        <p:nvSpPr>
          <p:cNvPr id="3" name="TextBox 2">
            <a:extLst>
              <a:ext uri="{FF2B5EF4-FFF2-40B4-BE49-F238E27FC236}">
                <a16:creationId xmlns:a16="http://schemas.microsoft.com/office/drawing/2014/main" id="{3D58D885-4EDA-4BC3-9D56-A283212D1252}"/>
              </a:ext>
            </a:extLst>
          </p:cNvPr>
          <p:cNvSpPr txBox="1"/>
          <p:nvPr/>
        </p:nvSpPr>
        <p:spPr>
          <a:xfrm>
            <a:off x="244305" y="952354"/>
            <a:ext cx="6226296" cy="1600438"/>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 average IQ of the adult population is 100. A researcher believed the average IQ of adults is lower. </a:t>
            </a:r>
          </a:p>
          <a:p>
            <a:pPr>
              <a:spcBef>
                <a:spcPts val="0"/>
              </a:spcBef>
              <a:spcAft>
                <a:spcPts val="0"/>
              </a:spcAft>
              <a:buClr>
                <a:schemeClr val="bg1"/>
              </a:buClr>
            </a:pPr>
            <a:r>
              <a:rPr lang="en-US" sz="1400" dirty="0">
                <a:solidFill>
                  <a:schemeClr val="bg2"/>
                </a:solidFill>
                <a:latin typeface="+mn-lt"/>
              </a:rPr>
              <a:t>A random sample of 5 adults are tested and scored</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	69, 79, 89, 99, 109 ( SD = 15.81)</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Is there enough evidence to suggest the average IQ is lower ? </a:t>
            </a:r>
          </a:p>
        </p:txBody>
      </p:sp>
      <p:pic>
        <p:nvPicPr>
          <p:cNvPr id="4" name="Picture 3" descr="A picture containing text, headdress, helmet, light&#10;&#10;Description automatically generated">
            <a:extLst>
              <a:ext uri="{FF2B5EF4-FFF2-40B4-BE49-F238E27FC236}">
                <a16:creationId xmlns:a16="http://schemas.microsoft.com/office/drawing/2014/main" id="{0FE9DE60-9846-437B-BE1B-E1799CF19624}"/>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63475" y="760837"/>
            <a:ext cx="2980525" cy="2211400"/>
          </a:xfrm>
          <a:prstGeom prst="rect">
            <a:avLst/>
          </a:prstGeom>
        </p:spPr>
      </p:pic>
    </p:spTree>
    <p:extLst>
      <p:ext uri="{BB962C8B-B14F-4D97-AF65-F5344CB8AC3E}">
        <p14:creationId xmlns:p14="http://schemas.microsoft.com/office/powerpoint/2010/main" val="3212989620"/>
      </p:ext>
    </p:extLst>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CE8DB-7C7A-4DDC-A4AF-37EFDD4F3167}"/>
              </a:ext>
            </a:extLst>
          </p:cNvPr>
          <p:cNvSpPr>
            <a:spLocks noGrp="1"/>
          </p:cNvSpPr>
          <p:nvPr>
            <p:ph type="title"/>
          </p:nvPr>
        </p:nvSpPr>
        <p:spPr>
          <a:xfrm>
            <a:off x="1877" y="2286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pic>
        <p:nvPicPr>
          <p:cNvPr id="8" name="Picture 7">
            <a:extLst>
              <a:ext uri="{FF2B5EF4-FFF2-40B4-BE49-F238E27FC236}">
                <a16:creationId xmlns:a16="http://schemas.microsoft.com/office/drawing/2014/main" id="{7A762CF4-1B9D-4987-8C10-992B4959F552}"/>
              </a:ext>
            </a:extLst>
          </p:cNvPr>
          <p:cNvPicPr>
            <a:picLocks noChangeAspect="1"/>
          </p:cNvPicPr>
          <p:nvPr/>
        </p:nvPicPr>
        <p:blipFill>
          <a:blip r:embed="rId2"/>
          <a:stretch>
            <a:fillRect/>
          </a:stretch>
        </p:blipFill>
        <p:spPr>
          <a:xfrm>
            <a:off x="5747495" y="1347331"/>
            <a:ext cx="3396505" cy="2153694"/>
          </a:xfrm>
          <a:prstGeom prst="rect">
            <a:avLst/>
          </a:prstGeom>
        </p:spPr>
      </p:pic>
      <p:sp>
        <p:nvSpPr>
          <p:cNvPr id="10" name="Content Placeholder 9">
            <a:extLst>
              <a:ext uri="{FF2B5EF4-FFF2-40B4-BE49-F238E27FC236}">
                <a16:creationId xmlns:a16="http://schemas.microsoft.com/office/drawing/2014/main" id="{78499D2F-5C34-4281-8B7C-D04161065915}"/>
              </a:ext>
            </a:extLst>
          </p:cNvPr>
          <p:cNvSpPr>
            <a:spLocks noGrp="1"/>
          </p:cNvSpPr>
          <p:nvPr>
            <p:ph sz="half" idx="13"/>
          </p:nvPr>
        </p:nvSpPr>
        <p:spPr>
          <a:xfrm>
            <a:off x="-1" y="971550"/>
            <a:ext cx="5599135" cy="3200400"/>
          </a:xfrm>
        </p:spPr>
        <p:txBody>
          <a:bodyPr/>
          <a:lstStyle/>
          <a:p>
            <a:pPr marL="0" indent="0">
              <a:buNone/>
            </a:pPr>
            <a:r>
              <a:rPr lang="en-US" sz="1200" b="1" i="1" dirty="0">
                <a:solidFill>
                  <a:schemeClr val="bg2">
                    <a:lumMod val="50000"/>
                    <a:lumOff val="50000"/>
                  </a:schemeClr>
                </a:solidFill>
              </a:rPr>
              <a:t>Many students listen to music while studying. Does listening to music improve learning? Students in a statistics class decide to investigate this question. </a:t>
            </a:r>
          </a:p>
          <a:p>
            <a:pPr marL="0" indent="0">
              <a:buNone/>
            </a:pPr>
            <a:r>
              <a:rPr lang="en-US" sz="1200" b="1" i="1" dirty="0">
                <a:solidFill>
                  <a:schemeClr val="accent1"/>
                </a:solidFill>
              </a:rPr>
              <a:t>Study 1 : </a:t>
            </a:r>
          </a:p>
          <a:p>
            <a:pPr marL="0" indent="0">
              <a:buNone/>
            </a:pPr>
            <a:r>
              <a:rPr lang="en-US" sz="1200" i="1" dirty="0">
                <a:solidFill>
                  <a:schemeClr val="bg2">
                    <a:lumMod val="50000"/>
                    <a:lumOff val="50000"/>
                  </a:schemeClr>
                </a:solidFill>
              </a:rPr>
              <a:t>Do the majority of college students listen to music while they study? Do the majority of college students believe that listening to music improves their learning?</a:t>
            </a:r>
          </a:p>
          <a:p>
            <a:pPr marL="0" indent="0">
              <a:buNone/>
            </a:pPr>
            <a:r>
              <a:rPr lang="en-US" sz="1200" i="1" dirty="0">
                <a:solidFill>
                  <a:schemeClr val="accent1"/>
                </a:solidFill>
              </a:rPr>
              <a:t>Survey Questions : Sent to all the students</a:t>
            </a:r>
          </a:p>
          <a:p>
            <a:pPr marL="0" indent="0">
              <a:buNone/>
            </a:pPr>
            <a:r>
              <a:rPr lang="en-US" sz="1200" i="1" dirty="0">
                <a:solidFill>
                  <a:schemeClr val="bg2">
                    <a:lumMod val="50000"/>
                    <a:lumOff val="50000"/>
                  </a:schemeClr>
                </a:solidFill>
              </a:rPr>
              <a:t>Do you listen to music while you study?</a:t>
            </a:r>
          </a:p>
          <a:p>
            <a:pPr marL="0" indent="0">
              <a:buNone/>
            </a:pPr>
            <a:r>
              <a:rPr lang="en-US" sz="1200" i="1" dirty="0">
                <a:solidFill>
                  <a:schemeClr val="bg2">
                    <a:lumMod val="50000"/>
                    <a:lumOff val="50000"/>
                  </a:schemeClr>
                </a:solidFill>
              </a:rPr>
              <a:t>Do you think listening to music improves your concentration and memory?</a:t>
            </a:r>
          </a:p>
          <a:p>
            <a:pPr marL="0" indent="0">
              <a:buNone/>
            </a:pPr>
            <a:endParaRPr lang="en-US" sz="1200" b="1" i="1" dirty="0">
              <a:solidFill>
                <a:schemeClr val="bg2">
                  <a:lumMod val="50000"/>
                  <a:lumOff val="50000"/>
                </a:schemeClr>
              </a:solidFill>
            </a:endParaRPr>
          </a:p>
        </p:txBody>
      </p:sp>
    </p:spTree>
    <p:extLst>
      <p:ext uri="{BB962C8B-B14F-4D97-AF65-F5344CB8AC3E}">
        <p14:creationId xmlns:p14="http://schemas.microsoft.com/office/powerpoint/2010/main" val="647538906"/>
      </p:ext>
    </p:extLst>
  </p:cSld>
  <p:clrMapOvr>
    <a:masterClrMapping/>
  </p:clrMapOvr>
  <p:transition spd="med">
    <p:wipe dir="r"/>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7EF85-FD9A-4F72-8DEE-F2D1F4FB3CC1}"/>
              </a:ext>
            </a:extLst>
          </p:cNvPr>
          <p:cNvSpPr>
            <a:spLocks noGrp="1"/>
          </p:cNvSpPr>
          <p:nvPr>
            <p:ph type="title"/>
          </p:nvPr>
        </p:nvSpPr>
        <p:spPr>
          <a:xfrm>
            <a:off x="0" y="0"/>
            <a:ext cx="8229600" cy="637794"/>
          </a:xfrm>
        </p:spPr>
        <p:txBody>
          <a:bodyPr/>
          <a:lstStyle/>
          <a:p>
            <a:r>
              <a:rPr lang="en-US" dirty="0"/>
              <a:t>Hypothesis testing : Example 2</a:t>
            </a:r>
          </a:p>
        </p:txBody>
      </p:sp>
      <p:pic>
        <p:nvPicPr>
          <p:cNvPr id="8" name="Picture 7">
            <a:extLst>
              <a:ext uri="{FF2B5EF4-FFF2-40B4-BE49-F238E27FC236}">
                <a16:creationId xmlns:a16="http://schemas.microsoft.com/office/drawing/2014/main" id="{DA0B9D73-0CD1-4200-B284-0042E6EEECB9}"/>
              </a:ext>
            </a:extLst>
          </p:cNvPr>
          <p:cNvPicPr>
            <a:picLocks noChangeAspect="1"/>
          </p:cNvPicPr>
          <p:nvPr/>
        </p:nvPicPr>
        <p:blipFill>
          <a:blip r:embed="rId2"/>
          <a:stretch>
            <a:fillRect/>
          </a:stretch>
        </p:blipFill>
        <p:spPr>
          <a:xfrm>
            <a:off x="5076841" y="730481"/>
            <a:ext cx="3052763" cy="1966913"/>
          </a:xfrm>
          <a:prstGeom prst="rect">
            <a:avLst/>
          </a:prstGeom>
        </p:spPr>
      </p:pic>
      <p:sp>
        <p:nvSpPr>
          <p:cNvPr id="9" name="TextBox 8">
            <a:extLst>
              <a:ext uri="{FF2B5EF4-FFF2-40B4-BE49-F238E27FC236}">
                <a16:creationId xmlns:a16="http://schemas.microsoft.com/office/drawing/2014/main" id="{471FCF04-6C37-4F68-8652-C67A3284EC07}"/>
              </a:ext>
            </a:extLst>
          </p:cNvPr>
          <p:cNvSpPr txBox="1"/>
          <p:nvPr/>
        </p:nvSpPr>
        <p:spPr>
          <a:xfrm>
            <a:off x="146583" y="746650"/>
            <a:ext cx="3755323" cy="738664"/>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ü"/>
            </a:pPr>
            <a:r>
              <a:rPr lang="en-US" sz="1400" b="1" dirty="0">
                <a:solidFill>
                  <a:schemeClr val="bg2"/>
                </a:solidFill>
                <a:latin typeface="+mn-lt"/>
              </a:rPr>
              <a:t>Recall : 5 steps for Hypothesis testing</a:t>
            </a:r>
          </a:p>
          <a:p>
            <a:pPr>
              <a:spcBef>
                <a:spcPts val="0"/>
              </a:spcBef>
              <a:spcAft>
                <a:spcPts val="0"/>
              </a:spcAft>
              <a:buClr>
                <a:schemeClr val="bg1"/>
              </a:buClr>
            </a:pPr>
            <a:endParaRPr lang="en-US" sz="1400" b="1"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ü"/>
            </a:pPr>
            <a:r>
              <a:rPr lang="en-US" sz="1400" b="1" dirty="0">
                <a:solidFill>
                  <a:schemeClr val="bg2"/>
                </a:solidFill>
                <a:latin typeface="+mn-lt"/>
              </a:rPr>
              <a:t>Understand the data given</a:t>
            </a:r>
          </a:p>
        </p:txBody>
      </p:sp>
      <p:sp>
        <p:nvSpPr>
          <p:cNvPr id="10" name="TextBox 9">
            <a:extLst>
              <a:ext uri="{FF2B5EF4-FFF2-40B4-BE49-F238E27FC236}">
                <a16:creationId xmlns:a16="http://schemas.microsoft.com/office/drawing/2014/main" id="{B2FE3ED2-4E0F-4E48-A6FC-903ED6FEB0ED}"/>
              </a:ext>
            </a:extLst>
          </p:cNvPr>
          <p:cNvSpPr txBox="1"/>
          <p:nvPr/>
        </p:nvSpPr>
        <p:spPr>
          <a:xfrm>
            <a:off x="146583" y="1640336"/>
            <a:ext cx="4425417"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 : </a:t>
            </a:r>
            <a:r>
              <a:rPr lang="el-GR" sz="1400" dirty="0">
                <a:solidFill>
                  <a:schemeClr val="bg2"/>
                </a:solidFill>
                <a:latin typeface="+mn-lt"/>
              </a:rPr>
              <a:t>μ</a:t>
            </a:r>
            <a:r>
              <a:rPr lang="en-US" sz="1400" dirty="0">
                <a:solidFill>
                  <a:schemeClr val="bg2"/>
                </a:solidFill>
                <a:latin typeface="+mn-lt"/>
              </a:rPr>
              <a:t> = 100</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H1 : </a:t>
            </a:r>
            <a:r>
              <a:rPr lang="el-GR" sz="1400" dirty="0">
                <a:solidFill>
                  <a:schemeClr val="bg2"/>
                </a:solidFill>
                <a:latin typeface="+mn-lt"/>
              </a:rPr>
              <a:t>μ</a:t>
            </a:r>
            <a:r>
              <a:rPr lang="en-US" sz="1400" dirty="0">
                <a:solidFill>
                  <a:schemeClr val="bg2"/>
                </a:solidFill>
                <a:latin typeface="+mn-lt"/>
              </a:rPr>
              <a:t> &lt; 100</a:t>
            </a:r>
          </a:p>
        </p:txBody>
      </p:sp>
      <p:sp>
        <p:nvSpPr>
          <p:cNvPr id="11" name="TextBox 10">
            <a:extLst>
              <a:ext uri="{FF2B5EF4-FFF2-40B4-BE49-F238E27FC236}">
                <a16:creationId xmlns:a16="http://schemas.microsoft.com/office/drawing/2014/main" id="{DE42A7AF-8088-44F4-9CF4-F7846B8D897C}"/>
              </a:ext>
            </a:extLst>
          </p:cNvPr>
          <p:cNvSpPr txBox="1"/>
          <p:nvPr/>
        </p:nvSpPr>
        <p:spPr>
          <a:xfrm>
            <a:off x="146583" y="3092208"/>
            <a:ext cx="420205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3 : Find Critical Values</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Here we need to find z- Value or T- value ? </a:t>
            </a:r>
          </a:p>
        </p:txBody>
      </p:sp>
      <p:sp>
        <p:nvSpPr>
          <p:cNvPr id="12" name="TextBox 11">
            <a:extLst>
              <a:ext uri="{FF2B5EF4-FFF2-40B4-BE49-F238E27FC236}">
                <a16:creationId xmlns:a16="http://schemas.microsoft.com/office/drawing/2014/main" id="{1543CC61-7109-4969-93C6-B3D98DBF4FB6}"/>
              </a:ext>
            </a:extLst>
          </p:cNvPr>
          <p:cNvSpPr txBox="1"/>
          <p:nvPr/>
        </p:nvSpPr>
        <p:spPr>
          <a:xfrm>
            <a:off x="5646943" y="3159605"/>
            <a:ext cx="2994486"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hen to use T – Values</a:t>
            </a:r>
          </a:p>
          <a:p>
            <a:pPr>
              <a:spcBef>
                <a:spcPts val="0"/>
              </a:spcBef>
              <a:spcAft>
                <a:spcPts val="0"/>
              </a:spcAft>
              <a:buClr>
                <a:schemeClr val="bg1"/>
              </a:buClr>
            </a:pPr>
            <a:endParaRPr lang="en-US" sz="1400" dirty="0">
              <a:solidFill>
                <a:schemeClr val="bg2"/>
              </a:solidFill>
              <a:latin typeface="+mn-lt"/>
            </a:endParaRPr>
          </a:p>
          <a:p>
            <a:pPr marL="342900" indent="-342900">
              <a:spcBef>
                <a:spcPts val="0"/>
              </a:spcBef>
              <a:spcAft>
                <a:spcPts val="0"/>
              </a:spcAft>
              <a:buClr>
                <a:schemeClr val="bg1"/>
              </a:buClr>
              <a:buAutoNum type="arabicPeriod"/>
            </a:pPr>
            <a:r>
              <a:rPr lang="en-US" sz="1400" dirty="0">
                <a:solidFill>
                  <a:schemeClr val="bg2"/>
                </a:solidFill>
                <a:latin typeface="+mn-lt"/>
              </a:rPr>
              <a:t>σ is unknown</a:t>
            </a:r>
          </a:p>
          <a:p>
            <a:pPr marL="342900" indent="-342900">
              <a:spcBef>
                <a:spcPts val="0"/>
              </a:spcBef>
              <a:spcAft>
                <a:spcPts val="0"/>
              </a:spcAft>
              <a:buClr>
                <a:schemeClr val="bg1"/>
              </a:buClr>
              <a:buAutoNum type="arabicPeriod"/>
            </a:pPr>
            <a:r>
              <a:rPr lang="en-US" sz="1400" dirty="0">
                <a:solidFill>
                  <a:schemeClr val="bg2"/>
                </a:solidFill>
                <a:latin typeface="+mn-lt"/>
              </a:rPr>
              <a:t> Sample size is less than 30</a:t>
            </a:r>
          </a:p>
        </p:txBody>
      </p:sp>
      <p:sp>
        <p:nvSpPr>
          <p:cNvPr id="13" name="Arrow: Right 12">
            <a:extLst>
              <a:ext uri="{FF2B5EF4-FFF2-40B4-BE49-F238E27FC236}">
                <a16:creationId xmlns:a16="http://schemas.microsoft.com/office/drawing/2014/main" id="{A5074166-853E-49C4-902C-FF3976FD1445}"/>
              </a:ext>
            </a:extLst>
          </p:cNvPr>
          <p:cNvSpPr/>
          <p:nvPr/>
        </p:nvSpPr>
        <p:spPr>
          <a:xfrm>
            <a:off x="3650621" y="3636659"/>
            <a:ext cx="1849740" cy="117431"/>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5" name="Rectangle 14">
            <a:extLst>
              <a:ext uri="{FF2B5EF4-FFF2-40B4-BE49-F238E27FC236}">
                <a16:creationId xmlns:a16="http://schemas.microsoft.com/office/drawing/2014/main" id="{A4F3D4DE-A41D-4CD1-84E3-9A50BF2537BA}"/>
              </a:ext>
            </a:extLst>
          </p:cNvPr>
          <p:cNvSpPr/>
          <p:nvPr/>
        </p:nvSpPr>
        <p:spPr>
          <a:xfrm>
            <a:off x="5584122" y="3092208"/>
            <a:ext cx="3155029" cy="1263407"/>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FC19AF37-ADC0-49DA-90CD-A2ACC9A21DDA}"/>
                  </a:ext>
                </a:extLst>
              </p14:cNvPr>
              <p14:cNvContentPartPr/>
              <p14:nvPr/>
            </p14:nvContentPartPr>
            <p14:xfrm>
              <a:off x="1104840" y="971640"/>
              <a:ext cx="7344360" cy="3314880"/>
            </p14:xfrm>
          </p:contentPart>
        </mc:Choice>
        <mc:Fallback>
          <p:pic>
            <p:nvPicPr>
              <p:cNvPr id="3" name="Ink 2">
                <a:extLst>
                  <a:ext uri="{FF2B5EF4-FFF2-40B4-BE49-F238E27FC236}">
                    <a16:creationId xmlns:a16="http://schemas.microsoft.com/office/drawing/2014/main" id="{FC19AF37-ADC0-49DA-90CD-A2ACC9A21DDA}"/>
                  </a:ext>
                </a:extLst>
              </p:cNvPr>
              <p:cNvPicPr/>
              <p:nvPr/>
            </p:nvPicPr>
            <p:blipFill>
              <a:blip r:embed="rId4"/>
              <a:stretch>
                <a:fillRect/>
              </a:stretch>
            </p:blipFill>
            <p:spPr>
              <a:xfrm>
                <a:off x="1095480" y="962280"/>
                <a:ext cx="7363080" cy="3333600"/>
              </a:xfrm>
              <a:prstGeom prst="rect">
                <a:avLst/>
              </a:prstGeom>
            </p:spPr>
          </p:pic>
        </mc:Fallback>
      </mc:AlternateContent>
    </p:spTree>
    <p:extLst>
      <p:ext uri="{BB962C8B-B14F-4D97-AF65-F5344CB8AC3E}">
        <p14:creationId xmlns:p14="http://schemas.microsoft.com/office/powerpoint/2010/main" val="1922901165"/>
      </p:ext>
    </p:extLst>
  </p:cSld>
  <p:clrMapOvr>
    <a:masterClrMapping/>
  </p:clrMapOvr>
  <p:transition spd="med">
    <p:wipe dir="r"/>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7B3C03A-617C-4480-B335-5DCB1E5EE0CA}"/>
              </a:ext>
            </a:extLst>
          </p:cNvPr>
          <p:cNvSpPr>
            <a:spLocks noGrp="1"/>
          </p:cNvSpPr>
          <p:nvPr>
            <p:ph type="title"/>
          </p:nvPr>
        </p:nvSpPr>
        <p:spPr>
          <a:xfrm>
            <a:off x="0" y="0"/>
            <a:ext cx="8229600" cy="637794"/>
          </a:xfrm>
        </p:spPr>
        <p:txBody>
          <a:bodyPr/>
          <a:lstStyle/>
          <a:p>
            <a:r>
              <a:rPr lang="en-US" dirty="0"/>
              <a:t>Hypothesis testing : Example 2</a:t>
            </a:r>
          </a:p>
        </p:txBody>
      </p:sp>
      <p:pic>
        <p:nvPicPr>
          <p:cNvPr id="5" name="Picture 4">
            <a:extLst>
              <a:ext uri="{FF2B5EF4-FFF2-40B4-BE49-F238E27FC236}">
                <a16:creationId xmlns:a16="http://schemas.microsoft.com/office/drawing/2014/main" id="{D506B511-4FE7-444B-A7B7-C52D4FA0A166}"/>
              </a:ext>
            </a:extLst>
          </p:cNvPr>
          <p:cNvPicPr>
            <a:picLocks noChangeAspect="1"/>
          </p:cNvPicPr>
          <p:nvPr/>
        </p:nvPicPr>
        <p:blipFill>
          <a:blip r:embed="rId2"/>
          <a:stretch>
            <a:fillRect/>
          </a:stretch>
        </p:blipFill>
        <p:spPr>
          <a:xfrm>
            <a:off x="88160" y="1011394"/>
            <a:ext cx="7902417" cy="2122693"/>
          </a:xfrm>
          <a:prstGeom prst="rect">
            <a:avLst/>
          </a:prstGeom>
        </p:spPr>
      </p:pic>
      <p:sp>
        <p:nvSpPr>
          <p:cNvPr id="6" name="TextBox 5">
            <a:extLst>
              <a:ext uri="{FF2B5EF4-FFF2-40B4-BE49-F238E27FC236}">
                <a16:creationId xmlns:a16="http://schemas.microsoft.com/office/drawing/2014/main" id="{2E3F7B4C-180B-4285-A6DE-E335F8A5B9E7}"/>
              </a:ext>
            </a:extLst>
          </p:cNvPr>
          <p:cNvSpPr txBox="1"/>
          <p:nvPr/>
        </p:nvSpPr>
        <p:spPr>
          <a:xfrm>
            <a:off x="5919169" y="3636660"/>
            <a:ext cx="3043347"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Df = Degrees pf Freedom</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 (</a:t>
            </a:r>
            <a:r>
              <a:rPr lang="en-US" sz="1400" dirty="0" err="1">
                <a:solidFill>
                  <a:schemeClr val="bg2"/>
                </a:solidFill>
                <a:latin typeface="+mn-lt"/>
              </a:rPr>
              <a:t>sampleSize</a:t>
            </a:r>
            <a:r>
              <a:rPr lang="en-US" sz="1400" dirty="0">
                <a:solidFill>
                  <a:schemeClr val="bg2"/>
                </a:solidFill>
                <a:latin typeface="+mn-lt"/>
              </a:rPr>
              <a:t> – 1)</a:t>
            </a:r>
          </a:p>
        </p:txBody>
      </p:sp>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EE53914D-57FC-40BE-9DC7-132B04D85269}"/>
                  </a:ext>
                </a:extLst>
              </p14:cNvPr>
              <p14:cNvContentPartPr/>
              <p14:nvPr/>
            </p14:nvContentPartPr>
            <p14:xfrm>
              <a:off x="281160" y="262080"/>
              <a:ext cx="8091720" cy="4815000"/>
            </p14:xfrm>
          </p:contentPart>
        </mc:Choice>
        <mc:Fallback>
          <p:pic>
            <p:nvPicPr>
              <p:cNvPr id="2" name="Ink 1">
                <a:extLst>
                  <a:ext uri="{FF2B5EF4-FFF2-40B4-BE49-F238E27FC236}">
                    <a16:creationId xmlns:a16="http://schemas.microsoft.com/office/drawing/2014/main" id="{EE53914D-57FC-40BE-9DC7-132B04D85269}"/>
                  </a:ext>
                </a:extLst>
              </p:cNvPr>
              <p:cNvPicPr/>
              <p:nvPr/>
            </p:nvPicPr>
            <p:blipFill>
              <a:blip r:embed="rId4"/>
              <a:stretch>
                <a:fillRect/>
              </a:stretch>
            </p:blipFill>
            <p:spPr>
              <a:xfrm>
                <a:off x="271800" y="252720"/>
                <a:ext cx="8110440" cy="4833720"/>
              </a:xfrm>
              <a:prstGeom prst="rect">
                <a:avLst/>
              </a:prstGeom>
            </p:spPr>
          </p:pic>
        </mc:Fallback>
      </mc:AlternateContent>
    </p:spTree>
    <p:extLst>
      <p:ext uri="{BB962C8B-B14F-4D97-AF65-F5344CB8AC3E}">
        <p14:creationId xmlns:p14="http://schemas.microsoft.com/office/powerpoint/2010/main" val="335507101"/>
      </p:ext>
    </p:extLst>
  </p:cSld>
  <p:clrMapOvr>
    <a:masterClrMapping/>
  </p:clrMapOvr>
  <p:transition spd="med">
    <p:wipe dir="r"/>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324430C-A210-494C-A416-B7B7FA3DAF0B}"/>
              </a:ext>
            </a:extLst>
          </p:cNvPr>
          <p:cNvSpPr>
            <a:spLocks noGrp="1"/>
          </p:cNvSpPr>
          <p:nvPr>
            <p:ph type="title"/>
          </p:nvPr>
        </p:nvSpPr>
        <p:spPr>
          <a:xfrm>
            <a:off x="0" y="0"/>
            <a:ext cx="8229600" cy="637794"/>
          </a:xfrm>
        </p:spPr>
        <p:txBody>
          <a:bodyPr/>
          <a:lstStyle/>
          <a:p>
            <a:r>
              <a:rPr lang="en-US" dirty="0"/>
              <a:t>Hypothesis testing : Example 2</a:t>
            </a:r>
          </a:p>
        </p:txBody>
      </p:sp>
      <p:sp>
        <p:nvSpPr>
          <p:cNvPr id="4" name="TextBox 3">
            <a:extLst>
              <a:ext uri="{FF2B5EF4-FFF2-40B4-BE49-F238E27FC236}">
                <a16:creationId xmlns:a16="http://schemas.microsoft.com/office/drawing/2014/main" id="{377799CF-EC54-4728-8658-59AFAA90A951}"/>
              </a:ext>
            </a:extLst>
          </p:cNvPr>
          <p:cNvSpPr txBox="1"/>
          <p:nvPr/>
        </p:nvSpPr>
        <p:spPr>
          <a:xfrm>
            <a:off x="132622" y="1570535"/>
            <a:ext cx="5402638"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 </a:t>
            </a:r>
            <a:r>
              <a:rPr lang="en-US" sz="1400" b="1" dirty="0">
                <a:solidFill>
                  <a:schemeClr val="bg2"/>
                </a:solidFill>
                <a:latin typeface="+mn-lt"/>
              </a:rPr>
              <a:t>C.V </a:t>
            </a:r>
            <a:r>
              <a:rPr lang="en-US" sz="1400" dirty="0">
                <a:solidFill>
                  <a:schemeClr val="bg2"/>
                </a:solidFill>
                <a:latin typeface="+mn-lt"/>
              </a:rPr>
              <a:t>: Critical value on the left is </a:t>
            </a:r>
            <a:r>
              <a:rPr lang="en-US" sz="1400" b="1" dirty="0">
                <a:solidFill>
                  <a:schemeClr val="bg2"/>
                </a:solidFill>
                <a:latin typeface="+mn-lt"/>
              </a:rPr>
              <a:t>–</a:t>
            </a:r>
            <a:r>
              <a:rPr lang="en-US" sz="1400" b="1" dirty="0" err="1">
                <a:solidFill>
                  <a:schemeClr val="bg2"/>
                </a:solidFill>
                <a:latin typeface="+mn-lt"/>
              </a:rPr>
              <a:t>ve</a:t>
            </a:r>
            <a:r>
              <a:rPr lang="en-US" sz="1400" dirty="0">
                <a:solidFill>
                  <a:schemeClr val="bg2"/>
                </a:solidFill>
                <a:latin typeface="+mn-lt"/>
              </a:rPr>
              <a:t> and the C.V on the right is </a:t>
            </a:r>
            <a:r>
              <a:rPr lang="en-US" sz="1400" b="1" dirty="0">
                <a:solidFill>
                  <a:schemeClr val="bg2"/>
                </a:solidFill>
                <a:latin typeface="+mn-lt"/>
              </a:rPr>
              <a:t>+</a:t>
            </a:r>
            <a:r>
              <a:rPr lang="en-US" sz="1400" b="1" dirty="0" err="1">
                <a:solidFill>
                  <a:schemeClr val="bg2"/>
                </a:solidFill>
                <a:latin typeface="+mn-lt"/>
              </a:rPr>
              <a:t>ve</a:t>
            </a:r>
            <a:endParaRPr lang="en-US" sz="1400" b="1" dirty="0">
              <a:solidFill>
                <a:schemeClr val="bg2"/>
              </a:solidFill>
              <a:latin typeface="+mn-lt"/>
            </a:endParaRPr>
          </a:p>
        </p:txBody>
      </p:sp>
      <p:pic>
        <p:nvPicPr>
          <p:cNvPr id="9" name="Picture 8">
            <a:extLst>
              <a:ext uri="{FF2B5EF4-FFF2-40B4-BE49-F238E27FC236}">
                <a16:creationId xmlns:a16="http://schemas.microsoft.com/office/drawing/2014/main" id="{FA89151D-19E3-45BC-9889-B2C7E72AF830}"/>
              </a:ext>
            </a:extLst>
          </p:cNvPr>
          <p:cNvPicPr>
            <a:picLocks noChangeAspect="1"/>
          </p:cNvPicPr>
          <p:nvPr/>
        </p:nvPicPr>
        <p:blipFill>
          <a:blip r:embed="rId2"/>
          <a:stretch>
            <a:fillRect/>
          </a:stretch>
        </p:blipFill>
        <p:spPr>
          <a:xfrm>
            <a:off x="5842387" y="960080"/>
            <a:ext cx="2862263" cy="1995488"/>
          </a:xfrm>
          <a:prstGeom prst="rect">
            <a:avLst/>
          </a:prstGeom>
        </p:spPr>
      </p:pic>
      <p:sp>
        <p:nvSpPr>
          <p:cNvPr id="2" name="TextBox 1">
            <a:extLst>
              <a:ext uri="{FF2B5EF4-FFF2-40B4-BE49-F238E27FC236}">
                <a16:creationId xmlns:a16="http://schemas.microsoft.com/office/drawing/2014/main" id="{90A5681D-288D-4741-9156-6B9DCBD2C0CD}"/>
              </a:ext>
            </a:extLst>
          </p:cNvPr>
          <p:cNvSpPr txBox="1"/>
          <p:nvPr/>
        </p:nvSpPr>
        <p:spPr>
          <a:xfrm>
            <a:off x="132622" y="3231811"/>
            <a:ext cx="517927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4 : Find Test Statistics. </a:t>
            </a:r>
            <a:r>
              <a:rPr lang="en-US" sz="1400" dirty="0" err="1">
                <a:solidFill>
                  <a:schemeClr val="bg2"/>
                </a:solidFill>
                <a:latin typeface="+mn-lt"/>
              </a:rPr>
              <a:t>i.e</a:t>
            </a:r>
            <a:r>
              <a:rPr lang="en-US" sz="1400" dirty="0">
                <a:solidFill>
                  <a:schemeClr val="bg2"/>
                </a:solidFill>
                <a:latin typeface="+mn-lt"/>
              </a:rPr>
              <a:t> The t-Value in this case </a:t>
            </a:r>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B24EB31C-64BD-4DFE-B49D-A6D0B3BDC324}"/>
                  </a:ext>
                </a:extLst>
              </p14:cNvPr>
              <p14:cNvContentPartPr/>
              <p14:nvPr/>
            </p14:nvContentPartPr>
            <p14:xfrm>
              <a:off x="552600" y="3905280"/>
              <a:ext cx="6972480" cy="700560"/>
            </p14:xfrm>
          </p:contentPart>
        </mc:Choice>
        <mc:Fallback xmlns="">
          <p:pic>
            <p:nvPicPr>
              <p:cNvPr id="5" name="Ink 4">
                <a:extLst>
                  <a:ext uri="{FF2B5EF4-FFF2-40B4-BE49-F238E27FC236}">
                    <a16:creationId xmlns:a16="http://schemas.microsoft.com/office/drawing/2014/main" id="{B24EB31C-64BD-4DFE-B49D-A6D0B3BDC324}"/>
                  </a:ext>
                </a:extLst>
              </p:cNvPr>
              <p:cNvPicPr/>
              <p:nvPr/>
            </p:nvPicPr>
            <p:blipFill>
              <a:blip r:embed="rId4"/>
              <a:stretch>
                <a:fillRect/>
              </a:stretch>
            </p:blipFill>
            <p:spPr>
              <a:xfrm>
                <a:off x="543240" y="3895920"/>
                <a:ext cx="6991200" cy="719280"/>
              </a:xfrm>
              <a:prstGeom prst="rect">
                <a:avLst/>
              </a:prstGeom>
            </p:spPr>
          </p:pic>
        </mc:Fallback>
      </mc:AlternateContent>
      <p:sp>
        <p:nvSpPr>
          <p:cNvPr id="6" name="Rectangle 5">
            <a:extLst>
              <a:ext uri="{FF2B5EF4-FFF2-40B4-BE49-F238E27FC236}">
                <a16:creationId xmlns:a16="http://schemas.microsoft.com/office/drawing/2014/main" id="{E12EF416-AF62-454A-B546-AB177A6646C1}"/>
              </a:ext>
            </a:extLst>
          </p:cNvPr>
          <p:cNvSpPr/>
          <p:nvPr/>
        </p:nvSpPr>
        <p:spPr>
          <a:xfrm>
            <a:off x="369948" y="3727402"/>
            <a:ext cx="1717118" cy="95024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8" name="Rectangle 7">
            <a:extLst>
              <a:ext uri="{FF2B5EF4-FFF2-40B4-BE49-F238E27FC236}">
                <a16:creationId xmlns:a16="http://schemas.microsoft.com/office/drawing/2014/main" id="{DB17D7F7-564F-45CE-94A6-1FA38E66959E}"/>
              </a:ext>
            </a:extLst>
          </p:cNvPr>
          <p:cNvSpPr/>
          <p:nvPr/>
        </p:nvSpPr>
        <p:spPr>
          <a:xfrm>
            <a:off x="2854882" y="3727402"/>
            <a:ext cx="4852850" cy="95024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7" name="TextBox 6">
            <a:extLst>
              <a:ext uri="{FF2B5EF4-FFF2-40B4-BE49-F238E27FC236}">
                <a16:creationId xmlns:a16="http://schemas.microsoft.com/office/drawing/2014/main" id="{3339B887-3F49-4C39-9589-08CE209FE221}"/>
              </a:ext>
            </a:extLst>
          </p:cNvPr>
          <p:cNvSpPr txBox="1"/>
          <p:nvPr/>
        </p:nvSpPr>
        <p:spPr>
          <a:xfrm>
            <a:off x="6477583" y="4365196"/>
            <a:ext cx="123015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est Statistic</a:t>
            </a:r>
          </a:p>
        </p:txBody>
      </p:sp>
      <mc:AlternateContent xmlns:mc="http://schemas.openxmlformats.org/markup-compatibility/2006">
        <mc:Choice xmlns:p14="http://schemas.microsoft.com/office/powerpoint/2010/main" Requires="p14">
          <p:contentPart p14:bwMode="auto" r:id="rId5">
            <p14:nvContentPartPr>
              <p14:cNvPr id="10" name="Ink 9">
                <a:extLst>
                  <a:ext uri="{FF2B5EF4-FFF2-40B4-BE49-F238E27FC236}">
                    <a16:creationId xmlns:a16="http://schemas.microsoft.com/office/drawing/2014/main" id="{3A52DC36-C61A-4AE5-AD67-CA74BF16537B}"/>
                  </a:ext>
                </a:extLst>
              </p14:cNvPr>
              <p14:cNvContentPartPr/>
              <p14:nvPr/>
            </p14:nvContentPartPr>
            <p14:xfrm>
              <a:off x="2157480" y="223920"/>
              <a:ext cx="6515280" cy="4372200"/>
            </p14:xfrm>
          </p:contentPart>
        </mc:Choice>
        <mc:Fallback>
          <p:pic>
            <p:nvPicPr>
              <p:cNvPr id="10" name="Ink 9">
                <a:extLst>
                  <a:ext uri="{FF2B5EF4-FFF2-40B4-BE49-F238E27FC236}">
                    <a16:creationId xmlns:a16="http://schemas.microsoft.com/office/drawing/2014/main" id="{3A52DC36-C61A-4AE5-AD67-CA74BF16537B}"/>
                  </a:ext>
                </a:extLst>
              </p:cNvPr>
              <p:cNvPicPr/>
              <p:nvPr/>
            </p:nvPicPr>
            <p:blipFill>
              <a:blip r:embed="rId6"/>
              <a:stretch>
                <a:fillRect/>
              </a:stretch>
            </p:blipFill>
            <p:spPr>
              <a:xfrm>
                <a:off x="2148120" y="214560"/>
                <a:ext cx="6534000" cy="4390920"/>
              </a:xfrm>
              <a:prstGeom prst="rect">
                <a:avLst/>
              </a:prstGeom>
            </p:spPr>
          </p:pic>
        </mc:Fallback>
      </mc:AlternateContent>
    </p:spTree>
    <p:extLst>
      <p:ext uri="{BB962C8B-B14F-4D97-AF65-F5344CB8AC3E}">
        <p14:creationId xmlns:p14="http://schemas.microsoft.com/office/powerpoint/2010/main" val="518888301"/>
      </p:ext>
    </p:extLst>
  </p:cSld>
  <p:clrMapOvr>
    <a:masterClrMapping/>
  </p:clrMapOvr>
  <p:transition spd="med">
    <p:wipe dir="r"/>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C81C2-13DD-4BE6-81D4-172DE08AE26D}"/>
              </a:ext>
            </a:extLst>
          </p:cNvPr>
          <p:cNvSpPr>
            <a:spLocks noGrp="1"/>
          </p:cNvSpPr>
          <p:nvPr>
            <p:ph type="title"/>
          </p:nvPr>
        </p:nvSpPr>
        <p:spPr>
          <a:xfrm>
            <a:off x="0" y="0"/>
            <a:ext cx="8229600" cy="637794"/>
          </a:xfrm>
        </p:spPr>
        <p:txBody>
          <a:bodyPr/>
          <a:lstStyle/>
          <a:p>
            <a:r>
              <a:rPr lang="en-US" dirty="0"/>
              <a:t>Hypothesis testing : Example 2</a:t>
            </a:r>
          </a:p>
        </p:txBody>
      </p:sp>
      <p:sp>
        <p:nvSpPr>
          <p:cNvPr id="3" name="TextBox 2">
            <a:extLst>
              <a:ext uri="{FF2B5EF4-FFF2-40B4-BE49-F238E27FC236}">
                <a16:creationId xmlns:a16="http://schemas.microsoft.com/office/drawing/2014/main" id="{A2CB5F16-3623-4C55-8E27-6A7E3CDBCC52}"/>
              </a:ext>
            </a:extLst>
          </p:cNvPr>
          <p:cNvSpPr txBox="1"/>
          <p:nvPr/>
        </p:nvSpPr>
        <p:spPr>
          <a:xfrm>
            <a:off x="118663" y="677399"/>
            <a:ext cx="220572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5 : conclusion</a:t>
            </a:r>
          </a:p>
        </p:txBody>
      </p:sp>
      <p:sp>
        <p:nvSpPr>
          <p:cNvPr id="4" name="TextBox 3">
            <a:extLst>
              <a:ext uri="{FF2B5EF4-FFF2-40B4-BE49-F238E27FC236}">
                <a16:creationId xmlns:a16="http://schemas.microsoft.com/office/drawing/2014/main" id="{953ABB66-BBED-44D3-9C51-B906CE08983E}"/>
              </a:ext>
            </a:extLst>
          </p:cNvPr>
          <p:cNvSpPr txBox="1"/>
          <p:nvPr/>
        </p:nvSpPr>
        <p:spPr>
          <a:xfrm>
            <a:off x="118663" y="1221527"/>
            <a:ext cx="299448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ccept Ho : µ = 100</a:t>
            </a:r>
          </a:p>
        </p:txBody>
      </p:sp>
      <p:pic>
        <p:nvPicPr>
          <p:cNvPr id="10" name="Picture 9">
            <a:extLst>
              <a:ext uri="{FF2B5EF4-FFF2-40B4-BE49-F238E27FC236}">
                <a16:creationId xmlns:a16="http://schemas.microsoft.com/office/drawing/2014/main" id="{91B52B53-2F70-4737-B41B-168FA8F31FB8}"/>
              </a:ext>
            </a:extLst>
          </p:cNvPr>
          <p:cNvPicPr>
            <a:picLocks noChangeAspect="1"/>
          </p:cNvPicPr>
          <p:nvPr/>
        </p:nvPicPr>
        <p:blipFill>
          <a:blip r:embed="rId2"/>
          <a:stretch>
            <a:fillRect/>
          </a:stretch>
        </p:blipFill>
        <p:spPr>
          <a:xfrm>
            <a:off x="5126605" y="637794"/>
            <a:ext cx="3710268" cy="2182188"/>
          </a:xfrm>
          <a:prstGeom prst="rect">
            <a:avLst/>
          </a:prstGeom>
        </p:spPr>
      </p:pic>
      <p:sp>
        <p:nvSpPr>
          <p:cNvPr id="11" name="TextBox 10">
            <a:extLst>
              <a:ext uri="{FF2B5EF4-FFF2-40B4-BE49-F238E27FC236}">
                <a16:creationId xmlns:a16="http://schemas.microsoft.com/office/drawing/2014/main" id="{33F15421-5869-42B1-87A2-1D7BB1FF3DA5}"/>
              </a:ext>
            </a:extLst>
          </p:cNvPr>
          <p:cNvSpPr txBox="1"/>
          <p:nvPr/>
        </p:nvSpPr>
        <p:spPr>
          <a:xfrm>
            <a:off x="6582283" y="3608739"/>
            <a:ext cx="191954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Center point of the Normal Distribution is always t = 0 or Z = 0</a:t>
            </a:r>
          </a:p>
        </p:txBody>
      </p:sp>
      <p:cxnSp>
        <p:nvCxnSpPr>
          <p:cNvPr id="13" name="Straight Arrow Connector 12">
            <a:extLst>
              <a:ext uri="{FF2B5EF4-FFF2-40B4-BE49-F238E27FC236}">
                <a16:creationId xmlns:a16="http://schemas.microsoft.com/office/drawing/2014/main" id="{7FCC79B5-0260-4819-A564-358F8F003E51}"/>
              </a:ext>
            </a:extLst>
          </p:cNvPr>
          <p:cNvCxnSpPr>
            <a:cxnSpLocks/>
            <a:endCxn id="11" idx="0"/>
          </p:cNvCxnSpPr>
          <p:nvPr/>
        </p:nvCxnSpPr>
        <p:spPr>
          <a:xfrm>
            <a:off x="7308220" y="2819982"/>
            <a:ext cx="233834" cy="788757"/>
          </a:xfrm>
          <a:prstGeom prst="straightConnector1">
            <a:avLst/>
          </a:prstGeom>
          <a:ln w="12700" cmpd="sng">
            <a:solidFill>
              <a:srgbClr val="FF000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8431ABC-2802-4BDD-BA01-E9A6435E7526}"/>
              </a:ext>
            </a:extLst>
          </p:cNvPr>
          <p:cNvSpPr txBox="1"/>
          <p:nvPr/>
        </p:nvSpPr>
        <p:spPr>
          <a:xfrm>
            <a:off x="118663" y="3608739"/>
            <a:ext cx="5863328"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nce, we say with 95% confidence that there is enough evidence to support the claim : “ Avg IQ = 100” or we lack evidence to support “ Lower IQ’s”</a:t>
            </a:r>
          </a:p>
        </p:txBody>
      </p:sp>
      <mc:AlternateContent xmlns:mc="http://schemas.openxmlformats.org/markup-compatibility/2006">
        <mc:Choice xmlns:p14="http://schemas.microsoft.com/office/powerpoint/2010/main" Requires="p14">
          <p:contentPart p14:bwMode="auto" r:id="rId3">
            <p14:nvContentPartPr>
              <p14:cNvPr id="5" name="Ink 4">
                <a:extLst>
                  <a:ext uri="{FF2B5EF4-FFF2-40B4-BE49-F238E27FC236}">
                    <a16:creationId xmlns:a16="http://schemas.microsoft.com/office/drawing/2014/main" id="{73F809D0-5708-43D5-9A1D-CAE0C7A50242}"/>
                  </a:ext>
                </a:extLst>
              </p14:cNvPr>
              <p14:cNvContentPartPr/>
              <p14:nvPr/>
            </p14:nvContentPartPr>
            <p14:xfrm>
              <a:off x="1257120" y="66600"/>
              <a:ext cx="7339680" cy="3372120"/>
            </p14:xfrm>
          </p:contentPart>
        </mc:Choice>
        <mc:Fallback>
          <p:pic>
            <p:nvPicPr>
              <p:cNvPr id="5" name="Ink 4">
                <a:extLst>
                  <a:ext uri="{FF2B5EF4-FFF2-40B4-BE49-F238E27FC236}">
                    <a16:creationId xmlns:a16="http://schemas.microsoft.com/office/drawing/2014/main" id="{73F809D0-5708-43D5-9A1D-CAE0C7A50242}"/>
                  </a:ext>
                </a:extLst>
              </p:cNvPr>
              <p:cNvPicPr/>
              <p:nvPr/>
            </p:nvPicPr>
            <p:blipFill>
              <a:blip r:embed="rId4"/>
              <a:stretch>
                <a:fillRect/>
              </a:stretch>
            </p:blipFill>
            <p:spPr>
              <a:xfrm>
                <a:off x="1247760" y="57240"/>
                <a:ext cx="7358400" cy="3390840"/>
              </a:xfrm>
              <a:prstGeom prst="rect">
                <a:avLst/>
              </a:prstGeom>
            </p:spPr>
          </p:pic>
        </mc:Fallback>
      </mc:AlternateContent>
    </p:spTree>
    <p:extLst>
      <p:ext uri="{BB962C8B-B14F-4D97-AF65-F5344CB8AC3E}">
        <p14:creationId xmlns:p14="http://schemas.microsoft.com/office/powerpoint/2010/main" val="1589460187"/>
      </p:ext>
    </p:extLst>
  </p:cSld>
  <p:clrMapOvr>
    <a:masterClrMapping/>
  </p:clrMapOvr>
  <p:transition spd="med">
    <p:wipe dir="r"/>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AA9AD-4913-4464-8888-F5477826C2F4}"/>
              </a:ext>
            </a:extLst>
          </p:cNvPr>
          <p:cNvSpPr>
            <a:spLocks noGrp="1"/>
          </p:cNvSpPr>
          <p:nvPr>
            <p:ph type="title"/>
          </p:nvPr>
        </p:nvSpPr>
        <p:spPr>
          <a:xfrm>
            <a:off x="0" y="0"/>
            <a:ext cx="8229600" cy="637794"/>
          </a:xfrm>
        </p:spPr>
        <p:txBody>
          <a:bodyPr/>
          <a:lstStyle/>
          <a:p>
            <a:r>
              <a:rPr lang="en-US" dirty="0"/>
              <a:t>Important Takeaways</a:t>
            </a:r>
          </a:p>
        </p:txBody>
      </p:sp>
      <p:sp>
        <p:nvSpPr>
          <p:cNvPr id="3" name="TextBox 2">
            <a:extLst>
              <a:ext uri="{FF2B5EF4-FFF2-40B4-BE49-F238E27FC236}">
                <a16:creationId xmlns:a16="http://schemas.microsoft.com/office/drawing/2014/main" id="{10726F6B-B4E9-47E5-A352-4DABF4C609FA}"/>
              </a:ext>
            </a:extLst>
          </p:cNvPr>
          <p:cNvSpPr txBox="1"/>
          <p:nvPr/>
        </p:nvSpPr>
        <p:spPr>
          <a:xfrm>
            <a:off x="404849" y="809697"/>
            <a:ext cx="8229600" cy="3607206"/>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w to make hypothesis {Null &amp; Alternative } from a problem statement? </a:t>
            </a:r>
          </a:p>
          <a:p>
            <a:pPr>
              <a:spcBef>
                <a:spcPts val="0"/>
              </a:spcBef>
              <a:spcAft>
                <a:spcPts val="0"/>
              </a:spcAft>
              <a:buClr>
                <a:schemeClr val="bg1"/>
              </a:buClr>
            </a:pPr>
            <a:r>
              <a:rPr lang="en-US" sz="1400" dirty="0">
                <a:solidFill>
                  <a:srgbClr val="FF0000"/>
                </a:solidFill>
                <a:latin typeface="+mn-lt"/>
              </a:rPr>
              <a:t>[Understand here what statistics can and cannot do !!]</a:t>
            </a:r>
          </a:p>
          <a:p>
            <a:pPr>
              <a:spcBef>
                <a:spcPts val="0"/>
              </a:spcBef>
              <a:spcAft>
                <a:spcPts val="0"/>
              </a:spcAft>
              <a:buClr>
                <a:schemeClr val="bg1"/>
              </a:buClr>
            </a:pPr>
            <a:endParaRPr lang="en-US" sz="1400" dirty="0">
              <a:solidFill>
                <a:schemeClr val="bg2"/>
              </a:solidFill>
              <a:latin typeface="+mn-lt"/>
            </a:endParaRPr>
          </a:p>
          <a:p>
            <a:pPr marL="342900" indent="-342900">
              <a:lnSpc>
                <a:spcPct val="150000"/>
              </a:lnSpc>
              <a:spcBef>
                <a:spcPts val="0"/>
              </a:spcBef>
              <a:spcAft>
                <a:spcPts val="0"/>
              </a:spcAft>
              <a:buClr>
                <a:schemeClr val="bg1"/>
              </a:buClr>
              <a:buAutoNum type="arabicPeriod"/>
            </a:pPr>
            <a:r>
              <a:rPr lang="en-US" sz="1400" dirty="0">
                <a:solidFill>
                  <a:schemeClr val="bg2"/>
                </a:solidFill>
                <a:latin typeface="+mn-lt"/>
              </a:rPr>
              <a:t>Statistics cannot prove something true or right </a:t>
            </a:r>
          </a:p>
          <a:p>
            <a:pPr marL="342900" indent="-342900">
              <a:lnSpc>
                <a:spcPct val="150000"/>
              </a:lnSpc>
              <a:spcBef>
                <a:spcPts val="0"/>
              </a:spcBef>
              <a:spcAft>
                <a:spcPts val="0"/>
              </a:spcAft>
              <a:buClr>
                <a:schemeClr val="bg1"/>
              </a:buClr>
              <a:buAutoNum type="arabicPeriod"/>
            </a:pPr>
            <a:r>
              <a:rPr lang="en-US" sz="1400" dirty="0">
                <a:solidFill>
                  <a:schemeClr val="bg2"/>
                </a:solidFill>
                <a:latin typeface="+mn-lt"/>
              </a:rPr>
              <a:t>It can only prove an assumption or hypothesis as false</a:t>
            </a:r>
          </a:p>
          <a:p>
            <a:pPr marL="800100" lvl="1" indent="-342900">
              <a:lnSpc>
                <a:spcPct val="150000"/>
              </a:lnSpc>
              <a:spcBef>
                <a:spcPts val="0"/>
              </a:spcBef>
              <a:spcAft>
                <a:spcPts val="0"/>
              </a:spcAft>
              <a:buClr>
                <a:schemeClr val="bg1"/>
              </a:buClr>
              <a:buFont typeface="Arial" panose="020B0604020202020204" pitchFamily="34" charset="0"/>
              <a:buChar char="•"/>
            </a:pPr>
            <a:r>
              <a:rPr lang="en-US" sz="1400" dirty="0">
                <a:solidFill>
                  <a:schemeClr val="bg2"/>
                </a:solidFill>
                <a:latin typeface="+mn-lt"/>
              </a:rPr>
              <a:t>Ex: in court you are either Not guilty or guilty; its never innocent</a:t>
            </a:r>
          </a:p>
          <a:p>
            <a:pPr marL="342900" indent="-342900">
              <a:lnSpc>
                <a:spcPct val="150000"/>
              </a:lnSpc>
              <a:spcBef>
                <a:spcPts val="0"/>
              </a:spcBef>
              <a:spcAft>
                <a:spcPts val="0"/>
              </a:spcAft>
              <a:buClr>
                <a:schemeClr val="bg1"/>
              </a:buClr>
              <a:buAutoNum type="arabicPeriod"/>
            </a:pPr>
            <a:r>
              <a:rPr lang="en-US" sz="1400" dirty="0">
                <a:solidFill>
                  <a:schemeClr val="bg2"/>
                </a:solidFill>
                <a:latin typeface="+mn-lt"/>
              </a:rPr>
              <a:t>Claims or Hypothesis can be of 2 types</a:t>
            </a:r>
          </a:p>
          <a:p>
            <a:pPr marL="800100" lvl="1" indent="-342900">
              <a:lnSpc>
                <a:spcPct val="150000"/>
              </a:lnSpc>
              <a:spcBef>
                <a:spcPts val="0"/>
              </a:spcBef>
              <a:spcAft>
                <a:spcPts val="0"/>
              </a:spcAft>
              <a:buClr>
                <a:schemeClr val="bg1"/>
              </a:buClr>
              <a:buFont typeface="Arial" panose="020B0604020202020204" pitchFamily="34" charset="0"/>
              <a:buChar char="•"/>
            </a:pPr>
            <a:r>
              <a:rPr lang="en-US" sz="1400" dirty="0">
                <a:solidFill>
                  <a:schemeClr val="bg2"/>
                </a:solidFill>
                <a:latin typeface="+mn-lt"/>
              </a:rPr>
              <a:t>Based on proportion</a:t>
            </a:r>
          </a:p>
          <a:p>
            <a:pPr marL="800100" lvl="1" indent="-342900">
              <a:lnSpc>
                <a:spcPct val="150000"/>
              </a:lnSpc>
              <a:spcBef>
                <a:spcPts val="0"/>
              </a:spcBef>
              <a:spcAft>
                <a:spcPts val="0"/>
              </a:spcAft>
              <a:buClr>
                <a:schemeClr val="bg1"/>
              </a:buClr>
              <a:buFont typeface="Arial" panose="020B0604020202020204" pitchFamily="34" charset="0"/>
              <a:buChar char="•"/>
            </a:pPr>
            <a:r>
              <a:rPr lang="en-US" sz="1400" dirty="0">
                <a:solidFill>
                  <a:schemeClr val="bg2"/>
                </a:solidFill>
                <a:latin typeface="+mn-lt"/>
              </a:rPr>
              <a:t>Based on mean</a:t>
            </a:r>
          </a:p>
          <a:p>
            <a:pPr marL="1257300" lvl="2" indent="-342900">
              <a:lnSpc>
                <a:spcPct val="150000"/>
              </a:lnSpc>
              <a:spcBef>
                <a:spcPts val="0"/>
              </a:spcBef>
              <a:spcAft>
                <a:spcPts val="0"/>
              </a:spcAft>
              <a:buClr>
                <a:schemeClr val="bg1"/>
              </a:buClr>
              <a:buFont typeface="Wingdings" panose="05000000000000000000" pitchFamily="2" charset="2"/>
              <a:buChar char="q"/>
            </a:pPr>
            <a:r>
              <a:rPr lang="en-US" sz="1400" dirty="0">
                <a:solidFill>
                  <a:schemeClr val="bg2"/>
                </a:solidFill>
                <a:latin typeface="+mn-lt"/>
              </a:rPr>
              <a:t>Ex Most people get jobs thru Networking</a:t>
            </a:r>
          </a:p>
          <a:p>
            <a:pPr marL="1257300" lvl="2" indent="-342900">
              <a:lnSpc>
                <a:spcPct val="150000"/>
              </a:lnSpc>
              <a:spcBef>
                <a:spcPts val="0"/>
              </a:spcBef>
              <a:spcAft>
                <a:spcPts val="0"/>
              </a:spcAft>
              <a:buClr>
                <a:schemeClr val="bg1"/>
              </a:buClr>
              <a:buFont typeface="Wingdings" panose="05000000000000000000" pitchFamily="2" charset="2"/>
              <a:buChar char="q"/>
            </a:pPr>
            <a:r>
              <a:rPr lang="en-US" sz="1400" dirty="0">
                <a:solidFill>
                  <a:schemeClr val="bg2"/>
                </a:solidFill>
                <a:latin typeface="+mn-lt"/>
              </a:rPr>
              <a:t>The average payload of truck on NH is 1.2 tons</a:t>
            </a:r>
          </a:p>
          <a:p>
            <a:pPr>
              <a:lnSpc>
                <a:spcPct val="150000"/>
              </a:lnSpc>
              <a:spcBef>
                <a:spcPts val="0"/>
              </a:spcBef>
              <a:spcAft>
                <a:spcPts val="0"/>
              </a:spcAft>
              <a:buClr>
                <a:schemeClr val="bg1"/>
              </a:buClr>
            </a:pPr>
            <a:r>
              <a:rPr lang="en-US" sz="1400" dirty="0">
                <a:solidFill>
                  <a:schemeClr val="bg2"/>
                </a:solidFill>
                <a:latin typeface="+mn-lt"/>
              </a:rPr>
              <a:t>	</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E40C5BE2-3D4C-4841-83DE-8AD18B5B9AFD}"/>
                  </a:ext>
                </a:extLst>
              </p14:cNvPr>
              <p14:cNvContentPartPr/>
              <p14:nvPr/>
            </p14:nvContentPartPr>
            <p14:xfrm>
              <a:off x="2071800" y="1790640"/>
              <a:ext cx="6339240" cy="2629440"/>
            </p14:xfrm>
          </p:contentPart>
        </mc:Choice>
        <mc:Fallback>
          <p:pic>
            <p:nvPicPr>
              <p:cNvPr id="4" name="Ink 3">
                <a:extLst>
                  <a:ext uri="{FF2B5EF4-FFF2-40B4-BE49-F238E27FC236}">
                    <a16:creationId xmlns:a16="http://schemas.microsoft.com/office/drawing/2014/main" id="{E40C5BE2-3D4C-4841-83DE-8AD18B5B9AFD}"/>
                  </a:ext>
                </a:extLst>
              </p:cNvPr>
              <p:cNvPicPr/>
              <p:nvPr/>
            </p:nvPicPr>
            <p:blipFill>
              <a:blip r:embed="rId3"/>
              <a:stretch>
                <a:fillRect/>
              </a:stretch>
            </p:blipFill>
            <p:spPr>
              <a:xfrm>
                <a:off x="2062440" y="1781280"/>
                <a:ext cx="6357960" cy="2648160"/>
              </a:xfrm>
              <a:prstGeom prst="rect">
                <a:avLst/>
              </a:prstGeom>
            </p:spPr>
          </p:pic>
        </mc:Fallback>
      </mc:AlternateContent>
    </p:spTree>
    <p:extLst>
      <p:ext uri="{BB962C8B-B14F-4D97-AF65-F5344CB8AC3E}">
        <p14:creationId xmlns:p14="http://schemas.microsoft.com/office/powerpoint/2010/main" val="1120069403"/>
      </p:ext>
    </p:extLst>
  </p:cSld>
  <p:clrMapOvr>
    <a:masterClrMapping/>
  </p:clrMapOvr>
  <p:transition spd="med">
    <p:wipe dir="r"/>
  </p:transition>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9F20015-95DA-410F-9FCF-32563551FD03}"/>
              </a:ext>
            </a:extLst>
          </p:cNvPr>
          <p:cNvSpPr>
            <a:spLocks noGrp="1"/>
          </p:cNvSpPr>
          <p:nvPr>
            <p:ph type="title"/>
          </p:nvPr>
        </p:nvSpPr>
        <p:spPr>
          <a:xfrm>
            <a:off x="0" y="0"/>
            <a:ext cx="8229600" cy="637794"/>
          </a:xfrm>
        </p:spPr>
        <p:txBody>
          <a:bodyPr/>
          <a:lstStyle/>
          <a:p>
            <a:r>
              <a:rPr lang="en-US" dirty="0"/>
              <a:t>Important Takeaways</a:t>
            </a:r>
          </a:p>
        </p:txBody>
      </p:sp>
      <p:sp>
        <p:nvSpPr>
          <p:cNvPr id="5" name="TextBox 4">
            <a:extLst>
              <a:ext uri="{FF2B5EF4-FFF2-40B4-BE49-F238E27FC236}">
                <a16:creationId xmlns:a16="http://schemas.microsoft.com/office/drawing/2014/main" id="{ADA74662-AAB4-4707-8300-19F825E4A8C0}"/>
              </a:ext>
            </a:extLst>
          </p:cNvPr>
          <p:cNvSpPr txBox="1"/>
          <p:nvPr/>
        </p:nvSpPr>
        <p:spPr>
          <a:xfrm>
            <a:off x="244305" y="781776"/>
            <a:ext cx="6470601" cy="203132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4. Ho, null hypothesis should always have =, &gt;= , &lt;= or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5. Understand how to define hypothesis or claim thru below examples </a:t>
            </a:r>
          </a:p>
          <a:p>
            <a:pPr>
              <a:spcBef>
                <a:spcPts val="0"/>
              </a:spcBef>
              <a:spcAft>
                <a:spcPts val="0"/>
              </a:spcAft>
              <a:buClr>
                <a:schemeClr val="bg1"/>
              </a:buClr>
            </a:pPr>
            <a:r>
              <a:rPr lang="en-US" sz="1400" dirty="0">
                <a:solidFill>
                  <a:schemeClr val="bg2"/>
                </a:solidFill>
                <a:latin typeface="+mn-lt"/>
              </a:rPr>
              <a:t>	</a:t>
            </a:r>
          </a:p>
          <a:p>
            <a:pPr>
              <a:spcBef>
                <a:spcPts val="0"/>
              </a:spcBef>
              <a:spcAft>
                <a:spcPts val="0"/>
              </a:spcAft>
              <a:buClr>
                <a:schemeClr val="bg1"/>
              </a:buClr>
            </a:pPr>
            <a:r>
              <a:rPr lang="en-US" sz="1400" b="1" dirty="0">
                <a:solidFill>
                  <a:schemeClr val="bg2"/>
                </a:solidFill>
                <a:latin typeface="+mn-lt"/>
              </a:rPr>
              <a:t>Remember to start by assuming that your Ho is True</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dirty="0">
                <a:solidFill>
                  <a:schemeClr val="bg2"/>
                </a:solidFill>
                <a:latin typeface="+mn-lt"/>
              </a:rPr>
              <a:t>   Ex 1: The mean of the fluid is at least 100ml in a can</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p:txBody>
      </p:sp>
      <p:sp>
        <p:nvSpPr>
          <p:cNvPr id="6" name="TextBox 5">
            <a:extLst>
              <a:ext uri="{FF2B5EF4-FFF2-40B4-BE49-F238E27FC236}">
                <a16:creationId xmlns:a16="http://schemas.microsoft.com/office/drawing/2014/main" id="{855306D1-2D5F-4248-B9F1-0BBD8E3E9D18}"/>
              </a:ext>
            </a:extLst>
          </p:cNvPr>
          <p:cNvSpPr txBox="1"/>
          <p:nvPr/>
        </p:nvSpPr>
        <p:spPr>
          <a:xfrm>
            <a:off x="2331370" y="3496115"/>
            <a:ext cx="5283976"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Claim : </a:t>
            </a:r>
            <a:r>
              <a:rPr lang="el-GR" sz="1400" dirty="0">
                <a:solidFill>
                  <a:schemeClr val="bg2"/>
                </a:solidFill>
                <a:latin typeface="+mn-lt"/>
              </a:rPr>
              <a:t>μ</a:t>
            </a:r>
            <a:r>
              <a:rPr lang="en-US" sz="1400" dirty="0">
                <a:solidFill>
                  <a:schemeClr val="bg2"/>
                </a:solidFill>
                <a:latin typeface="+mn-lt"/>
              </a:rPr>
              <a:t>  &gt;= 100</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Opposite : µ &lt;100 </a:t>
            </a:r>
          </a:p>
        </p:txBody>
      </p:sp>
      <p:sp>
        <p:nvSpPr>
          <p:cNvPr id="7" name="TextBox 6">
            <a:extLst>
              <a:ext uri="{FF2B5EF4-FFF2-40B4-BE49-F238E27FC236}">
                <a16:creationId xmlns:a16="http://schemas.microsoft.com/office/drawing/2014/main" id="{D559FB61-B49C-4617-B7D5-5707FD43505F}"/>
              </a:ext>
            </a:extLst>
          </p:cNvPr>
          <p:cNvSpPr txBox="1"/>
          <p:nvPr/>
        </p:nvSpPr>
        <p:spPr>
          <a:xfrm>
            <a:off x="362968" y="2695473"/>
            <a:ext cx="2715279" cy="523220"/>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Write the claim</a:t>
            </a: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Write the opposite</a:t>
            </a:r>
          </a:p>
        </p:txBody>
      </p:sp>
      <p:sp>
        <p:nvSpPr>
          <p:cNvPr id="8" name="TextBox 7">
            <a:extLst>
              <a:ext uri="{FF2B5EF4-FFF2-40B4-BE49-F238E27FC236}">
                <a16:creationId xmlns:a16="http://schemas.microsoft.com/office/drawing/2014/main" id="{16AAD919-D705-4981-8641-600D803CB740}"/>
              </a:ext>
            </a:extLst>
          </p:cNvPr>
          <p:cNvSpPr txBox="1"/>
          <p:nvPr/>
        </p:nvSpPr>
        <p:spPr>
          <a:xfrm>
            <a:off x="4516159" y="3566858"/>
            <a:ext cx="249889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s = here, hence it is Ho</a:t>
            </a:r>
          </a:p>
        </p:txBody>
      </p:sp>
      <mc:AlternateContent xmlns:mc="http://schemas.openxmlformats.org/markup-compatibility/2006">
        <mc:Choice xmlns:p14="http://schemas.microsoft.com/office/powerpoint/2010/main" Requires="p14">
          <p:contentPart p14:bwMode="auto" r:id="rId2">
            <p14:nvContentPartPr>
              <p14:cNvPr id="2" name="Ink 1">
                <a:extLst>
                  <a:ext uri="{FF2B5EF4-FFF2-40B4-BE49-F238E27FC236}">
                    <a16:creationId xmlns:a16="http://schemas.microsoft.com/office/drawing/2014/main" id="{AB329C11-B8B6-43E4-A5B6-1722B8D837DB}"/>
                  </a:ext>
                </a:extLst>
              </p14:cNvPr>
              <p14:cNvContentPartPr/>
              <p14:nvPr/>
            </p14:nvContentPartPr>
            <p14:xfrm>
              <a:off x="662040" y="1076400"/>
              <a:ext cx="7301160" cy="3205440"/>
            </p14:xfrm>
          </p:contentPart>
        </mc:Choice>
        <mc:Fallback>
          <p:pic>
            <p:nvPicPr>
              <p:cNvPr id="2" name="Ink 1">
                <a:extLst>
                  <a:ext uri="{FF2B5EF4-FFF2-40B4-BE49-F238E27FC236}">
                    <a16:creationId xmlns:a16="http://schemas.microsoft.com/office/drawing/2014/main" id="{AB329C11-B8B6-43E4-A5B6-1722B8D837DB}"/>
                  </a:ext>
                </a:extLst>
              </p:cNvPr>
              <p:cNvPicPr/>
              <p:nvPr/>
            </p:nvPicPr>
            <p:blipFill>
              <a:blip r:embed="rId3"/>
              <a:stretch>
                <a:fillRect/>
              </a:stretch>
            </p:blipFill>
            <p:spPr>
              <a:xfrm>
                <a:off x="652680" y="1067040"/>
                <a:ext cx="7319880" cy="3224160"/>
              </a:xfrm>
              <a:prstGeom prst="rect">
                <a:avLst/>
              </a:prstGeom>
            </p:spPr>
          </p:pic>
        </mc:Fallback>
      </mc:AlternateContent>
    </p:spTree>
    <p:extLst>
      <p:ext uri="{BB962C8B-B14F-4D97-AF65-F5344CB8AC3E}">
        <p14:creationId xmlns:p14="http://schemas.microsoft.com/office/powerpoint/2010/main" val="110114271"/>
      </p:ext>
    </p:extLst>
  </p:cSld>
  <p:clrMapOvr>
    <a:masterClrMapping/>
  </p:clrMapOvr>
  <p:transition spd="med">
    <p:wipe dir="r"/>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1A70240-1D40-4910-9361-C4810D841793}"/>
              </a:ext>
            </a:extLst>
          </p:cNvPr>
          <p:cNvSpPr>
            <a:spLocks noGrp="1"/>
          </p:cNvSpPr>
          <p:nvPr>
            <p:ph type="title"/>
          </p:nvPr>
        </p:nvSpPr>
        <p:spPr>
          <a:xfrm>
            <a:off x="0" y="0"/>
            <a:ext cx="8229600" cy="637794"/>
          </a:xfrm>
        </p:spPr>
        <p:txBody>
          <a:bodyPr/>
          <a:lstStyle/>
          <a:p>
            <a:r>
              <a:rPr lang="en-US" dirty="0"/>
              <a:t>Important Takeaways</a:t>
            </a:r>
          </a:p>
        </p:txBody>
      </p:sp>
      <p:sp>
        <p:nvSpPr>
          <p:cNvPr id="4" name="TextBox 3">
            <a:extLst>
              <a:ext uri="{FF2B5EF4-FFF2-40B4-BE49-F238E27FC236}">
                <a16:creationId xmlns:a16="http://schemas.microsoft.com/office/drawing/2014/main" id="{352BEC19-DC70-4F11-99F7-79BFE35861DB}"/>
              </a:ext>
            </a:extLst>
          </p:cNvPr>
          <p:cNvSpPr txBox="1"/>
          <p:nvPr/>
        </p:nvSpPr>
        <p:spPr>
          <a:xfrm>
            <a:off x="230345" y="748859"/>
            <a:ext cx="4090369" cy="1600438"/>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Ex 2 : Most CEOs are male</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Claim : p &gt; 0.5 (proportion)</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err="1">
                <a:solidFill>
                  <a:schemeClr val="bg2"/>
                </a:solidFill>
                <a:latin typeface="+mn-lt"/>
              </a:rPr>
              <a:t>Opp</a:t>
            </a:r>
            <a:r>
              <a:rPr lang="en-US" sz="1400" dirty="0">
                <a:solidFill>
                  <a:schemeClr val="bg2"/>
                </a:solidFill>
                <a:latin typeface="+mn-lt"/>
              </a:rPr>
              <a:t> : p &lt;= 0.5</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As = here, hence it is Ho</a:t>
            </a:r>
          </a:p>
        </p:txBody>
      </p:sp>
      <p:sp>
        <p:nvSpPr>
          <p:cNvPr id="5" name="TextBox 4">
            <a:extLst>
              <a:ext uri="{FF2B5EF4-FFF2-40B4-BE49-F238E27FC236}">
                <a16:creationId xmlns:a16="http://schemas.microsoft.com/office/drawing/2014/main" id="{7983553A-170C-417D-9D41-B00BEA8E24D7}"/>
              </a:ext>
            </a:extLst>
          </p:cNvPr>
          <p:cNvSpPr txBox="1"/>
          <p:nvPr/>
        </p:nvSpPr>
        <p:spPr>
          <a:xfrm>
            <a:off x="342027" y="2649114"/>
            <a:ext cx="2394193"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Ho : p &lt;= 0.5</a:t>
            </a:r>
          </a:p>
          <a:p>
            <a:pPr>
              <a:spcBef>
                <a:spcPts val="0"/>
              </a:spcBef>
              <a:spcAft>
                <a:spcPts val="0"/>
              </a:spcAft>
              <a:buClr>
                <a:schemeClr val="bg1"/>
              </a:buClr>
            </a:pPr>
            <a:r>
              <a:rPr lang="en-US" sz="1400" b="1" dirty="0">
                <a:solidFill>
                  <a:schemeClr val="bg2"/>
                </a:solidFill>
                <a:latin typeface="+mn-lt"/>
              </a:rPr>
              <a:t> </a:t>
            </a:r>
          </a:p>
          <a:p>
            <a:pPr>
              <a:spcBef>
                <a:spcPts val="0"/>
              </a:spcBef>
              <a:spcAft>
                <a:spcPts val="0"/>
              </a:spcAft>
              <a:buClr>
                <a:schemeClr val="bg1"/>
              </a:buClr>
            </a:pPr>
            <a:r>
              <a:rPr lang="en-US" sz="1400" b="1" dirty="0">
                <a:solidFill>
                  <a:schemeClr val="bg2"/>
                </a:solidFill>
                <a:latin typeface="+mn-lt"/>
              </a:rPr>
              <a:t>H1: p &gt; 0.5</a:t>
            </a:r>
          </a:p>
        </p:txBody>
      </p:sp>
      <p:sp>
        <p:nvSpPr>
          <p:cNvPr id="6" name="TextBox 5">
            <a:extLst>
              <a:ext uri="{FF2B5EF4-FFF2-40B4-BE49-F238E27FC236}">
                <a16:creationId xmlns:a16="http://schemas.microsoft.com/office/drawing/2014/main" id="{87F7F839-4721-4F56-98EC-3EDC99B806F6}"/>
              </a:ext>
            </a:extLst>
          </p:cNvPr>
          <p:cNvSpPr txBox="1"/>
          <p:nvPr/>
        </p:nvSpPr>
        <p:spPr>
          <a:xfrm>
            <a:off x="3224830" y="2756836"/>
            <a:ext cx="5242095"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reby, we would perform hypothesis testing to Reject or not reject Ho </a:t>
            </a:r>
          </a:p>
        </p:txBody>
      </p:sp>
      <mc:AlternateContent xmlns:mc="http://schemas.openxmlformats.org/markup-compatibility/2006">
        <mc:Choice xmlns:p14="http://schemas.microsoft.com/office/powerpoint/2010/main" Requires="p14">
          <p:contentPart p14:bwMode="auto" r:id="rId2">
            <p14:nvContentPartPr>
              <p14:cNvPr id="2" name="Ink 1">
                <a:extLst>
                  <a:ext uri="{FF2B5EF4-FFF2-40B4-BE49-F238E27FC236}">
                    <a16:creationId xmlns:a16="http://schemas.microsoft.com/office/drawing/2014/main" id="{5D3411EF-46BA-459C-8347-8090CEE71D9D}"/>
                  </a:ext>
                </a:extLst>
              </p14:cNvPr>
              <p14:cNvContentPartPr/>
              <p14:nvPr/>
            </p14:nvContentPartPr>
            <p14:xfrm>
              <a:off x="181080" y="676440"/>
              <a:ext cx="8286840" cy="2814840"/>
            </p14:xfrm>
          </p:contentPart>
        </mc:Choice>
        <mc:Fallback>
          <p:pic>
            <p:nvPicPr>
              <p:cNvPr id="2" name="Ink 1">
                <a:extLst>
                  <a:ext uri="{FF2B5EF4-FFF2-40B4-BE49-F238E27FC236}">
                    <a16:creationId xmlns:a16="http://schemas.microsoft.com/office/drawing/2014/main" id="{5D3411EF-46BA-459C-8347-8090CEE71D9D}"/>
                  </a:ext>
                </a:extLst>
              </p:cNvPr>
              <p:cNvPicPr/>
              <p:nvPr/>
            </p:nvPicPr>
            <p:blipFill>
              <a:blip r:embed="rId3"/>
              <a:stretch>
                <a:fillRect/>
              </a:stretch>
            </p:blipFill>
            <p:spPr>
              <a:xfrm>
                <a:off x="171720" y="667080"/>
                <a:ext cx="8305560" cy="2833560"/>
              </a:xfrm>
              <a:prstGeom prst="rect">
                <a:avLst/>
              </a:prstGeom>
            </p:spPr>
          </p:pic>
        </mc:Fallback>
      </mc:AlternateContent>
    </p:spTree>
    <p:extLst>
      <p:ext uri="{BB962C8B-B14F-4D97-AF65-F5344CB8AC3E}">
        <p14:creationId xmlns:p14="http://schemas.microsoft.com/office/powerpoint/2010/main" val="3390640882"/>
      </p:ext>
    </p:extLst>
  </p:cSld>
  <p:clrMapOvr>
    <a:masterClrMapping/>
  </p:clrMapOvr>
  <p:transition spd="med">
    <p:wipe dir="r"/>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9DD0E0B-9F06-46B3-817D-CBF1E4FA6DB9}"/>
              </a:ext>
            </a:extLst>
          </p:cNvPr>
          <p:cNvSpPr txBox="1">
            <a:spLocks/>
          </p:cNvSpPr>
          <p:nvPr/>
        </p:nvSpPr>
        <p:spPr>
          <a:xfrm>
            <a:off x="-1" y="0"/>
            <a:ext cx="8815933"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Chi – Square Test (also called Goodness of fit test)</a:t>
            </a:r>
          </a:p>
        </p:txBody>
      </p:sp>
      <p:sp>
        <p:nvSpPr>
          <p:cNvPr id="4" name="TextBox 3">
            <a:extLst>
              <a:ext uri="{FF2B5EF4-FFF2-40B4-BE49-F238E27FC236}">
                <a16:creationId xmlns:a16="http://schemas.microsoft.com/office/drawing/2014/main" id="{4EA970DF-602C-40EE-9A74-8F21F0B0CD4C}"/>
              </a:ext>
            </a:extLst>
          </p:cNvPr>
          <p:cNvSpPr txBox="1"/>
          <p:nvPr/>
        </p:nvSpPr>
        <p:spPr>
          <a:xfrm>
            <a:off x="118663" y="893460"/>
            <a:ext cx="4453337" cy="338554"/>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solidFill>
                <a:latin typeface="+mn-lt"/>
              </a:rPr>
              <a:t>Purpose :</a:t>
            </a:r>
          </a:p>
        </p:txBody>
      </p:sp>
      <p:sp>
        <p:nvSpPr>
          <p:cNvPr id="5" name="TextBox 4">
            <a:extLst>
              <a:ext uri="{FF2B5EF4-FFF2-40B4-BE49-F238E27FC236}">
                <a16:creationId xmlns:a16="http://schemas.microsoft.com/office/drawing/2014/main" id="{3C6EF42C-39E6-4B55-A4CE-B977E12B2305}"/>
              </a:ext>
            </a:extLst>
          </p:cNvPr>
          <p:cNvSpPr txBox="1"/>
          <p:nvPr/>
        </p:nvSpPr>
        <p:spPr>
          <a:xfrm>
            <a:off x="118663" y="1361130"/>
            <a:ext cx="3371413"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Chi Square statistics are formulated </a:t>
            </a:r>
            <a:r>
              <a:rPr lang="en-US" sz="1400" dirty="0">
                <a:solidFill>
                  <a:schemeClr val="accent1"/>
                </a:solidFill>
                <a:latin typeface="+mn-lt"/>
              </a:rPr>
              <a:t>to determine whether an observed number differs either from change or from what was expected </a:t>
            </a:r>
          </a:p>
        </p:txBody>
      </p:sp>
      <p:sp>
        <p:nvSpPr>
          <p:cNvPr id="6" name="TextBox 5">
            <a:extLst>
              <a:ext uri="{FF2B5EF4-FFF2-40B4-BE49-F238E27FC236}">
                <a16:creationId xmlns:a16="http://schemas.microsoft.com/office/drawing/2014/main" id="{E82DDFC1-4DA4-4235-A4DB-717B257F80D8}"/>
              </a:ext>
            </a:extLst>
          </p:cNvPr>
          <p:cNvSpPr txBox="1"/>
          <p:nvPr/>
        </p:nvSpPr>
        <p:spPr>
          <a:xfrm>
            <a:off x="118663" y="2584486"/>
            <a:ext cx="3371413"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Pearson had termed it as a </a:t>
            </a:r>
            <a:r>
              <a:rPr lang="en-US" sz="1400" b="1" dirty="0">
                <a:solidFill>
                  <a:schemeClr val="bg2"/>
                </a:solidFill>
                <a:latin typeface="+mn-lt"/>
              </a:rPr>
              <a:t>Goodness-of-fit</a:t>
            </a:r>
            <a:r>
              <a:rPr lang="en-US" sz="1400" dirty="0">
                <a:solidFill>
                  <a:schemeClr val="bg2"/>
                </a:solidFill>
                <a:latin typeface="+mn-lt"/>
              </a:rPr>
              <a:t> test to describe how well theoretically the observed frequencies fit the expected frequencies</a:t>
            </a:r>
          </a:p>
        </p:txBody>
      </p:sp>
      <p:sp>
        <p:nvSpPr>
          <p:cNvPr id="8" name="TextBox 7">
            <a:extLst>
              <a:ext uri="{FF2B5EF4-FFF2-40B4-BE49-F238E27FC236}">
                <a16:creationId xmlns:a16="http://schemas.microsoft.com/office/drawing/2014/main" id="{3EB3CD21-3F8A-473D-841D-328EFDA3AF1E}"/>
              </a:ext>
            </a:extLst>
          </p:cNvPr>
          <p:cNvSpPr txBox="1"/>
          <p:nvPr/>
        </p:nvSpPr>
        <p:spPr>
          <a:xfrm>
            <a:off x="4222991" y="1062737"/>
            <a:ext cx="4592941" cy="289310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Groups and Numbers</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You research two groups and put them in categories single, married or divorces: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The numbers are different in each group, but </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s that just random chance ?</a:t>
            </a: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Or have you found something interesting ?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accent1"/>
                </a:solidFill>
                <a:latin typeface="+mn-lt"/>
              </a:rPr>
              <a:t>The </a:t>
            </a:r>
            <a:r>
              <a:rPr lang="en-US" sz="1400" b="1" dirty="0">
                <a:solidFill>
                  <a:schemeClr val="accent1"/>
                </a:solidFill>
                <a:latin typeface="+mn-lt"/>
              </a:rPr>
              <a:t>Chi-Square test </a:t>
            </a:r>
            <a:r>
              <a:rPr lang="en-US" sz="1400" dirty="0">
                <a:solidFill>
                  <a:schemeClr val="accent1"/>
                </a:solidFill>
                <a:latin typeface="+mn-lt"/>
              </a:rPr>
              <a:t>gives a “p” value to help you decide !</a:t>
            </a:r>
          </a:p>
        </p:txBody>
      </p:sp>
      <p:sp>
        <p:nvSpPr>
          <p:cNvPr id="2" name="Rectangle 1">
            <a:extLst>
              <a:ext uri="{FF2B5EF4-FFF2-40B4-BE49-F238E27FC236}">
                <a16:creationId xmlns:a16="http://schemas.microsoft.com/office/drawing/2014/main" id="{E45714CC-A5BB-447A-A16B-FD687154CE2B}"/>
              </a:ext>
            </a:extLst>
          </p:cNvPr>
          <p:cNvSpPr/>
          <p:nvPr/>
        </p:nvSpPr>
        <p:spPr>
          <a:xfrm>
            <a:off x="3964727" y="893460"/>
            <a:ext cx="4851205" cy="3356580"/>
          </a:xfrm>
          <a:custGeom>
            <a:avLst/>
            <a:gdLst>
              <a:gd name="connsiteX0" fmla="*/ 0 w 4851205"/>
              <a:gd name="connsiteY0" fmla="*/ 0 h 3356580"/>
              <a:gd name="connsiteX1" fmla="*/ 4851205 w 4851205"/>
              <a:gd name="connsiteY1" fmla="*/ 0 h 3356580"/>
              <a:gd name="connsiteX2" fmla="*/ 4851205 w 4851205"/>
              <a:gd name="connsiteY2" fmla="*/ 3356580 h 3356580"/>
              <a:gd name="connsiteX3" fmla="*/ 0 w 4851205"/>
              <a:gd name="connsiteY3" fmla="*/ 3356580 h 3356580"/>
              <a:gd name="connsiteX4" fmla="*/ 0 w 4851205"/>
              <a:gd name="connsiteY4" fmla="*/ 0 h 3356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1205" h="3356580" extrusionOk="0">
                <a:moveTo>
                  <a:pt x="0" y="0"/>
                </a:moveTo>
                <a:cubicBezTo>
                  <a:pt x="1186136" y="-5264"/>
                  <a:pt x="2787640" y="84467"/>
                  <a:pt x="4851205" y="0"/>
                </a:cubicBezTo>
                <a:cubicBezTo>
                  <a:pt x="4723032" y="1328465"/>
                  <a:pt x="4980355" y="1721535"/>
                  <a:pt x="4851205" y="3356580"/>
                </a:cubicBezTo>
                <a:cubicBezTo>
                  <a:pt x="4067244" y="3462900"/>
                  <a:pt x="618756" y="3348931"/>
                  <a:pt x="0" y="3356580"/>
                </a:cubicBezTo>
                <a:cubicBezTo>
                  <a:pt x="160128" y="1891390"/>
                  <a:pt x="25049" y="912271"/>
                  <a:pt x="0" y="0"/>
                </a:cubicBezTo>
                <a:close/>
              </a:path>
            </a:pathLst>
          </a:custGeom>
          <a:noFill/>
          <a:ln w="12700" cmpd="sng">
            <a:solidFill>
              <a:schemeClr val="accent1"/>
            </a:solidFill>
            <a:extLst>
              <a:ext uri="{C807C97D-BFC1-408E-A445-0C87EB9F89A2}">
                <ask:lineSketchStyleProps xmlns:ask="http://schemas.microsoft.com/office/drawing/2018/sketchyshapes" sd="2650216993">
                  <a:prstGeom prst="rect">
                    <a:avLst/>
                  </a:prstGeom>
                  <ask:type>
                    <ask:lineSketchCurved/>
                  </ask:type>
                </ask:lineSketchStyleProps>
              </a:ext>
            </a:extLst>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mc:Choice xmlns:p14="http://schemas.microsoft.com/office/powerpoint/2010/main" Requires="p14">
          <p:contentPart p14:bwMode="auto" r:id="rId2">
            <p14:nvContentPartPr>
              <p14:cNvPr id="7" name="Ink 6">
                <a:extLst>
                  <a:ext uri="{FF2B5EF4-FFF2-40B4-BE49-F238E27FC236}">
                    <a16:creationId xmlns:a16="http://schemas.microsoft.com/office/drawing/2014/main" id="{0374EC7B-93E0-4D4F-BC5E-8301A247FBFD}"/>
                  </a:ext>
                </a:extLst>
              </p14:cNvPr>
              <p14:cNvContentPartPr/>
              <p14:nvPr/>
            </p14:nvContentPartPr>
            <p14:xfrm>
              <a:off x="90360" y="1824120"/>
              <a:ext cx="3596040" cy="2876760"/>
            </p14:xfrm>
          </p:contentPart>
        </mc:Choice>
        <mc:Fallback>
          <p:pic>
            <p:nvPicPr>
              <p:cNvPr id="7" name="Ink 6">
                <a:extLst>
                  <a:ext uri="{FF2B5EF4-FFF2-40B4-BE49-F238E27FC236}">
                    <a16:creationId xmlns:a16="http://schemas.microsoft.com/office/drawing/2014/main" id="{0374EC7B-93E0-4D4F-BC5E-8301A247FBFD}"/>
                  </a:ext>
                </a:extLst>
              </p:cNvPr>
              <p:cNvPicPr/>
              <p:nvPr/>
            </p:nvPicPr>
            <p:blipFill>
              <a:blip r:embed="rId3"/>
              <a:stretch>
                <a:fillRect/>
              </a:stretch>
            </p:blipFill>
            <p:spPr>
              <a:xfrm>
                <a:off x="81000" y="1814760"/>
                <a:ext cx="3614760" cy="2895480"/>
              </a:xfrm>
              <a:prstGeom prst="rect">
                <a:avLst/>
              </a:prstGeom>
            </p:spPr>
          </p:pic>
        </mc:Fallback>
      </mc:AlternateContent>
    </p:spTree>
    <p:extLst>
      <p:ext uri="{BB962C8B-B14F-4D97-AF65-F5344CB8AC3E}">
        <p14:creationId xmlns:p14="http://schemas.microsoft.com/office/powerpoint/2010/main" val="1057630839"/>
      </p:ext>
    </p:extLst>
  </p:cSld>
  <p:clrMapOvr>
    <a:masterClrMapping/>
  </p:clrMapOvr>
  <p:transition spd="med">
    <p:wipe dir="r"/>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4D3D3-AF5B-47A2-BB35-907471E001C2}"/>
              </a:ext>
            </a:extLst>
          </p:cNvPr>
          <p:cNvSpPr>
            <a:spLocks noGrp="1"/>
          </p:cNvSpPr>
          <p:nvPr>
            <p:ph type="title"/>
          </p:nvPr>
        </p:nvSpPr>
        <p:spPr>
          <a:xfrm>
            <a:off x="0" y="0"/>
            <a:ext cx="8229600" cy="637794"/>
          </a:xfrm>
        </p:spPr>
        <p:txBody>
          <a:bodyPr/>
          <a:lstStyle/>
          <a:p>
            <a:r>
              <a:rPr lang="en-US" dirty="0"/>
              <a:t>Chi – Square Test - Example </a:t>
            </a:r>
          </a:p>
        </p:txBody>
      </p:sp>
      <p:sp>
        <p:nvSpPr>
          <p:cNvPr id="3" name="TextBox 2">
            <a:extLst>
              <a:ext uri="{FF2B5EF4-FFF2-40B4-BE49-F238E27FC236}">
                <a16:creationId xmlns:a16="http://schemas.microsoft.com/office/drawing/2014/main" id="{0EF7E15F-7E97-4843-B58E-4F518BE15054}"/>
              </a:ext>
            </a:extLst>
          </p:cNvPr>
          <p:cNvSpPr txBox="1"/>
          <p:nvPr/>
        </p:nvSpPr>
        <p:spPr>
          <a:xfrm>
            <a:off x="118662" y="630814"/>
            <a:ext cx="4718583" cy="1169551"/>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 casino, state that following is the way die throws show up = &gt;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Could you find out, whether the Casino is using a Fair Dice or not ? </a:t>
            </a:r>
          </a:p>
        </p:txBody>
      </p:sp>
      <p:pic>
        <p:nvPicPr>
          <p:cNvPr id="5" name="Picture 4">
            <a:extLst>
              <a:ext uri="{FF2B5EF4-FFF2-40B4-BE49-F238E27FC236}">
                <a16:creationId xmlns:a16="http://schemas.microsoft.com/office/drawing/2014/main" id="{259B9BB4-E20D-41E0-B5DA-13A543A3693C}"/>
              </a:ext>
            </a:extLst>
          </p:cNvPr>
          <p:cNvPicPr>
            <a:picLocks noChangeAspect="1"/>
          </p:cNvPicPr>
          <p:nvPr/>
        </p:nvPicPr>
        <p:blipFill>
          <a:blip r:embed="rId2"/>
          <a:stretch>
            <a:fillRect/>
          </a:stretch>
        </p:blipFill>
        <p:spPr>
          <a:xfrm>
            <a:off x="5200213" y="740999"/>
            <a:ext cx="2257425" cy="1238250"/>
          </a:xfrm>
          <a:prstGeom prst="rect">
            <a:avLst/>
          </a:prstGeom>
        </p:spPr>
      </p:pic>
      <p:pic>
        <p:nvPicPr>
          <p:cNvPr id="7" name="Picture 6">
            <a:extLst>
              <a:ext uri="{FF2B5EF4-FFF2-40B4-BE49-F238E27FC236}">
                <a16:creationId xmlns:a16="http://schemas.microsoft.com/office/drawing/2014/main" id="{90B1C7CC-09B3-42C2-B297-A343F75800DE}"/>
              </a:ext>
            </a:extLst>
          </p:cNvPr>
          <p:cNvPicPr>
            <a:picLocks noChangeAspect="1"/>
          </p:cNvPicPr>
          <p:nvPr/>
        </p:nvPicPr>
        <p:blipFill>
          <a:blip r:embed="rId3"/>
          <a:stretch>
            <a:fillRect/>
          </a:stretch>
        </p:blipFill>
        <p:spPr>
          <a:xfrm>
            <a:off x="5537332" y="2528621"/>
            <a:ext cx="2257425" cy="1271262"/>
          </a:xfrm>
          <a:prstGeom prst="rect">
            <a:avLst/>
          </a:prstGeom>
        </p:spPr>
      </p:pic>
      <p:sp>
        <p:nvSpPr>
          <p:cNvPr id="8" name="TextBox 7">
            <a:extLst>
              <a:ext uri="{FF2B5EF4-FFF2-40B4-BE49-F238E27FC236}">
                <a16:creationId xmlns:a16="http://schemas.microsoft.com/office/drawing/2014/main" id="{474C345F-4A91-429D-A833-B118BA07DE1A}"/>
              </a:ext>
            </a:extLst>
          </p:cNvPr>
          <p:cNvSpPr txBox="1"/>
          <p:nvPr/>
        </p:nvSpPr>
        <p:spPr>
          <a:xfrm>
            <a:off x="118662" y="1979249"/>
            <a:ext cx="4816305" cy="203132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e would follow same 5 steps of Hypothesis testing.</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dirty="0">
                <a:solidFill>
                  <a:schemeClr val="accent1"/>
                </a:solidFill>
                <a:latin typeface="+mn-lt"/>
              </a:rPr>
              <a:t>Total throws = 204</a:t>
            </a:r>
          </a:p>
          <a:p>
            <a:pPr>
              <a:spcBef>
                <a:spcPts val="0"/>
              </a:spcBef>
              <a:spcAft>
                <a:spcPts val="0"/>
              </a:spcAft>
              <a:buClr>
                <a:schemeClr val="bg1"/>
              </a:buClr>
            </a:pPr>
            <a:endParaRPr lang="en-US" sz="1400" b="1"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E(1) = (1/6) * 204 = 34</a:t>
            </a:r>
          </a:p>
          <a:p>
            <a:pPr>
              <a:spcBef>
                <a:spcPts val="0"/>
              </a:spcBef>
              <a:spcAft>
                <a:spcPts val="0"/>
              </a:spcAft>
              <a:buClr>
                <a:schemeClr val="bg1"/>
              </a:buClr>
            </a:pPr>
            <a:r>
              <a:rPr lang="en-US" sz="1400" dirty="0">
                <a:solidFill>
                  <a:schemeClr val="bg2"/>
                </a:solidFill>
                <a:latin typeface="+mn-lt"/>
              </a:rPr>
              <a:t>E(2) = (1/6) * 204 = 34</a:t>
            </a:r>
          </a:p>
          <a:p>
            <a:pPr>
              <a:spcBef>
                <a:spcPts val="0"/>
              </a:spcBef>
              <a:spcAft>
                <a:spcPts val="0"/>
              </a:spcAft>
              <a:buClr>
                <a:schemeClr val="bg1"/>
              </a:buClr>
            </a:pPr>
            <a:r>
              <a:rPr lang="en-US" sz="1400" dirty="0">
                <a:solidFill>
                  <a:schemeClr val="bg2"/>
                </a:solidFill>
                <a:latin typeface="+mn-lt"/>
              </a:rPr>
              <a:t>…..</a:t>
            </a:r>
          </a:p>
          <a:p>
            <a:pPr>
              <a:spcBef>
                <a:spcPts val="0"/>
              </a:spcBef>
              <a:spcAft>
                <a:spcPts val="0"/>
              </a:spcAft>
              <a:buClr>
                <a:schemeClr val="bg1"/>
              </a:buClr>
            </a:pPr>
            <a:r>
              <a:rPr lang="en-US" sz="1400" dirty="0">
                <a:solidFill>
                  <a:schemeClr val="bg2"/>
                </a:solidFill>
                <a:latin typeface="+mn-lt"/>
              </a:rPr>
              <a:t>…..</a:t>
            </a:r>
          </a:p>
          <a:p>
            <a:pPr>
              <a:spcBef>
                <a:spcPts val="0"/>
              </a:spcBef>
              <a:spcAft>
                <a:spcPts val="0"/>
              </a:spcAft>
              <a:buClr>
                <a:schemeClr val="bg1"/>
              </a:buClr>
            </a:pPr>
            <a:endParaRPr lang="en-US" sz="1400" dirty="0" err="1">
              <a:solidFill>
                <a:schemeClr val="bg2"/>
              </a:solidFill>
              <a:latin typeface="+mn-lt"/>
            </a:endParaRPr>
          </a:p>
        </p:txBody>
      </p:sp>
      <p:cxnSp>
        <p:nvCxnSpPr>
          <p:cNvPr id="10" name="Straight Arrow Connector 9">
            <a:extLst>
              <a:ext uri="{FF2B5EF4-FFF2-40B4-BE49-F238E27FC236}">
                <a16:creationId xmlns:a16="http://schemas.microsoft.com/office/drawing/2014/main" id="{A516811C-2C07-4EBD-BDA5-949E10D7C30D}"/>
              </a:ext>
            </a:extLst>
          </p:cNvPr>
          <p:cNvCxnSpPr>
            <a:cxnSpLocks/>
          </p:cNvCxnSpPr>
          <p:nvPr/>
        </p:nvCxnSpPr>
        <p:spPr>
          <a:xfrm flipV="1">
            <a:off x="1849740" y="1979249"/>
            <a:ext cx="4760464" cy="589575"/>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906BBBF6-EFDB-4CF6-B2F4-79B2E3BA0E98}"/>
              </a:ext>
            </a:extLst>
          </p:cNvPr>
          <p:cNvCxnSpPr>
            <a:cxnSpLocks/>
          </p:cNvCxnSpPr>
          <p:nvPr/>
        </p:nvCxnSpPr>
        <p:spPr>
          <a:xfrm>
            <a:off x="2024244" y="3141820"/>
            <a:ext cx="3427255" cy="173753"/>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C7F793CC-5A65-489C-BE63-C0D394955EBA}"/>
              </a:ext>
            </a:extLst>
          </p:cNvPr>
          <p:cNvSpPr/>
          <p:nvPr/>
        </p:nvSpPr>
        <p:spPr>
          <a:xfrm>
            <a:off x="118662" y="1268608"/>
            <a:ext cx="4544079" cy="506437"/>
          </a:xfrm>
          <a:custGeom>
            <a:avLst/>
            <a:gdLst>
              <a:gd name="connsiteX0" fmla="*/ 0 w 4544079"/>
              <a:gd name="connsiteY0" fmla="*/ 0 h 506437"/>
              <a:gd name="connsiteX1" fmla="*/ 658891 w 4544079"/>
              <a:gd name="connsiteY1" fmla="*/ 0 h 506437"/>
              <a:gd name="connsiteX2" fmla="*/ 1317783 w 4544079"/>
              <a:gd name="connsiteY2" fmla="*/ 0 h 506437"/>
              <a:gd name="connsiteX3" fmla="*/ 1931234 w 4544079"/>
              <a:gd name="connsiteY3" fmla="*/ 0 h 506437"/>
              <a:gd name="connsiteX4" fmla="*/ 2499243 w 4544079"/>
              <a:gd name="connsiteY4" fmla="*/ 0 h 506437"/>
              <a:gd name="connsiteX5" fmla="*/ 2976372 w 4544079"/>
              <a:gd name="connsiteY5" fmla="*/ 0 h 506437"/>
              <a:gd name="connsiteX6" fmla="*/ 3453500 w 4544079"/>
              <a:gd name="connsiteY6" fmla="*/ 0 h 506437"/>
              <a:gd name="connsiteX7" fmla="*/ 3930628 w 4544079"/>
              <a:gd name="connsiteY7" fmla="*/ 0 h 506437"/>
              <a:gd name="connsiteX8" fmla="*/ 4544079 w 4544079"/>
              <a:gd name="connsiteY8" fmla="*/ 0 h 506437"/>
              <a:gd name="connsiteX9" fmla="*/ 4544079 w 4544079"/>
              <a:gd name="connsiteY9" fmla="*/ 506437 h 506437"/>
              <a:gd name="connsiteX10" fmla="*/ 4112391 w 4544079"/>
              <a:gd name="connsiteY10" fmla="*/ 506437 h 506437"/>
              <a:gd name="connsiteX11" fmla="*/ 3453500 w 4544079"/>
              <a:gd name="connsiteY11" fmla="*/ 506437 h 506437"/>
              <a:gd name="connsiteX12" fmla="*/ 2976372 w 4544079"/>
              <a:gd name="connsiteY12" fmla="*/ 506437 h 506437"/>
              <a:gd name="connsiteX13" fmla="*/ 2317480 w 4544079"/>
              <a:gd name="connsiteY13" fmla="*/ 506437 h 506437"/>
              <a:gd name="connsiteX14" fmla="*/ 1658589 w 4544079"/>
              <a:gd name="connsiteY14" fmla="*/ 506437 h 506437"/>
              <a:gd name="connsiteX15" fmla="*/ 1045138 w 4544079"/>
              <a:gd name="connsiteY15" fmla="*/ 506437 h 506437"/>
              <a:gd name="connsiteX16" fmla="*/ 522569 w 4544079"/>
              <a:gd name="connsiteY16" fmla="*/ 506437 h 506437"/>
              <a:gd name="connsiteX17" fmla="*/ 0 w 4544079"/>
              <a:gd name="connsiteY17" fmla="*/ 506437 h 506437"/>
              <a:gd name="connsiteX18" fmla="*/ 0 w 4544079"/>
              <a:gd name="connsiteY18" fmla="*/ 0 h 50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44079" h="506437" extrusionOk="0">
                <a:moveTo>
                  <a:pt x="0" y="0"/>
                </a:moveTo>
                <a:cubicBezTo>
                  <a:pt x="286738" y="-40042"/>
                  <a:pt x="398747" y="75585"/>
                  <a:pt x="658891" y="0"/>
                </a:cubicBezTo>
                <a:cubicBezTo>
                  <a:pt x="919035" y="-75585"/>
                  <a:pt x="1042454" y="59862"/>
                  <a:pt x="1317783" y="0"/>
                </a:cubicBezTo>
                <a:cubicBezTo>
                  <a:pt x="1593112" y="-59862"/>
                  <a:pt x="1736248" y="19601"/>
                  <a:pt x="1931234" y="0"/>
                </a:cubicBezTo>
                <a:cubicBezTo>
                  <a:pt x="2126220" y="-19601"/>
                  <a:pt x="2360834" y="16332"/>
                  <a:pt x="2499243" y="0"/>
                </a:cubicBezTo>
                <a:cubicBezTo>
                  <a:pt x="2637652" y="-16332"/>
                  <a:pt x="2878649" y="49702"/>
                  <a:pt x="2976372" y="0"/>
                </a:cubicBezTo>
                <a:cubicBezTo>
                  <a:pt x="3074095" y="-49702"/>
                  <a:pt x="3267382" y="11816"/>
                  <a:pt x="3453500" y="0"/>
                </a:cubicBezTo>
                <a:cubicBezTo>
                  <a:pt x="3639618" y="-11816"/>
                  <a:pt x="3716507" y="20630"/>
                  <a:pt x="3930628" y="0"/>
                </a:cubicBezTo>
                <a:cubicBezTo>
                  <a:pt x="4144749" y="-20630"/>
                  <a:pt x="4406117" y="25053"/>
                  <a:pt x="4544079" y="0"/>
                </a:cubicBezTo>
                <a:cubicBezTo>
                  <a:pt x="4559361" y="155551"/>
                  <a:pt x="4495757" y="294029"/>
                  <a:pt x="4544079" y="506437"/>
                </a:cubicBezTo>
                <a:cubicBezTo>
                  <a:pt x="4440637" y="556616"/>
                  <a:pt x="4264644" y="465379"/>
                  <a:pt x="4112391" y="506437"/>
                </a:cubicBezTo>
                <a:cubicBezTo>
                  <a:pt x="3960138" y="547495"/>
                  <a:pt x="3740476" y="492719"/>
                  <a:pt x="3453500" y="506437"/>
                </a:cubicBezTo>
                <a:cubicBezTo>
                  <a:pt x="3166524" y="520155"/>
                  <a:pt x="3184002" y="498013"/>
                  <a:pt x="2976372" y="506437"/>
                </a:cubicBezTo>
                <a:cubicBezTo>
                  <a:pt x="2768742" y="514861"/>
                  <a:pt x="2561545" y="478270"/>
                  <a:pt x="2317480" y="506437"/>
                </a:cubicBezTo>
                <a:cubicBezTo>
                  <a:pt x="2073415" y="534604"/>
                  <a:pt x="1799017" y="440220"/>
                  <a:pt x="1658589" y="506437"/>
                </a:cubicBezTo>
                <a:cubicBezTo>
                  <a:pt x="1518161" y="572654"/>
                  <a:pt x="1173438" y="471038"/>
                  <a:pt x="1045138" y="506437"/>
                </a:cubicBezTo>
                <a:cubicBezTo>
                  <a:pt x="916838" y="541836"/>
                  <a:pt x="719227" y="504027"/>
                  <a:pt x="522569" y="506437"/>
                </a:cubicBezTo>
                <a:cubicBezTo>
                  <a:pt x="325911" y="508847"/>
                  <a:pt x="157039" y="459107"/>
                  <a:pt x="0" y="506437"/>
                </a:cubicBezTo>
                <a:cubicBezTo>
                  <a:pt x="-46465" y="381569"/>
                  <a:pt x="23549" y="213918"/>
                  <a:pt x="0" y="0"/>
                </a:cubicBezTo>
                <a:close/>
              </a:path>
            </a:pathLst>
          </a:custGeom>
          <a:noFill/>
          <a:ln w="12700" cmpd="sng">
            <a:solidFill>
              <a:schemeClr val="accent1"/>
            </a:solidFill>
            <a:extLst>
              <a:ext uri="{C807C97D-BFC1-408E-A445-0C87EB9F89A2}">
                <ask:lineSketchStyleProps xmlns:ask="http://schemas.microsoft.com/office/drawing/2018/sketchyshapes" sd="3706926935">
                  <a:prstGeom prst="rect">
                    <a:avLst/>
                  </a:prstGeom>
                  <ask:type>
                    <ask:lineSketchScribble/>
                  </ask:type>
                </ask:lineSketchStyleProps>
              </a:ext>
            </a:extLst>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6" name="TextBox 15">
            <a:extLst>
              <a:ext uri="{FF2B5EF4-FFF2-40B4-BE49-F238E27FC236}">
                <a16:creationId xmlns:a16="http://schemas.microsoft.com/office/drawing/2014/main" id="{66208BC3-3EB5-40AA-83F3-C1B6299A818A}"/>
              </a:ext>
            </a:extLst>
          </p:cNvPr>
          <p:cNvSpPr txBox="1"/>
          <p:nvPr/>
        </p:nvSpPr>
        <p:spPr>
          <a:xfrm>
            <a:off x="209405" y="4010574"/>
            <a:ext cx="3196910"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tep 1 :</a:t>
            </a:r>
            <a:r>
              <a:rPr lang="en-US" sz="1400" dirty="0">
                <a:solidFill>
                  <a:schemeClr val="bg2"/>
                </a:solidFill>
                <a:latin typeface="+mn-lt"/>
              </a:rPr>
              <a:t> Define Ho</a:t>
            </a:r>
          </a:p>
        </p:txBody>
      </p:sp>
      <p:sp>
        <p:nvSpPr>
          <p:cNvPr id="17" name="TextBox 16">
            <a:extLst>
              <a:ext uri="{FF2B5EF4-FFF2-40B4-BE49-F238E27FC236}">
                <a16:creationId xmlns:a16="http://schemas.microsoft.com/office/drawing/2014/main" id="{3739FFD1-A720-49F1-A0C3-392A3F368E1D}"/>
              </a:ext>
            </a:extLst>
          </p:cNvPr>
          <p:cNvSpPr txBox="1"/>
          <p:nvPr/>
        </p:nvSpPr>
        <p:spPr>
          <a:xfrm>
            <a:off x="2317410" y="4080375"/>
            <a:ext cx="2324391"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 : Die is fair</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H1 : Die is unfair</a:t>
            </a:r>
          </a:p>
        </p:txBody>
      </p:sp>
      <p:sp>
        <p:nvSpPr>
          <p:cNvPr id="18" name="Rectangle 17">
            <a:extLst>
              <a:ext uri="{FF2B5EF4-FFF2-40B4-BE49-F238E27FC236}">
                <a16:creationId xmlns:a16="http://schemas.microsoft.com/office/drawing/2014/main" id="{D6AAFB6B-8E20-4B6A-8D76-702FBBAAA6C5}"/>
              </a:ext>
            </a:extLst>
          </p:cNvPr>
          <p:cNvSpPr/>
          <p:nvPr/>
        </p:nvSpPr>
        <p:spPr>
          <a:xfrm>
            <a:off x="2193511" y="4010574"/>
            <a:ext cx="1999815" cy="966275"/>
          </a:xfrm>
          <a:prstGeom prst="rect">
            <a:avLst/>
          </a:prstGeom>
          <a:noFill/>
          <a:ln w="12700" cmpd="sng">
            <a:solidFill>
              <a:schemeClr val="accent1"/>
            </a:solidFill>
            <a:extLst>
              <a:ext uri="{C807C97D-BFC1-408E-A445-0C87EB9F89A2}">
                <ask:lineSketchStyleProps xmlns:ask="http://schemas.microsoft.com/office/drawing/2018/sketchyshapes">
                  <ask:type>
                    <ask:lineSketchNone/>
                  </ask:type>
                </ask:lineSketchStyleProps>
              </a:ext>
            </a:extLst>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9" name="TextBox 18">
            <a:extLst>
              <a:ext uri="{FF2B5EF4-FFF2-40B4-BE49-F238E27FC236}">
                <a16:creationId xmlns:a16="http://schemas.microsoft.com/office/drawing/2014/main" id="{D1872683-E281-4E24-B0B8-90AB489A031A}"/>
              </a:ext>
            </a:extLst>
          </p:cNvPr>
          <p:cNvSpPr txBox="1"/>
          <p:nvPr/>
        </p:nvSpPr>
        <p:spPr>
          <a:xfrm>
            <a:off x="4439374" y="4251076"/>
            <a:ext cx="2324391"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Means : observed data fits the expected data</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CE64AD3A-07D9-4572-8CE2-F1519C53AF7F}"/>
                  </a:ext>
                </a:extLst>
              </p14:cNvPr>
              <p14:cNvContentPartPr/>
              <p14:nvPr/>
            </p14:nvContentPartPr>
            <p14:xfrm>
              <a:off x="2962440" y="971640"/>
              <a:ext cx="6043680" cy="3824640"/>
            </p14:xfrm>
          </p:contentPart>
        </mc:Choice>
        <mc:Fallback>
          <p:pic>
            <p:nvPicPr>
              <p:cNvPr id="4" name="Ink 3">
                <a:extLst>
                  <a:ext uri="{FF2B5EF4-FFF2-40B4-BE49-F238E27FC236}">
                    <a16:creationId xmlns:a16="http://schemas.microsoft.com/office/drawing/2014/main" id="{CE64AD3A-07D9-4572-8CE2-F1519C53AF7F}"/>
                  </a:ext>
                </a:extLst>
              </p:cNvPr>
              <p:cNvPicPr/>
              <p:nvPr/>
            </p:nvPicPr>
            <p:blipFill>
              <a:blip r:embed="rId5"/>
              <a:stretch>
                <a:fillRect/>
              </a:stretch>
            </p:blipFill>
            <p:spPr>
              <a:xfrm>
                <a:off x="2953080" y="962280"/>
                <a:ext cx="6062400" cy="3843360"/>
              </a:xfrm>
              <a:prstGeom prst="rect">
                <a:avLst/>
              </a:prstGeom>
            </p:spPr>
          </p:pic>
        </mc:Fallback>
      </mc:AlternateContent>
    </p:spTree>
    <p:extLst>
      <p:ext uri="{BB962C8B-B14F-4D97-AF65-F5344CB8AC3E}">
        <p14:creationId xmlns:p14="http://schemas.microsoft.com/office/powerpoint/2010/main" val="2182840247"/>
      </p:ext>
    </p:extLst>
  </p:cSld>
  <p:clrMapOvr>
    <a:masterClrMapping/>
  </p:clrMapOvr>
  <p:transition spd="med">
    <p:wipe dir="r"/>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5D620BE-F0F7-4DE7-9520-7BD016648F81}"/>
              </a:ext>
            </a:extLst>
          </p:cNvPr>
          <p:cNvSpPr>
            <a:spLocks noGrp="1"/>
          </p:cNvSpPr>
          <p:nvPr>
            <p:ph type="title"/>
          </p:nvPr>
        </p:nvSpPr>
        <p:spPr>
          <a:xfrm>
            <a:off x="0" y="0"/>
            <a:ext cx="8229600" cy="637794"/>
          </a:xfrm>
        </p:spPr>
        <p:txBody>
          <a:bodyPr/>
          <a:lstStyle/>
          <a:p>
            <a:r>
              <a:rPr lang="en-US" dirty="0"/>
              <a:t>Chi – Square Test - Example </a:t>
            </a:r>
          </a:p>
        </p:txBody>
      </p:sp>
      <p:pic>
        <p:nvPicPr>
          <p:cNvPr id="5" name="Picture 4">
            <a:extLst>
              <a:ext uri="{FF2B5EF4-FFF2-40B4-BE49-F238E27FC236}">
                <a16:creationId xmlns:a16="http://schemas.microsoft.com/office/drawing/2014/main" id="{DF0A6A52-F3FE-41D0-926D-ADE8A2395ABF}"/>
              </a:ext>
            </a:extLst>
          </p:cNvPr>
          <p:cNvPicPr>
            <a:picLocks noChangeAspect="1"/>
          </p:cNvPicPr>
          <p:nvPr/>
        </p:nvPicPr>
        <p:blipFill>
          <a:blip r:embed="rId2"/>
          <a:stretch>
            <a:fillRect/>
          </a:stretch>
        </p:blipFill>
        <p:spPr>
          <a:xfrm>
            <a:off x="5011747" y="1594075"/>
            <a:ext cx="2619375" cy="1457325"/>
          </a:xfrm>
          <a:prstGeom prst="rect">
            <a:avLst/>
          </a:prstGeom>
        </p:spPr>
      </p:pic>
      <p:sp>
        <p:nvSpPr>
          <p:cNvPr id="6" name="TextBox 5">
            <a:extLst>
              <a:ext uri="{FF2B5EF4-FFF2-40B4-BE49-F238E27FC236}">
                <a16:creationId xmlns:a16="http://schemas.microsoft.com/office/drawing/2014/main" id="{31F18069-9B69-4301-BD46-2DFF9347D3A3}"/>
              </a:ext>
            </a:extLst>
          </p:cNvPr>
          <p:cNvSpPr txBox="1"/>
          <p:nvPr/>
        </p:nvSpPr>
        <p:spPr>
          <a:xfrm>
            <a:off x="493775" y="1779939"/>
            <a:ext cx="3476116"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tep 2 : Choose the significance level</a:t>
            </a:r>
            <a:r>
              <a:rPr lang="en-US" sz="1400" dirty="0">
                <a:solidFill>
                  <a:schemeClr val="bg2"/>
                </a:solidFill>
                <a:latin typeface="+mn-lt"/>
              </a:rPr>
              <a:t>.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5% or 1 % = 0.05 or 0.01</a:t>
            </a:r>
          </a:p>
        </p:txBody>
      </p:sp>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1796C590-9A74-4E1E-BD67-72D79A1DE0F7}"/>
                  </a:ext>
                </a:extLst>
              </p14:cNvPr>
              <p14:cNvContentPartPr/>
              <p14:nvPr/>
            </p14:nvContentPartPr>
            <p14:xfrm>
              <a:off x="1343160" y="1995480"/>
              <a:ext cx="6062760" cy="1695960"/>
            </p14:xfrm>
          </p:contentPart>
        </mc:Choice>
        <mc:Fallback>
          <p:pic>
            <p:nvPicPr>
              <p:cNvPr id="2" name="Ink 1">
                <a:extLst>
                  <a:ext uri="{FF2B5EF4-FFF2-40B4-BE49-F238E27FC236}">
                    <a16:creationId xmlns:a16="http://schemas.microsoft.com/office/drawing/2014/main" id="{1796C590-9A74-4E1E-BD67-72D79A1DE0F7}"/>
                  </a:ext>
                </a:extLst>
              </p:cNvPr>
              <p:cNvPicPr/>
              <p:nvPr/>
            </p:nvPicPr>
            <p:blipFill>
              <a:blip r:embed="rId4"/>
              <a:stretch>
                <a:fillRect/>
              </a:stretch>
            </p:blipFill>
            <p:spPr>
              <a:xfrm>
                <a:off x="1333800" y="1986120"/>
                <a:ext cx="6081480" cy="1714680"/>
              </a:xfrm>
              <a:prstGeom prst="rect">
                <a:avLst/>
              </a:prstGeom>
            </p:spPr>
          </p:pic>
        </mc:Fallback>
      </mc:AlternateContent>
    </p:spTree>
    <p:extLst>
      <p:ext uri="{BB962C8B-B14F-4D97-AF65-F5344CB8AC3E}">
        <p14:creationId xmlns:p14="http://schemas.microsoft.com/office/powerpoint/2010/main" val="2907249161"/>
      </p:ext>
    </p:extLst>
  </p:cSld>
  <p:clrMapOvr>
    <a:masterClrMapping/>
  </p:clrMapOvr>
  <p:transition spd="med">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18BCBB9-C3AC-40C5-95B3-3E911B1A5E73}"/>
              </a:ext>
            </a:extLst>
          </p:cNvPr>
          <p:cNvSpPr>
            <a:spLocks noGrp="1"/>
          </p:cNvSpPr>
          <p:nvPr>
            <p:ph type="title"/>
          </p:nvPr>
        </p:nvSpPr>
        <p:spPr>
          <a:xfrm>
            <a:off x="0" y="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8" name="TextBox 7">
            <a:extLst>
              <a:ext uri="{FF2B5EF4-FFF2-40B4-BE49-F238E27FC236}">
                <a16:creationId xmlns:a16="http://schemas.microsoft.com/office/drawing/2014/main" id="{39BACF91-6D93-4CB5-9A9C-CEEF211954A4}"/>
              </a:ext>
            </a:extLst>
          </p:cNvPr>
          <p:cNvSpPr txBox="1"/>
          <p:nvPr/>
        </p:nvSpPr>
        <p:spPr>
          <a:xfrm>
            <a:off x="-68894" y="1190466"/>
            <a:ext cx="5749447" cy="2462213"/>
          </a:xfrm>
          <a:prstGeom prst="rect">
            <a:avLst/>
          </a:prstGeom>
          <a:noFill/>
        </p:spPr>
        <p:txBody>
          <a:bodyPr wrap="square" rtlCol="0">
            <a:spAutoFit/>
          </a:bodyPr>
          <a:lstStyle/>
          <a:p>
            <a:pPr marL="0" indent="0">
              <a:buNone/>
            </a:pPr>
            <a:r>
              <a:rPr lang="en-US" sz="1400" b="1" i="1" dirty="0">
                <a:solidFill>
                  <a:schemeClr val="accent1"/>
                </a:solidFill>
              </a:rPr>
              <a:t>Study 2 : </a:t>
            </a:r>
          </a:p>
          <a:p>
            <a:pPr marL="0" indent="0">
              <a:buNone/>
            </a:pPr>
            <a:r>
              <a:rPr lang="en-US" sz="1400" i="1" dirty="0">
                <a:solidFill>
                  <a:schemeClr val="bg2">
                    <a:lumMod val="50000"/>
                    <a:lumOff val="50000"/>
                  </a:schemeClr>
                </a:solidFill>
              </a:rPr>
              <a:t>When we compare students who study with music to students who study in a quiet environment, which group gives higher ratings for understanding what they studied?</a:t>
            </a:r>
          </a:p>
          <a:p>
            <a:pPr marL="0" indent="0">
              <a:buNone/>
            </a:pPr>
            <a:endParaRPr lang="en-US" sz="1400" i="1" dirty="0">
              <a:solidFill>
                <a:schemeClr val="bg2">
                  <a:lumMod val="50000"/>
                  <a:lumOff val="50000"/>
                </a:schemeClr>
              </a:solidFill>
              <a:latin typeface="+mn-lt"/>
            </a:endParaRPr>
          </a:p>
          <a:p>
            <a:pPr marL="0" indent="0">
              <a:buNone/>
            </a:pPr>
            <a:r>
              <a:rPr lang="en-US" sz="1000" dirty="0">
                <a:solidFill>
                  <a:schemeClr val="bg2">
                    <a:lumMod val="50000"/>
                    <a:lumOff val="50000"/>
                  </a:schemeClr>
                </a:solidFill>
                <a:latin typeface="+mn-lt"/>
              </a:rPr>
              <a:t>To investigate this question, the instructor divides the class into two groups: (1) those who listen to music when they study and (2) those who do not listen to music when they study. The students keep a journal for a week. Each time they study, they record the following information:</a:t>
            </a:r>
          </a:p>
          <a:p>
            <a:pPr marL="0" indent="0">
              <a:buNone/>
            </a:pPr>
            <a:endParaRPr lang="en-US" sz="1000" dirty="0">
              <a:solidFill>
                <a:schemeClr val="bg2">
                  <a:lumMod val="50000"/>
                  <a:lumOff val="50000"/>
                </a:schemeClr>
              </a:solidFill>
              <a:latin typeface="+mn-lt"/>
            </a:endParaRPr>
          </a:p>
          <a:p>
            <a:pPr algn="l" fontAlgn="base">
              <a:buFont typeface="Arial" panose="020B0604020202020204" pitchFamily="34" charset="0"/>
              <a:buChar char="•"/>
            </a:pPr>
            <a:r>
              <a:rPr lang="en-US" sz="1000" dirty="0">
                <a:solidFill>
                  <a:schemeClr val="bg2">
                    <a:lumMod val="50000"/>
                    <a:lumOff val="50000"/>
                  </a:schemeClr>
                </a:solidFill>
                <a:latin typeface="+mn-lt"/>
              </a:rPr>
              <a:t> Length of study session (in minutes)</a:t>
            </a:r>
          </a:p>
          <a:p>
            <a:pPr algn="l" fontAlgn="base">
              <a:buFont typeface="Arial" panose="020B0604020202020204" pitchFamily="34" charset="0"/>
              <a:buChar char="•"/>
            </a:pPr>
            <a:r>
              <a:rPr lang="en-US" sz="1000" dirty="0">
                <a:solidFill>
                  <a:schemeClr val="bg2">
                    <a:lumMod val="50000"/>
                    <a:lumOff val="50000"/>
                  </a:schemeClr>
                </a:solidFill>
                <a:latin typeface="+mn-lt"/>
              </a:rPr>
              <a:t> A rating of how well they understood what they studied, on a scale of 1–10: 1 = no understanding,    10 = excellent understanding.</a:t>
            </a:r>
          </a:p>
          <a:p>
            <a:pPr marL="0" indent="0">
              <a:buNone/>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22D22767-FE1F-4CAD-8B74-C0E62202ACDE}"/>
              </a:ext>
            </a:extLst>
          </p:cNvPr>
          <p:cNvPicPr>
            <a:picLocks noChangeAspect="1"/>
          </p:cNvPicPr>
          <p:nvPr/>
        </p:nvPicPr>
        <p:blipFill>
          <a:blip r:embed="rId2"/>
          <a:stretch>
            <a:fillRect/>
          </a:stretch>
        </p:blipFill>
        <p:spPr>
          <a:xfrm>
            <a:off x="5680553" y="1524296"/>
            <a:ext cx="3328167" cy="2094907"/>
          </a:xfrm>
          <a:prstGeom prst="rect">
            <a:avLst/>
          </a:prstGeom>
        </p:spPr>
      </p:pic>
    </p:spTree>
    <p:extLst>
      <p:ext uri="{BB962C8B-B14F-4D97-AF65-F5344CB8AC3E}">
        <p14:creationId xmlns:p14="http://schemas.microsoft.com/office/powerpoint/2010/main" val="1317899603"/>
      </p:ext>
    </p:extLst>
  </p:cSld>
  <p:clrMapOvr>
    <a:masterClrMapping/>
  </p:clrMapOvr>
  <p:transition spd="med">
    <p:wipe dir="r"/>
  </p:transition>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2D15F2F-BB97-4D33-8FDF-ED55A4CB11FB}"/>
              </a:ext>
            </a:extLst>
          </p:cNvPr>
          <p:cNvSpPr>
            <a:spLocks noGrp="1"/>
          </p:cNvSpPr>
          <p:nvPr>
            <p:ph type="title"/>
          </p:nvPr>
        </p:nvSpPr>
        <p:spPr>
          <a:xfrm>
            <a:off x="0" y="0"/>
            <a:ext cx="8229600" cy="637794"/>
          </a:xfrm>
        </p:spPr>
        <p:txBody>
          <a:bodyPr/>
          <a:lstStyle/>
          <a:p>
            <a:r>
              <a:rPr lang="en-US" dirty="0"/>
              <a:t>Chi – Square Test - Example </a:t>
            </a:r>
          </a:p>
        </p:txBody>
      </p:sp>
      <p:pic>
        <p:nvPicPr>
          <p:cNvPr id="5" name="Picture 4">
            <a:extLst>
              <a:ext uri="{FF2B5EF4-FFF2-40B4-BE49-F238E27FC236}">
                <a16:creationId xmlns:a16="http://schemas.microsoft.com/office/drawing/2014/main" id="{6C314A27-50D0-4592-A814-62AC8F7EAF1A}"/>
              </a:ext>
            </a:extLst>
          </p:cNvPr>
          <p:cNvPicPr>
            <a:picLocks noChangeAspect="1"/>
          </p:cNvPicPr>
          <p:nvPr/>
        </p:nvPicPr>
        <p:blipFill>
          <a:blip r:embed="rId2"/>
          <a:stretch>
            <a:fillRect/>
          </a:stretch>
        </p:blipFill>
        <p:spPr>
          <a:xfrm>
            <a:off x="2980525" y="1650392"/>
            <a:ext cx="5885805" cy="1518597"/>
          </a:xfrm>
          <a:prstGeom prst="rect">
            <a:avLst/>
          </a:prstGeom>
        </p:spPr>
      </p:pic>
      <p:pic>
        <p:nvPicPr>
          <p:cNvPr id="7" name="Picture 6">
            <a:extLst>
              <a:ext uri="{FF2B5EF4-FFF2-40B4-BE49-F238E27FC236}">
                <a16:creationId xmlns:a16="http://schemas.microsoft.com/office/drawing/2014/main" id="{21BDF639-D8D3-4AFF-9802-E6BBB74FFAFE}"/>
              </a:ext>
            </a:extLst>
          </p:cNvPr>
          <p:cNvPicPr>
            <a:picLocks noChangeAspect="1"/>
          </p:cNvPicPr>
          <p:nvPr/>
        </p:nvPicPr>
        <p:blipFill>
          <a:blip r:embed="rId3"/>
          <a:stretch>
            <a:fillRect/>
          </a:stretch>
        </p:blipFill>
        <p:spPr>
          <a:xfrm>
            <a:off x="0" y="1570570"/>
            <a:ext cx="2980525" cy="1454062"/>
          </a:xfrm>
          <a:prstGeom prst="rect">
            <a:avLst/>
          </a:prstGeom>
        </p:spPr>
      </p:pic>
      <p:sp>
        <p:nvSpPr>
          <p:cNvPr id="8" name="TextBox 7">
            <a:extLst>
              <a:ext uri="{FF2B5EF4-FFF2-40B4-BE49-F238E27FC236}">
                <a16:creationId xmlns:a16="http://schemas.microsoft.com/office/drawing/2014/main" id="{945A2352-D594-4E9B-B5FC-E588143102DE}"/>
              </a:ext>
            </a:extLst>
          </p:cNvPr>
          <p:cNvSpPr txBox="1"/>
          <p:nvPr/>
        </p:nvSpPr>
        <p:spPr>
          <a:xfrm>
            <a:off x="293166" y="637794"/>
            <a:ext cx="7301240"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teps 3 : Compute the critical value. Use the Chi – Squared table. { Not Z / T table }</a:t>
            </a:r>
          </a:p>
        </p:txBody>
      </p:sp>
      <p:sp>
        <p:nvSpPr>
          <p:cNvPr id="9" name="TextBox 8">
            <a:extLst>
              <a:ext uri="{FF2B5EF4-FFF2-40B4-BE49-F238E27FC236}">
                <a16:creationId xmlns:a16="http://schemas.microsoft.com/office/drawing/2014/main" id="{397BC159-8072-4649-BADF-B51C38E6F5BE}"/>
              </a:ext>
            </a:extLst>
          </p:cNvPr>
          <p:cNvSpPr txBox="1"/>
          <p:nvPr/>
        </p:nvSpPr>
        <p:spPr>
          <a:xfrm>
            <a:off x="3071267" y="3504037"/>
            <a:ext cx="5954070" cy="52322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df = degree of freedom = (possible outcomes – 1) </a:t>
            </a:r>
          </a:p>
          <a:p>
            <a:pPr>
              <a:spcBef>
                <a:spcPts val="0"/>
              </a:spcBef>
              <a:spcAft>
                <a:spcPts val="0"/>
              </a:spcAft>
              <a:buClr>
                <a:schemeClr val="bg1"/>
              </a:buClr>
            </a:pPr>
            <a:r>
              <a:rPr lang="en-US" sz="1400" b="1" dirty="0">
                <a:solidFill>
                  <a:schemeClr val="bg2"/>
                </a:solidFill>
                <a:latin typeface="+mn-lt"/>
              </a:rPr>
              <a:t>df = 6 -1 = 5</a:t>
            </a:r>
          </a:p>
        </p:txBody>
      </p:sp>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21BABE36-34E3-423A-80E1-9510E9C84C82}"/>
                  </a:ext>
                </a:extLst>
              </p14:cNvPr>
              <p14:cNvContentPartPr/>
              <p14:nvPr/>
            </p14:nvContentPartPr>
            <p14:xfrm>
              <a:off x="2595600" y="290520"/>
              <a:ext cx="6248880" cy="4638960"/>
            </p14:xfrm>
          </p:contentPart>
        </mc:Choice>
        <mc:Fallback>
          <p:pic>
            <p:nvPicPr>
              <p:cNvPr id="2" name="Ink 1">
                <a:extLst>
                  <a:ext uri="{FF2B5EF4-FFF2-40B4-BE49-F238E27FC236}">
                    <a16:creationId xmlns:a16="http://schemas.microsoft.com/office/drawing/2014/main" id="{21BABE36-34E3-423A-80E1-9510E9C84C82}"/>
                  </a:ext>
                </a:extLst>
              </p:cNvPr>
              <p:cNvPicPr/>
              <p:nvPr/>
            </p:nvPicPr>
            <p:blipFill>
              <a:blip r:embed="rId5"/>
              <a:stretch>
                <a:fillRect/>
              </a:stretch>
            </p:blipFill>
            <p:spPr>
              <a:xfrm>
                <a:off x="2586240" y="281160"/>
                <a:ext cx="6267600" cy="46576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Ink 3">
                <a:extLst>
                  <a:ext uri="{FF2B5EF4-FFF2-40B4-BE49-F238E27FC236}">
                    <a16:creationId xmlns:a16="http://schemas.microsoft.com/office/drawing/2014/main" id="{96486E8E-9E14-4281-ABC6-E0D40EDFF3C3}"/>
                  </a:ext>
                </a:extLst>
              </p14:cNvPr>
              <p14:cNvContentPartPr/>
              <p14:nvPr/>
            </p14:nvContentPartPr>
            <p14:xfrm>
              <a:off x="6624720" y="2852640"/>
              <a:ext cx="2143440" cy="614880"/>
            </p14:xfrm>
          </p:contentPart>
        </mc:Choice>
        <mc:Fallback>
          <p:pic>
            <p:nvPicPr>
              <p:cNvPr id="4" name="Ink 3">
                <a:extLst>
                  <a:ext uri="{FF2B5EF4-FFF2-40B4-BE49-F238E27FC236}">
                    <a16:creationId xmlns:a16="http://schemas.microsoft.com/office/drawing/2014/main" id="{96486E8E-9E14-4281-ABC6-E0D40EDFF3C3}"/>
                  </a:ext>
                </a:extLst>
              </p:cNvPr>
              <p:cNvPicPr/>
              <p:nvPr/>
            </p:nvPicPr>
            <p:blipFill>
              <a:blip r:embed="rId7"/>
              <a:stretch>
                <a:fillRect/>
              </a:stretch>
            </p:blipFill>
            <p:spPr>
              <a:xfrm>
                <a:off x="6615360" y="2843280"/>
                <a:ext cx="2162160" cy="633600"/>
              </a:xfrm>
              <a:prstGeom prst="rect">
                <a:avLst/>
              </a:prstGeom>
            </p:spPr>
          </p:pic>
        </mc:Fallback>
      </mc:AlternateContent>
    </p:spTree>
    <p:extLst>
      <p:ext uri="{BB962C8B-B14F-4D97-AF65-F5344CB8AC3E}">
        <p14:creationId xmlns:p14="http://schemas.microsoft.com/office/powerpoint/2010/main" val="4091201368"/>
      </p:ext>
    </p:extLst>
  </p:cSld>
  <p:clrMapOvr>
    <a:masterClrMapping/>
  </p:clrMapOvr>
  <p:transition spd="med">
    <p:wipe dir="r"/>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12A8C25-61DD-43B5-8272-E4A3EA0D0386}"/>
              </a:ext>
            </a:extLst>
          </p:cNvPr>
          <p:cNvSpPr>
            <a:spLocks noGrp="1"/>
          </p:cNvSpPr>
          <p:nvPr>
            <p:ph type="title"/>
          </p:nvPr>
        </p:nvSpPr>
        <p:spPr>
          <a:xfrm>
            <a:off x="0" y="0"/>
            <a:ext cx="8229600" cy="637794"/>
          </a:xfrm>
        </p:spPr>
        <p:txBody>
          <a:bodyPr/>
          <a:lstStyle/>
          <a:p>
            <a:r>
              <a:rPr lang="en-US" dirty="0"/>
              <a:t>Chi – Square Test - Example </a:t>
            </a:r>
          </a:p>
        </p:txBody>
      </p:sp>
      <p:sp>
        <p:nvSpPr>
          <p:cNvPr id="4" name="TextBox 3">
            <a:extLst>
              <a:ext uri="{FF2B5EF4-FFF2-40B4-BE49-F238E27FC236}">
                <a16:creationId xmlns:a16="http://schemas.microsoft.com/office/drawing/2014/main" id="{B1943546-9386-40CB-B00E-F3F46D5B7EFE}"/>
              </a:ext>
            </a:extLst>
          </p:cNvPr>
          <p:cNvSpPr txBox="1"/>
          <p:nvPr/>
        </p:nvSpPr>
        <p:spPr>
          <a:xfrm>
            <a:off x="160544" y="760837"/>
            <a:ext cx="508155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tep 4 : compute the Chi – Squared test statistics </a:t>
            </a:r>
          </a:p>
        </p:txBody>
      </p:sp>
      <p:pic>
        <p:nvPicPr>
          <p:cNvPr id="6" name="Picture 5">
            <a:extLst>
              <a:ext uri="{FF2B5EF4-FFF2-40B4-BE49-F238E27FC236}">
                <a16:creationId xmlns:a16="http://schemas.microsoft.com/office/drawing/2014/main" id="{5BAD6E92-8391-4EFE-88D0-E2AEA07F1DDB}"/>
              </a:ext>
            </a:extLst>
          </p:cNvPr>
          <p:cNvPicPr>
            <a:picLocks noChangeAspect="1"/>
          </p:cNvPicPr>
          <p:nvPr/>
        </p:nvPicPr>
        <p:blipFill>
          <a:blip r:embed="rId2"/>
          <a:stretch>
            <a:fillRect/>
          </a:stretch>
        </p:blipFill>
        <p:spPr>
          <a:xfrm>
            <a:off x="513222" y="1306524"/>
            <a:ext cx="3133725" cy="790575"/>
          </a:xfrm>
          <a:prstGeom prst="rect">
            <a:avLst/>
          </a:prstGeom>
        </p:spPr>
      </p:pic>
      <p:sp>
        <p:nvSpPr>
          <p:cNvPr id="8" name="TextBox 7">
            <a:extLst>
              <a:ext uri="{FF2B5EF4-FFF2-40B4-BE49-F238E27FC236}">
                <a16:creationId xmlns:a16="http://schemas.microsoft.com/office/drawing/2014/main" id="{FD655E0E-B1AA-4565-85E1-48DB5A79FF8E}"/>
              </a:ext>
            </a:extLst>
          </p:cNvPr>
          <p:cNvSpPr txBox="1"/>
          <p:nvPr/>
        </p:nvSpPr>
        <p:spPr>
          <a:xfrm>
            <a:off x="635194" y="2248584"/>
            <a:ext cx="3427255" cy="646331"/>
          </a:xfrm>
          <a:prstGeom prst="rect">
            <a:avLst/>
          </a:prstGeom>
          <a:noFill/>
        </p:spPr>
        <p:txBody>
          <a:bodyPr wrap="square" rtlCol="0">
            <a:spAutoFit/>
          </a:bodyPr>
          <a:lstStyle/>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O = </a:t>
            </a:r>
            <a:r>
              <a:rPr lang="en-US" sz="1100" b="1" i="0" dirty="0">
                <a:solidFill>
                  <a:srgbClr val="333333"/>
                </a:solidFill>
                <a:effectLst/>
                <a:latin typeface="Verdana" panose="020B0604030504040204" pitchFamily="34" charset="0"/>
              </a:rPr>
              <a:t>Observed</a:t>
            </a:r>
            <a:r>
              <a:rPr lang="en-US" sz="1100" b="0" i="0" dirty="0">
                <a:solidFill>
                  <a:srgbClr val="333333"/>
                </a:solidFill>
                <a:effectLst/>
                <a:latin typeface="Verdana" panose="020B0604030504040204" pitchFamily="34" charset="0"/>
              </a:rPr>
              <a:t> (actual) value</a:t>
            </a: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E = </a:t>
            </a:r>
            <a:r>
              <a:rPr lang="en-US" sz="1100" b="1" i="0" dirty="0">
                <a:solidFill>
                  <a:srgbClr val="333333"/>
                </a:solidFill>
                <a:effectLst/>
                <a:latin typeface="Verdana" panose="020B0604030504040204" pitchFamily="34" charset="0"/>
              </a:rPr>
              <a:t>Expected</a:t>
            </a:r>
            <a:r>
              <a:rPr lang="en-US" sz="1100" b="0" i="0" dirty="0">
                <a:solidFill>
                  <a:srgbClr val="333333"/>
                </a:solidFill>
                <a:effectLst/>
                <a:latin typeface="Verdana" panose="020B0604030504040204" pitchFamily="34" charset="0"/>
              </a:rPr>
              <a:t> value</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355B9CD5-0D5F-4914-8EFC-2ACC1BFA395E}"/>
                  </a:ext>
                </a:extLst>
              </p14:cNvPr>
              <p14:cNvContentPartPr/>
              <p14:nvPr/>
            </p14:nvContentPartPr>
            <p14:xfrm>
              <a:off x="4438800" y="795240"/>
              <a:ext cx="3410280" cy="1929240"/>
            </p14:xfrm>
          </p:contentPart>
        </mc:Choice>
        <mc:Fallback xmlns="">
          <p:pic>
            <p:nvPicPr>
              <p:cNvPr id="9" name="Ink 8">
                <a:extLst>
                  <a:ext uri="{FF2B5EF4-FFF2-40B4-BE49-F238E27FC236}">
                    <a16:creationId xmlns:a16="http://schemas.microsoft.com/office/drawing/2014/main" id="{355B9CD5-0D5F-4914-8EFC-2ACC1BFA395E}"/>
                  </a:ext>
                </a:extLst>
              </p:cNvPr>
              <p:cNvPicPr/>
              <p:nvPr/>
            </p:nvPicPr>
            <p:blipFill>
              <a:blip r:embed="rId4"/>
              <a:stretch>
                <a:fillRect/>
              </a:stretch>
            </p:blipFill>
            <p:spPr>
              <a:xfrm>
                <a:off x="4429440" y="785880"/>
                <a:ext cx="3429000" cy="1947960"/>
              </a:xfrm>
              <a:prstGeom prst="rect">
                <a:avLst/>
              </a:prstGeom>
            </p:spPr>
          </p:pic>
        </mc:Fallback>
      </mc:AlternateContent>
      <p:sp>
        <p:nvSpPr>
          <p:cNvPr id="10" name="TextBox 9">
            <a:extLst>
              <a:ext uri="{FF2B5EF4-FFF2-40B4-BE49-F238E27FC236}">
                <a16:creationId xmlns:a16="http://schemas.microsoft.com/office/drawing/2014/main" id="{3E2D1D32-A3A0-43EE-BEED-ADB0146C63E3}"/>
              </a:ext>
            </a:extLst>
          </p:cNvPr>
          <p:cNvSpPr txBox="1"/>
          <p:nvPr/>
        </p:nvSpPr>
        <p:spPr>
          <a:xfrm>
            <a:off x="4062449" y="2494226"/>
            <a:ext cx="2097536"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We get the answer &gt; </a:t>
            </a:r>
          </a:p>
        </p:txBody>
      </p:sp>
      <p:sp>
        <p:nvSpPr>
          <p:cNvPr id="11" name="TextBox 10">
            <a:extLst>
              <a:ext uri="{FF2B5EF4-FFF2-40B4-BE49-F238E27FC236}">
                <a16:creationId xmlns:a16="http://schemas.microsoft.com/office/drawing/2014/main" id="{3D8A0E40-0C54-4676-95DB-C59408CBB11E}"/>
              </a:ext>
            </a:extLst>
          </p:cNvPr>
          <p:cNvSpPr txBox="1"/>
          <p:nvPr/>
        </p:nvSpPr>
        <p:spPr>
          <a:xfrm>
            <a:off x="7077875" y="2494226"/>
            <a:ext cx="1347169"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est statistic</a:t>
            </a:r>
          </a:p>
        </p:txBody>
      </p:sp>
      <mc:AlternateContent xmlns:mc="http://schemas.openxmlformats.org/markup-compatibility/2006">
        <mc:Choice xmlns:p14="http://schemas.microsoft.com/office/powerpoint/2010/main" Requires="p14">
          <p:contentPart p14:bwMode="auto" r:id="rId5">
            <p14:nvContentPartPr>
              <p14:cNvPr id="2" name="Ink 1">
                <a:extLst>
                  <a:ext uri="{FF2B5EF4-FFF2-40B4-BE49-F238E27FC236}">
                    <a16:creationId xmlns:a16="http://schemas.microsoft.com/office/drawing/2014/main" id="{23EA2601-9C8D-42C0-A764-843103562CC8}"/>
                  </a:ext>
                </a:extLst>
              </p14:cNvPr>
              <p14:cNvContentPartPr/>
              <p14:nvPr/>
            </p14:nvContentPartPr>
            <p14:xfrm>
              <a:off x="1738440" y="1171440"/>
              <a:ext cx="1190880" cy="933840"/>
            </p14:xfrm>
          </p:contentPart>
        </mc:Choice>
        <mc:Fallback>
          <p:pic>
            <p:nvPicPr>
              <p:cNvPr id="2" name="Ink 1">
                <a:extLst>
                  <a:ext uri="{FF2B5EF4-FFF2-40B4-BE49-F238E27FC236}">
                    <a16:creationId xmlns:a16="http://schemas.microsoft.com/office/drawing/2014/main" id="{23EA2601-9C8D-42C0-A764-843103562CC8}"/>
                  </a:ext>
                </a:extLst>
              </p:cNvPr>
              <p:cNvPicPr/>
              <p:nvPr/>
            </p:nvPicPr>
            <p:blipFill>
              <a:blip r:embed="rId6"/>
              <a:stretch>
                <a:fillRect/>
              </a:stretch>
            </p:blipFill>
            <p:spPr>
              <a:xfrm>
                <a:off x="1729080" y="1162080"/>
                <a:ext cx="1209600" cy="952560"/>
              </a:xfrm>
              <a:prstGeom prst="rect">
                <a:avLst/>
              </a:prstGeom>
            </p:spPr>
          </p:pic>
        </mc:Fallback>
      </mc:AlternateContent>
      <p:pic>
        <p:nvPicPr>
          <p:cNvPr id="5" name="Picture 4">
            <a:extLst>
              <a:ext uri="{FF2B5EF4-FFF2-40B4-BE49-F238E27FC236}">
                <a16:creationId xmlns:a16="http://schemas.microsoft.com/office/drawing/2014/main" id="{6C1CF79C-6C5C-4741-AA54-67117483AB4D}"/>
              </a:ext>
            </a:extLst>
          </p:cNvPr>
          <p:cNvPicPr>
            <a:picLocks noChangeAspect="1"/>
          </p:cNvPicPr>
          <p:nvPr/>
        </p:nvPicPr>
        <p:blipFill>
          <a:blip r:embed="rId7"/>
          <a:stretch>
            <a:fillRect/>
          </a:stretch>
        </p:blipFill>
        <p:spPr>
          <a:xfrm>
            <a:off x="1968710" y="2611782"/>
            <a:ext cx="2074164" cy="2478024"/>
          </a:xfrm>
          <a:prstGeom prst="rect">
            <a:avLst/>
          </a:prstGeom>
        </p:spPr>
      </p:pic>
      <mc:AlternateContent xmlns:mc="http://schemas.openxmlformats.org/markup-compatibility/2006">
        <mc:Choice xmlns:p14="http://schemas.microsoft.com/office/powerpoint/2010/main" Requires="p14">
          <p:contentPart p14:bwMode="auto" r:id="rId8">
            <p14:nvContentPartPr>
              <p14:cNvPr id="7" name="Ink 6">
                <a:extLst>
                  <a:ext uri="{FF2B5EF4-FFF2-40B4-BE49-F238E27FC236}">
                    <a16:creationId xmlns:a16="http://schemas.microsoft.com/office/drawing/2014/main" id="{B844F890-9CAE-4E3A-9399-7BFA962262B5}"/>
                  </a:ext>
                </a:extLst>
              </p14:cNvPr>
              <p14:cNvContentPartPr/>
              <p14:nvPr/>
            </p14:nvContentPartPr>
            <p14:xfrm>
              <a:off x="2533680" y="1371600"/>
              <a:ext cx="6463080" cy="3700800"/>
            </p14:xfrm>
          </p:contentPart>
        </mc:Choice>
        <mc:Fallback>
          <p:pic>
            <p:nvPicPr>
              <p:cNvPr id="7" name="Ink 6">
                <a:extLst>
                  <a:ext uri="{FF2B5EF4-FFF2-40B4-BE49-F238E27FC236}">
                    <a16:creationId xmlns:a16="http://schemas.microsoft.com/office/drawing/2014/main" id="{B844F890-9CAE-4E3A-9399-7BFA962262B5}"/>
                  </a:ext>
                </a:extLst>
              </p:cNvPr>
              <p:cNvPicPr/>
              <p:nvPr/>
            </p:nvPicPr>
            <p:blipFill>
              <a:blip r:embed="rId9"/>
              <a:stretch>
                <a:fillRect/>
              </a:stretch>
            </p:blipFill>
            <p:spPr>
              <a:xfrm>
                <a:off x="2524320" y="1362240"/>
                <a:ext cx="6481800" cy="3719520"/>
              </a:xfrm>
              <a:prstGeom prst="rect">
                <a:avLst/>
              </a:prstGeom>
            </p:spPr>
          </p:pic>
        </mc:Fallback>
      </mc:AlternateContent>
    </p:spTree>
    <p:extLst>
      <p:ext uri="{BB962C8B-B14F-4D97-AF65-F5344CB8AC3E}">
        <p14:creationId xmlns:p14="http://schemas.microsoft.com/office/powerpoint/2010/main" val="906689852"/>
      </p:ext>
    </p:extLst>
  </p:cSld>
  <p:clrMapOvr>
    <a:masterClrMapping/>
  </p:clrMapOvr>
  <p:transition spd="med">
    <p:wipe dir="r"/>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941BF32-FA1F-4EB2-B3F9-409DBD4FF016}"/>
              </a:ext>
            </a:extLst>
          </p:cNvPr>
          <p:cNvSpPr>
            <a:spLocks noGrp="1"/>
          </p:cNvSpPr>
          <p:nvPr>
            <p:ph type="title"/>
          </p:nvPr>
        </p:nvSpPr>
        <p:spPr>
          <a:xfrm>
            <a:off x="0" y="0"/>
            <a:ext cx="8229600" cy="637794"/>
          </a:xfrm>
        </p:spPr>
        <p:txBody>
          <a:bodyPr/>
          <a:lstStyle/>
          <a:p>
            <a:r>
              <a:rPr lang="en-US" dirty="0"/>
              <a:t>Chi – Square Test - Example </a:t>
            </a:r>
          </a:p>
        </p:txBody>
      </p:sp>
      <p:sp>
        <p:nvSpPr>
          <p:cNvPr id="4" name="TextBox 3">
            <a:extLst>
              <a:ext uri="{FF2B5EF4-FFF2-40B4-BE49-F238E27FC236}">
                <a16:creationId xmlns:a16="http://schemas.microsoft.com/office/drawing/2014/main" id="{9F0396D1-FB13-4D7E-AF9D-0A6C4EB995D8}"/>
              </a:ext>
            </a:extLst>
          </p:cNvPr>
          <p:cNvSpPr txBox="1"/>
          <p:nvPr/>
        </p:nvSpPr>
        <p:spPr>
          <a:xfrm>
            <a:off x="167524" y="893460"/>
            <a:ext cx="457200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tep 5 : Conclusion</a:t>
            </a:r>
          </a:p>
        </p:txBody>
      </p:sp>
      <p:sp>
        <p:nvSpPr>
          <p:cNvPr id="5" name="TextBox 4">
            <a:extLst>
              <a:ext uri="{FF2B5EF4-FFF2-40B4-BE49-F238E27FC236}">
                <a16:creationId xmlns:a16="http://schemas.microsoft.com/office/drawing/2014/main" id="{1B80B70E-C840-4DA4-AC04-17C6486B2E8E}"/>
              </a:ext>
            </a:extLst>
          </p:cNvPr>
          <p:cNvSpPr txBox="1"/>
          <p:nvPr/>
        </p:nvSpPr>
        <p:spPr>
          <a:xfrm>
            <a:off x="244305" y="1456903"/>
            <a:ext cx="386002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s 15.29 &gt; 15.086, the test statistic falls in the rejection region.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So, we can reject Ho</a:t>
            </a:r>
          </a:p>
        </p:txBody>
      </p:sp>
      <p:sp>
        <p:nvSpPr>
          <p:cNvPr id="6" name="TextBox 5">
            <a:extLst>
              <a:ext uri="{FF2B5EF4-FFF2-40B4-BE49-F238E27FC236}">
                <a16:creationId xmlns:a16="http://schemas.microsoft.com/office/drawing/2014/main" id="{B874C92A-15CB-49FA-9787-838F46AF2801}"/>
              </a:ext>
            </a:extLst>
          </p:cNvPr>
          <p:cNvSpPr txBox="1"/>
          <p:nvPr/>
        </p:nvSpPr>
        <p:spPr>
          <a:xfrm>
            <a:off x="5095511" y="1120790"/>
            <a:ext cx="2324391"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o : Die is fair      </a:t>
            </a:r>
            <a:r>
              <a:rPr lang="en-US" sz="1400" dirty="0">
                <a:solidFill>
                  <a:srgbClr val="FF0000"/>
                </a:solidFill>
                <a:latin typeface="+mn-lt"/>
              </a:rPr>
              <a:t>(Reject)</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H1 : Die is unfair  </a:t>
            </a:r>
            <a:r>
              <a:rPr lang="en-US" sz="1400" dirty="0">
                <a:solidFill>
                  <a:schemeClr val="accent2"/>
                </a:solidFill>
                <a:latin typeface="+mn-lt"/>
              </a:rPr>
              <a:t>(Accept)</a:t>
            </a:r>
          </a:p>
        </p:txBody>
      </p:sp>
      <p:sp>
        <p:nvSpPr>
          <p:cNvPr id="7" name="Rectangle 6">
            <a:extLst>
              <a:ext uri="{FF2B5EF4-FFF2-40B4-BE49-F238E27FC236}">
                <a16:creationId xmlns:a16="http://schemas.microsoft.com/office/drawing/2014/main" id="{56493FED-5103-4E34-9550-123938860546}"/>
              </a:ext>
            </a:extLst>
          </p:cNvPr>
          <p:cNvSpPr/>
          <p:nvPr/>
        </p:nvSpPr>
        <p:spPr>
          <a:xfrm>
            <a:off x="4971612" y="1050989"/>
            <a:ext cx="2629774" cy="966275"/>
          </a:xfrm>
          <a:prstGeom prst="rect">
            <a:avLst/>
          </a:prstGeom>
          <a:noFill/>
          <a:ln w="12700" cmpd="sng">
            <a:solidFill>
              <a:schemeClr val="accent1"/>
            </a:solidFill>
            <a:extLst>
              <a:ext uri="{C807C97D-BFC1-408E-A445-0C87EB9F89A2}">
                <ask:lineSketchStyleProps xmlns:ask="http://schemas.microsoft.com/office/drawing/2018/sketchyshapes">
                  <ask:type>
                    <ask:lineSketchNone/>
                  </ask:type>
                </ask:lineSketchStyleProps>
              </a:ext>
            </a:extLst>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mc:Choice xmlns:p14="http://schemas.microsoft.com/office/powerpoint/2010/main" Requires="p14">
          <p:contentPart p14:bwMode="auto" r:id="rId2">
            <p14:nvContentPartPr>
              <p14:cNvPr id="9" name="Ink 8">
                <a:extLst>
                  <a:ext uri="{FF2B5EF4-FFF2-40B4-BE49-F238E27FC236}">
                    <a16:creationId xmlns:a16="http://schemas.microsoft.com/office/drawing/2014/main" id="{B141545A-06AE-4FA7-B763-89796E5459B5}"/>
                  </a:ext>
                </a:extLst>
              </p14:cNvPr>
              <p14:cNvContentPartPr/>
              <p14:nvPr/>
            </p14:nvContentPartPr>
            <p14:xfrm>
              <a:off x="4680" y="928800"/>
              <a:ext cx="7768080" cy="3110040"/>
            </p14:xfrm>
          </p:contentPart>
        </mc:Choice>
        <mc:Fallback>
          <p:pic>
            <p:nvPicPr>
              <p:cNvPr id="9" name="Ink 8">
                <a:extLst>
                  <a:ext uri="{FF2B5EF4-FFF2-40B4-BE49-F238E27FC236}">
                    <a16:creationId xmlns:a16="http://schemas.microsoft.com/office/drawing/2014/main" id="{B141545A-06AE-4FA7-B763-89796E5459B5}"/>
                  </a:ext>
                </a:extLst>
              </p:cNvPr>
              <p:cNvPicPr/>
              <p:nvPr/>
            </p:nvPicPr>
            <p:blipFill>
              <a:blip r:embed="rId3"/>
              <a:stretch>
                <a:fillRect/>
              </a:stretch>
            </p:blipFill>
            <p:spPr>
              <a:xfrm>
                <a:off x="-4680" y="919440"/>
                <a:ext cx="7786800" cy="3128760"/>
              </a:xfrm>
              <a:prstGeom prst="rect">
                <a:avLst/>
              </a:prstGeom>
            </p:spPr>
          </p:pic>
        </mc:Fallback>
      </mc:AlternateContent>
    </p:spTree>
    <p:extLst>
      <p:ext uri="{BB962C8B-B14F-4D97-AF65-F5344CB8AC3E}">
        <p14:creationId xmlns:p14="http://schemas.microsoft.com/office/powerpoint/2010/main" val="714754344"/>
      </p:ext>
    </p:extLst>
  </p:cSld>
  <p:clrMapOvr>
    <a:masterClrMapping/>
  </p:clrMapOvr>
  <p:transition spd="med">
    <p:wipe dir="r"/>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DB0E6-9A2A-4F38-BB7B-148345983562}"/>
              </a:ext>
            </a:extLst>
          </p:cNvPr>
          <p:cNvSpPr>
            <a:spLocks noGrp="1"/>
          </p:cNvSpPr>
          <p:nvPr>
            <p:ph type="title"/>
          </p:nvPr>
        </p:nvSpPr>
        <p:spPr>
          <a:xfrm>
            <a:off x="0" y="0"/>
            <a:ext cx="8229600" cy="637794"/>
          </a:xfrm>
        </p:spPr>
        <p:txBody>
          <a:bodyPr/>
          <a:lstStyle/>
          <a:p>
            <a:r>
              <a:rPr lang="en-US" dirty="0"/>
              <a:t>Chi – Squared Test – Another Example</a:t>
            </a:r>
          </a:p>
        </p:txBody>
      </p:sp>
      <p:pic>
        <p:nvPicPr>
          <p:cNvPr id="4" name="Picture 3">
            <a:extLst>
              <a:ext uri="{FF2B5EF4-FFF2-40B4-BE49-F238E27FC236}">
                <a16:creationId xmlns:a16="http://schemas.microsoft.com/office/drawing/2014/main" id="{406509F0-BDC3-42E5-9D8C-D6802B3F4643}"/>
              </a:ext>
            </a:extLst>
          </p:cNvPr>
          <p:cNvPicPr>
            <a:picLocks noChangeAspect="1"/>
          </p:cNvPicPr>
          <p:nvPr/>
        </p:nvPicPr>
        <p:blipFill>
          <a:blip r:embed="rId2"/>
          <a:stretch>
            <a:fillRect/>
          </a:stretch>
        </p:blipFill>
        <p:spPr>
          <a:xfrm>
            <a:off x="981112" y="637794"/>
            <a:ext cx="6162675" cy="942975"/>
          </a:xfrm>
          <a:prstGeom prst="rect">
            <a:avLst/>
          </a:prstGeom>
        </p:spPr>
      </p:pic>
      <mc:AlternateContent xmlns:mc="http://schemas.openxmlformats.org/markup-compatibility/2006">
        <mc:Choice xmlns:p14="http://schemas.microsoft.com/office/powerpoint/2010/main" Requires="p14">
          <p:contentPart p14:bwMode="auto" r:id="rId3">
            <p14:nvContentPartPr>
              <p14:cNvPr id="5" name="Ink 4">
                <a:extLst>
                  <a:ext uri="{FF2B5EF4-FFF2-40B4-BE49-F238E27FC236}">
                    <a16:creationId xmlns:a16="http://schemas.microsoft.com/office/drawing/2014/main" id="{1F5A08E9-0C79-42E1-8A60-EDA56B236587}"/>
                  </a:ext>
                </a:extLst>
              </p14:cNvPr>
              <p14:cNvContentPartPr/>
              <p14:nvPr/>
            </p14:nvContentPartPr>
            <p14:xfrm>
              <a:off x="95400" y="328680"/>
              <a:ext cx="8825040" cy="4810320"/>
            </p14:xfrm>
          </p:contentPart>
        </mc:Choice>
        <mc:Fallback>
          <p:pic>
            <p:nvPicPr>
              <p:cNvPr id="5" name="Ink 4">
                <a:extLst>
                  <a:ext uri="{FF2B5EF4-FFF2-40B4-BE49-F238E27FC236}">
                    <a16:creationId xmlns:a16="http://schemas.microsoft.com/office/drawing/2014/main" id="{1F5A08E9-0C79-42E1-8A60-EDA56B236587}"/>
                  </a:ext>
                </a:extLst>
              </p:cNvPr>
              <p:cNvPicPr/>
              <p:nvPr/>
            </p:nvPicPr>
            <p:blipFill>
              <a:blip r:embed="rId4"/>
              <a:stretch>
                <a:fillRect/>
              </a:stretch>
            </p:blipFill>
            <p:spPr>
              <a:xfrm>
                <a:off x="86040" y="319320"/>
                <a:ext cx="8843760" cy="4829040"/>
              </a:xfrm>
              <a:prstGeom prst="rect">
                <a:avLst/>
              </a:prstGeom>
            </p:spPr>
          </p:pic>
        </mc:Fallback>
      </mc:AlternateContent>
    </p:spTree>
    <p:extLst>
      <p:ext uri="{BB962C8B-B14F-4D97-AF65-F5344CB8AC3E}">
        <p14:creationId xmlns:p14="http://schemas.microsoft.com/office/powerpoint/2010/main" val="3040443388"/>
      </p:ext>
    </p:extLst>
  </p:cSld>
  <p:clrMapOvr>
    <a:masterClrMapping/>
  </p:clrMapOvr>
  <p:transition spd="med">
    <p:wipe dir="r"/>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7253"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75611"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ANOVA</a:t>
            </a:r>
            <a:br>
              <a:rPr lang="en-US" sz="4800" dirty="0">
                <a:solidFill>
                  <a:schemeClr val="tx2"/>
                </a:solidFill>
              </a:rPr>
            </a:br>
            <a:r>
              <a:rPr lang="en-US" sz="2400" b="1" dirty="0">
                <a:solidFill>
                  <a:schemeClr val="tx2"/>
                </a:solidFill>
              </a:rPr>
              <a:t>Analysis of Variance</a:t>
            </a:r>
            <a:br>
              <a:rPr lang="en-US" dirty="0"/>
            </a:br>
            <a:br>
              <a:rPr lang="en-US" dirty="0"/>
            </a:br>
            <a:r>
              <a:rPr lang="en-US" dirty="0"/>
              <a:t> </a:t>
            </a:r>
          </a:p>
        </p:txBody>
      </p:sp>
    </p:spTree>
    <p:extLst>
      <p:ext uri="{BB962C8B-B14F-4D97-AF65-F5344CB8AC3E}">
        <p14:creationId xmlns:p14="http://schemas.microsoft.com/office/powerpoint/2010/main" val="3454690054"/>
      </p:ext>
    </p:extLst>
  </p:cSld>
  <p:clrMapOvr>
    <a:masterClrMapping/>
  </p:clrMapOvr>
  <p:transition spd="med">
    <p:wipe dir="r"/>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A66E8-D237-4D26-8C70-0F86D223B760}"/>
              </a:ext>
            </a:extLst>
          </p:cNvPr>
          <p:cNvSpPr>
            <a:spLocks noGrp="1"/>
          </p:cNvSpPr>
          <p:nvPr>
            <p:ph type="title"/>
          </p:nvPr>
        </p:nvSpPr>
        <p:spPr>
          <a:xfrm>
            <a:off x="0" y="0"/>
            <a:ext cx="8229600" cy="637794"/>
          </a:xfrm>
        </p:spPr>
        <p:txBody>
          <a:bodyPr/>
          <a:lstStyle/>
          <a:p>
            <a:r>
              <a:rPr lang="en-US" dirty="0"/>
              <a:t>ANOVA test – Analysis of variance test</a:t>
            </a:r>
          </a:p>
        </p:txBody>
      </p:sp>
      <p:sp>
        <p:nvSpPr>
          <p:cNvPr id="3" name="TextBox 2">
            <a:extLst>
              <a:ext uri="{FF2B5EF4-FFF2-40B4-BE49-F238E27FC236}">
                <a16:creationId xmlns:a16="http://schemas.microsoft.com/office/drawing/2014/main" id="{43E97DC9-A922-45D3-BD35-CAAB1955C1EB}"/>
              </a:ext>
            </a:extLst>
          </p:cNvPr>
          <p:cNvSpPr txBox="1"/>
          <p:nvPr/>
        </p:nvSpPr>
        <p:spPr>
          <a:xfrm>
            <a:off x="125642" y="637794"/>
            <a:ext cx="5681845" cy="30777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
            </a:pPr>
            <a:r>
              <a:rPr lang="en-US" sz="1400" dirty="0">
                <a:solidFill>
                  <a:schemeClr val="bg2"/>
                </a:solidFill>
                <a:latin typeface="+mn-lt"/>
              </a:rPr>
              <a:t>How do we compare means of many population groups? </a:t>
            </a:r>
          </a:p>
        </p:txBody>
      </p:sp>
      <p:sp>
        <p:nvSpPr>
          <p:cNvPr id="4" name="TextBox 3">
            <a:extLst>
              <a:ext uri="{FF2B5EF4-FFF2-40B4-BE49-F238E27FC236}">
                <a16:creationId xmlns:a16="http://schemas.microsoft.com/office/drawing/2014/main" id="{9D10767D-9279-494C-B706-3FAA9209CEBB}"/>
              </a:ext>
            </a:extLst>
          </p:cNvPr>
          <p:cNvSpPr txBox="1"/>
          <p:nvPr/>
        </p:nvSpPr>
        <p:spPr>
          <a:xfrm>
            <a:off x="202424" y="1200586"/>
            <a:ext cx="8278461" cy="52322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Concept :   </a:t>
            </a:r>
            <a:r>
              <a:rPr lang="en-US" sz="1400" dirty="0">
                <a:solidFill>
                  <a:schemeClr val="bg2"/>
                </a:solidFill>
                <a:latin typeface="+mn-lt"/>
              </a:rPr>
              <a:t>This is a kind of Hypothesis Testing.</a:t>
            </a:r>
          </a:p>
          <a:p>
            <a:pPr>
              <a:spcBef>
                <a:spcPts val="0"/>
              </a:spcBef>
              <a:spcAft>
                <a:spcPts val="0"/>
              </a:spcAft>
              <a:buClr>
                <a:schemeClr val="bg1"/>
              </a:buClr>
            </a:pPr>
            <a:r>
              <a:rPr lang="en-US" sz="1400" dirty="0">
                <a:solidFill>
                  <a:schemeClr val="bg2"/>
                </a:solidFill>
                <a:latin typeface="+mn-lt"/>
              </a:rPr>
              <a:t>	 We can compare population means of 2 or more groups</a:t>
            </a:r>
          </a:p>
        </p:txBody>
      </p:sp>
      <p:sp>
        <p:nvSpPr>
          <p:cNvPr id="5" name="TextBox 4">
            <a:extLst>
              <a:ext uri="{FF2B5EF4-FFF2-40B4-BE49-F238E27FC236}">
                <a16:creationId xmlns:a16="http://schemas.microsoft.com/office/drawing/2014/main" id="{1276F743-A935-427F-96B0-700891FF53E8}"/>
              </a:ext>
            </a:extLst>
          </p:cNvPr>
          <p:cNvSpPr txBox="1"/>
          <p:nvPr/>
        </p:nvSpPr>
        <p:spPr>
          <a:xfrm>
            <a:off x="202424" y="2010284"/>
            <a:ext cx="5542242" cy="52322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Assume </a:t>
            </a:r>
            <a:r>
              <a:rPr lang="en-US" sz="1400" dirty="0">
                <a:solidFill>
                  <a:schemeClr val="bg2"/>
                </a:solidFill>
                <a:latin typeface="+mn-lt"/>
              </a:rPr>
              <a:t>	Ho :  </a:t>
            </a:r>
            <a:r>
              <a:rPr lang="el-GR" sz="1400" dirty="0">
                <a:solidFill>
                  <a:schemeClr val="bg2"/>
                </a:solidFill>
                <a:latin typeface="+mn-lt"/>
              </a:rPr>
              <a:t>μ</a:t>
            </a:r>
            <a:r>
              <a:rPr lang="en-US" sz="1400" dirty="0">
                <a:solidFill>
                  <a:schemeClr val="bg2"/>
                </a:solidFill>
                <a:latin typeface="+mn-lt"/>
              </a:rPr>
              <a:t>1 = </a:t>
            </a:r>
            <a:r>
              <a:rPr lang="el-GR" sz="1400" dirty="0">
                <a:solidFill>
                  <a:schemeClr val="bg2"/>
                </a:solidFill>
                <a:latin typeface="+mn-lt"/>
              </a:rPr>
              <a:t>μ</a:t>
            </a:r>
            <a:r>
              <a:rPr lang="en-US" sz="1400" dirty="0">
                <a:solidFill>
                  <a:schemeClr val="bg2"/>
                </a:solidFill>
                <a:latin typeface="+mn-lt"/>
              </a:rPr>
              <a:t>2 = </a:t>
            </a:r>
            <a:r>
              <a:rPr lang="el-GR" sz="1400" dirty="0">
                <a:solidFill>
                  <a:schemeClr val="bg2"/>
                </a:solidFill>
                <a:latin typeface="+mn-lt"/>
              </a:rPr>
              <a:t>μ</a:t>
            </a:r>
            <a:r>
              <a:rPr lang="en-US" sz="1400" dirty="0">
                <a:solidFill>
                  <a:schemeClr val="bg2"/>
                </a:solidFill>
                <a:latin typeface="+mn-lt"/>
              </a:rPr>
              <a:t>3 = ……= </a:t>
            </a:r>
            <a:r>
              <a:rPr lang="el-GR" sz="1400" dirty="0">
                <a:solidFill>
                  <a:schemeClr val="bg2"/>
                </a:solidFill>
                <a:latin typeface="+mn-lt"/>
              </a:rPr>
              <a:t>μ</a:t>
            </a:r>
            <a:r>
              <a:rPr lang="en-US" sz="1400" dirty="0">
                <a:solidFill>
                  <a:schemeClr val="bg2"/>
                </a:solidFill>
                <a:latin typeface="+mn-lt"/>
              </a:rPr>
              <a:t>k	“k” is population</a:t>
            </a:r>
          </a:p>
          <a:p>
            <a:pPr>
              <a:spcBef>
                <a:spcPts val="0"/>
              </a:spcBef>
              <a:spcAft>
                <a:spcPts val="0"/>
              </a:spcAft>
              <a:buClr>
                <a:schemeClr val="bg1"/>
              </a:buClr>
            </a:pPr>
            <a:r>
              <a:rPr lang="en-US" sz="1400" dirty="0">
                <a:solidFill>
                  <a:schemeClr val="bg2"/>
                </a:solidFill>
                <a:latin typeface="+mn-lt"/>
              </a:rPr>
              <a:t>	Ha : At least one mean differs from the other</a:t>
            </a:r>
          </a:p>
        </p:txBody>
      </p:sp>
      <p:sp>
        <p:nvSpPr>
          <p:cNvPr id="6" name="TextBox 5">
            <a:extLst>
              <a:ext uri="{FF2B5EF4-FFF2-40B4-BE49-F238E27FC236}">
                <a16:creationId xmlns:a16="http://schemas.microsoft.com/office/drawing/2014/main" id="{F348DBAF-FD83-444B-B780-3A46D4BA18C0}"/>
              </a:ext>
            </a:extLst>
          </p:cNvPr>
          <p:cNvSpPr txBox="1"/>
          <p:nvPr/>
        </p:nvSpPr>
        <p:spPr>
          <a:xfrm>
            <a:off x="202424" y="3162009"/>
            <a:ext cx="2533796" cy="95410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Objective of ANOVA is to </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Reject Ho</a:t>
            </a: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Fail to Reject Ho</a:t>
            </a:r>
          </a:p>
        </p:txBody>
      </p:sp>
      <p:sp>
        <p:nvSpPr>
          <p:cNvPr id="7" name="TextBox 6">
            <a:extLst>
              <a:ext uri="{FF2B5EF4-FFF2-40B4-BE49-F238E27FC236}">
                <a16:creationId xmlns:a16="http://schemas.microsoft.com/office/drawing/2014/main" id="{ACD78F9F-3655-4682-8404-59F42DBECB28}"/>
              </a:ext>
            </a:extLst>
          </p:cNvPr>
          <p:cNvSpPr txBox="1"/>
          <p:nvPr/>
        </p:nvSpPr>
        <p:spPr>
          <a:xfrm>
            <a:off x="4572000" y="2988807"/>
            <a:ext cx="4188092"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There are other techniques like</a:t>
            </a:r>
          </a:p>
          <a:p>
            <a:pPr>
              <a:spcBef>
                <a:spcPts val="0"/>
              </a:spcBef>
              <a:spcAft>
                <a:spcPts val="0"/>
              </a:spcAft>
              <a:buClr>
                <a:schemeClr val="bg1"/>
              </a:buClr>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ü"/>
            </a:pPr>
            <a:r>
              <a:rPr lang="en-US" sz="1400" dirty="0">
                <a:solidFill>
                  <a:schemeClr val="bg2"/>
                </a:solidFill>
                <a:latin typeface="+mn-lt"/>
              </a:rPr>
              <a:t>Independent Sample : t - test </a:t>
            </a:r>
          </a:p>
          <a:p>
            <a:pPr marL="285750" indent="-285750">
              <a:spcBef>
                <a:spcPts val="0"/>
              </a:spcBef>
              <a:spcAft>
                <a:spcPts val="0"/>
              </a:spcAft>
              <a:buClr>
                <a:schemeClr val="bg1"/>
              </a:buClr>
              <a:buFont typeface="Wingdings" panose="05000000000000000000" pitchFamily="2" charset="2"/>
              <a:buChar char="ü"/>
            </a:pPr>
            <a:r>
              <a:rPr lang="en-US" sz="1400" dirty="0">
                <a:solidFill>
                  <a:schemeClr val="bg2"/>
                </a:solidFill>
                <a:latin typeface="+mn-lt"/>
              </a:rPr>
              <a:t>Dependent Samples : t – test</a:t>
            </a:r>
          </a:p>
          <a:p>
            <a:pPr marL="285750" indent="-285750">
              <a:spcBef>
                <a:spcPts val="0"/>
              </a:spcBef>
              <a:spcAft>
                <a:spcPts val="0"/>
              </a:spcAft>
              <a:buClr>
                <a:schemeClr val="bg1"/>
              </a:buClr>
              <a:buFont typeface="Wingdings" panose="05000000000000000000" pitchFamily="2" charset="2"/>
              <a:buChar char="ü"/>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ü"/>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Note : Both can compare just two population parameters. Hence ANOVA is more common</a:t>
            </a:r>
          </a:p>
        </p:txBody>
      </p:sp>
      <p:sp>
        <p:nvSpPr>
          <p:cNvPr id="8" name="Rectangle 7">
            <a:extLst>
              <a:ext uri="{FF2B5EF4-FFF2-40B4-BE49-F238E27FC236}">
                <a16:creationId xmlns:a16="http://schemas.microsoft.com/office/drawing/2014/main" id="{56446D54-BCC2-4B06-A9B0-6049DAF9A7E4}"/>
              </a:ext>
            </a:extLst>
          </p:cNvPr>
          <p:cNvSpPr/>
          <p:nvPr/>
        </p:nvSpPr>
        <p:spPr>
          <a:xfrm>
            <a:off x="125642" y="3162009"/>
            <a:ext cx="2771121" cy="1151725"/>
          </a:xfrm>
          <a:prstGeom prst="rect">
            <a:avLst/>
          </a:prstGeom>
          <a:noFill/>
          <a:ln w="19050" cmpd="sng">
            <a:solidFill>
              <a:schemeClr val="tx1"/>
            </a:solidFill>
            <a:prstDash val="dash"/>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9" name="Rectangle 8">
            <a:extLst>
              <a:ext uri="{FF2B5EF4-FFF2-40B4-BE49-F238E27FC236}">
                <a16:creationId xmlns:a16="http://schemas.microsoft.com/office/drawing/2014/main" id="{FAB1B9EE-A4DE-4E07-9FDF-6D70164D42A5}"/>
              </a:ext>
            </a:extLst>
          </p:cNvPr>
          <p:cNvSpPr/>
          <p:nvPr/>
        </p:nvSpPr>
        <p:spPr>
          <a:xfrm>
            <a:off x="4473113" y="2995741"/>
            <a:ext cx="4007772" cy="1815882"/>
          </a:xfrm>
          <a:prstGeom prst="rect">
            <a:avLst/>
          </a:prstGeom>
          <a:noFill/>
          <a:ln w="19050" cmpd="sng">
            <a:solidFill>
              <a:schemeClr val="tx1"/>
            </a:solidFill>
            <a:prstDash val="dash"/>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Rectangle 9">
            <a:extLst>
              <a:ext uri="{FF2B5EF4-FFF2-40B4-BE49-F238E27FC236}">
                <a16:creationId xmlns:a16="http://schemas.microsoft.com/office/drawing/2014/main" id="{64DEDDFF-F393-448B-87ED-CE1E68B9EC4A}"/>
              </a:ext>
            </a:extLst>
          </p:cNvPr>
          <p:cNvSpPr/>
          <p:nvPr/>
        </p:nvSpPr>
        <p:spPr>
          <a:xfrm>
            <a:off x="202424" y="2010284"/>
            <a:ext cx="5605063" cy="561466"/>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mc:Choice xmlns:p14="http://schemas.microsoft.com/office/powerpoint/2010/main" Requires="p14">
          <p:contentPart p14:bwMode="auto" r:id="rId2">
            <p14:nvContentPartPr>
              <p14:cNvPr id="11" name="Ink 10">
                <a:extLst>
                  <a:ext uri="{FF2B5EF4-FFF2-40B4-BE49-F238E27FC236}">
                    <a16:creationId xmlns:a16="http://schemas.microsoft.com/office/drawing/2014/main" id="{6AD0D97E-DDE9-4DDE-8588-EE7E2ED5A101}"/>
                  </a:ext>
                </a:extLst>
              </p14:cNvPr>
              <p14:cNvContentPartPr/>
              <p14:nvPr/>
            </p14:nvContentPartPr>
            <p14:xfrm>
              <a:off x="723960" y="380880"/>
              <a:ext cx="7453440" cy="3200760"/>
            </p14:xfrm>
          </p:contentPart>
        </mc:Choice>
        <mc:Fallback>
          <p:pic>
            <p:nvPicPr>
              <p:cNvPr id="11" name="Ink 10">
                <a:extLst>
                  <a:ext uri="{FF2B5EF4-FFF2-40B4-BE49-F238E27FC236}">
                    <a16:creationId xmlns:a16="http://schemas.microsoft.com/office/drawing/2014/main" id="{6AD0D97E-DDE9-4DDE-8588-EE7E2ED5A101}"/>
                  </a:ext>
                </a:extLst>
              </p:cNvPr>
              <p:cNvPicPr/>
              <p:nvPr/>
            </p:nvPicPr>
            <p:blipFill>
              <a:blip r:embed="rId3"/>
              <a:stretch>
                <a:fillRect/>
              </a:stretch>
            </p:blipFill>
            <p:spPr>
              <a:xfrm>
                <a:off x="714600" y="371520"/>
                <a:ext cx="7472160" cy="3219480"/>
              </a:xfrm>
              <a:prstGeom prst="rect">
                <a:avLst/>
              </a:prstGeom>
            </p:spPr>
          </p:pic>
        </mc:Fallback>
      </mc:AlternateContent>
    </p:spTree>
    <p:extLst>
      <p:ext uri="{BB962C8B-B14F-4D97-AF65-F5344CB8AC3E}">
        <p14:creationId xmlns:p14="http://schemas.microsoft.com/office/powerpoint/2010/main" val="1648293464"/>
      </p:ext>
    </p:extLst>
  </p:cSld>
  <p:clrMapOvr>
    <a:masterClrMapping/>
  </p:clrMapOvr>
  <p:transition spd="med">
    <p:wipe dir="r"/>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DAE2F-1AA9-4EC5-8DC1-8236D7439DCE}"/>
              </a:ext>
            </a:extLst>
          </p:cNvPr>
          <p:cNvSpPr>
            <a:spLocks noGrp="1"/>
          </p:cNvSpPr>
          <p:nvPr>
            <p:ph type="title"/>
          </p:nvPr>
        </p:nvSpPr>
        <p:spPr>
          <a:xfrm>
            <a:off x="0" y="0"/>
            <a:ext cx="8229600" cy="637794"/>
          </a:xfrm>
        </p:spPr>
        <p:txBody>
          <a:bodyPr/>
          <a:lstStyle/>
          <a:p>
            <a:r>
              <a:rPr lang="en-US" dirty="0"/>
              <a:t>Types of ANOVA</a:t>
            </a:r>
          </a:p>
        </p:txBody>
      </p:sp>
      <p:sp>
        <p:nvSpPr>
          <p:cNvPr id="3" name="Rectangle 2">
            <a:extLst>
              <a:ext uri="{FF2B5EF4-FFF2-40B4-BE49-F238E27FC236}">
                <a16:creationId xmlns:a16="http://schemas.microsoft.com/office/drawing/2014/main" id="{C1C0A60B-2589-4BF0-9AF4-E1D1ED4A2B1F}"/>
              </a:ext>
            </a:extLst>
          </p:cNvPr>
          <p:cNvSpPr/>
          <p:nvPr/>
        </p:nvSpPr>
        <p:spPr>
          <a:xfrm>
            <a:off x="2819982" y="481630"/>
            <a:ext cx="3224831" cy="942321"/>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ANOVA</a:t>
            </a:r>
          </a:p>
        </p:txBody>
      </p:sp>
      <p:sp>
        <p:nvSpPr>
          <p:cNvPr id="4" name="Rectangle 3">
            <a:extLst>
              <a:ext uri="{FF2B5EF4-FFF2-40B4-BE49-F238E27FC236}">
                <a16:creationId xmlns:a16="http://schemas.microsoft.com/office/drawing/2014/main" id="{798282BB-904B-4D09-9CF8-C1CF0860CDAC}"/>
              </a:ext>
            </a:extLst>
          </p:cNvPr>
          <p:cNvSpPr/>
          <p:nvPr/>
        </p:nvSpPr>
        <p:spPr>
          <a:xfrm>
            <a:off x="889969" y="1922159"/>
            <a:ext cx="3224831" cy="942321"/>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ne Way ANOVA</a:t>
            </a:r>
          </a:p>
        </p:txBody>
      </p:sp>
      <p:sp>
        <p:nvSpPr>
          <p:cNvPr id="6" name="Rectangle 5">
            <a:extLst>
              <a:ext uri="{FF2B5EF4-FFF2-40B4-BE49-F238E27FC236}">
                <a16:creationId xmlns:a16="http://schemas.microsoft.com/office/drawing/2014/main" id="{A182C0A3-8070-4DA7-BCBA-94B0D2EF1081}"/>
              </a:ext>
            </a:extLst>
          </p:cNvPr>
          <p:cNvSpPr/>
          <p:nvPr/>
        </p:nvSpPr>
        <p:spPr>
          <a:xfrm>
            <a:off x="5081550" y="1922159"/>
            <a:ext cx="3224831" cy="942321"/>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Two way ANOVA</a:t>
            </a:r>
          </a:p>
        </p:txBody>
      </p:sp>
      <p:cxnSp>
        <p:nvCxnSpPr>
          <p:cNvPr id="8" name="Straight Arrow Connector 7">
            <a:extLst>
              <a:ext uri="{FF2B5EF4-FFF2-40B4-BE49-F238E27FC236}">
                <a16:creationId xmlns:a16="http://schemas.microsoft.com/office/drawing/2014/main" id="{19C99BEB-3D42-4295-BCFF-837969C462F5}"/>
              </a:ext>
            </a:extLst>
          </p:cNvPr>
          <p:cNvCxnSpPr>
            <a:stCxn id="3" idx="2"/>
            <a:endCxn id="4" idx="0"/>
          </p:cNvCxnSpPr>
          <p:nvPr/>
        </p:nvCxnSpPr>
        <p:spPr>
          <a:xfrm flipH="1">
            <a:off x="2502385" y="1423951"/>
            <a:ext cx="1930013" cy="49820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ECA4618C-74AF-4EC9-814A-406EDE5A667E}"/>
              </a:ext>
            </a:extLst>
          </p:cNvPr>
          <p:cNvCxnSpPr>
            <a:stCxn id="3" idx="2"/>
            <a:endCxn id="6" idx="0"/>
          </p:cNvCxnSpPr>
          <p:nvPr/>
        </p:nvCxnSpPr>
        <p:spPr>
          <a:xfrm>
            <a:off x="4432398" y="1423951"/>
            <a:ext cx="2261568" cy="498208"/>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D46705F4-C4EF-46D9-B738-8C97313D5D63}"/>
              </a:ext>
            </a:extLst>
          </p:cNvPr>
          <p:cNvSpPr txBox="1"/>
          <p:nvPr/>
        </p:nvSpPr>
        <p:spPr>
          <a:xfrm>
            <a:off x="889968" y="3205292"/>
            <a:ext cx="3053817" cy="738664"/>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One Independent variabl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Only one ‘p’ value is obtained</a:t>
            </a:r>
          </a:p>
        </p:txBody>
      </p:sp>
      <p:sp>
        <p:nvSpPr>
          <p:cNvPr id="16" name="TextBox 15">
            <a:extLst>
              <a:ext uri="{FF2B5EF4-FFF2-40B4-BE49-F238E27FC236}">
                <a16:creationId xmlns:a16="http://schemas.microsoft.com/office/drawing/2014/main" id="{7B545D8C-0E6D-4157-B7EF-EE2647D5E863}"/>
              </a:ext>
            </a:extLst>
          </p:cNvPr>
          <p:cNvSpPr txBox="1"/>
          <p:nvPr/>
        </p:nvSpPr>
        <p:spPr>
          <a:xfrm>
            <a:off x="5252564" y="3205292"/>
            <a:ext cx="3053817" cy="954107"/>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wo Independent variabl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ree different ‘p’ value is obtained</a:t>
            </a:r>
          </a:p>
        </p:txBody>
      </p:sp>
      <mc:AlternateContent xmlns:mc="http://schemas.openxmlformats.org/markup-compatibility/2006">
        <mc:Choice xmlns:p14="http://schemas.microsoft.com/office/powerpoint/2010/main" Requires="p14">
          <p:contentPart p14:bwMode="auto" r:id="rId2">
            <p14:nvContentPartPr>
              <p14:cNvPr id="17" name="Ink 16">
                <a:extLst>
                  <a:ext uri="{FF2B5EF4-FFF2-40B4-BE49-F238E27FC236}">
                    <a16:creationId xmlns:a16="http://schemas.microsoft.com/office/drawing/2014/main" id="{01DCC5D3-1345-416A-AEFF-6F1912F8328A}"/>
                  </a:ext>
                </a:extLst>
              </p14:cNvPr>
              <p14:cNvContentPartPr/>
              <p14:nvPr/>
            </p14:nvContentPartPr>
            <p14:xfrm>
              <a:off x="314280" y="237960"/>
              <a:ext cx="8587080" cy="4829760"/>
            </p14:xfrm>
          </p:contentPart>
        </mc:Choice>
        <mc:Fallback>
          <p:pic>
            <p:nvPicPr>
              <p:cNvPr id="17" name="Ink 16">
                <a:extLst>
                  <a:ext uri="{FF2B5EF4-FFF2-40B4-BE49-F238E27FC236}">
                    <a16:creationId xmlns:a16="http://schemas.microsoft.com/office/drawing/2014/main" id="{01DCC5D3-1345-416A-AEFF-6F1912F8328A}"/>
                  </a:ext>
                </a:extLst>
              </p:cNvPr>
              <p:cNvPicPr/>
              <p:nvPr/>
            </p:nvPicPr>
            <p:blipFill>
              <a:blip r:embed="rId3"/>
              <a:stretch>
                <a:fillRect/>
              </a:stretch>
            </p:blipFill>
            <p:spPr>
              <a:xfrm>
                <a:off x="304920" y="228600"/>
                <a:ext cx="8605800" cy="4848480"/>
              </a:xfrm>
              <a:prstGeom prst="rect">
                <a:avLst/>
              </a:prstGeom>
            </p:spPr>
          </p:pic>
        </mc:Fallback>
      </mc:AlternateContent>
    </p:spTree>
    <p:extLst>
      <p:ext uri="{BB962C8B-B14F-4D97-AF65-F5344CB8AC3E}">
        <p14:creationId xmlns:p14="http://schemas.microsoft.com/office/powerpoint/2010/main" val="3451292733"/>
      </p:ext>
    </p:extLst>
  </p:cSld>
  <p:clrMapOvr>
    <a:masterClrMapping/>
  </p:clrMapOvr>
  <p:transition spd="med">
    <p:wipe dir="r"/>
  </p:transition>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2B0E5-ACE8-465B-8CB9-7BDE8265FDF7}"/>
              </a:ext>
            </a:extLst>
          </p:cNvPr>
          <p:cNvSpPr>
            <a:spLocks noGrp="1"/>
          </p:cNvSpPr>
          <p:nvPr>
            <p:ph type="title"/>
          </p:nvPr>
        </p:nvSpPr>
        <p:spPr>
          <a:xfrm>
            <a:off x="0" y="0"/>
            <a:ext cx="8229600" cy="637794"/>
          </a:xfrm>
        </p:spPr>
        <p:txBody>
          <a:bodyPr/>
          <a:lstStyle/>
          <a:p>
            <a:r>
              <a:rPr lang="en-US" dirty="0"/>
              <a:t>ANOVA - EX</a:t>
            </a:r>
          </a:p>
        </p:txBody>
      </p:sp>
      <p:pic>
        <p:nvPicPr>
          <p:cNvPr id="4" name="Picture 3">
            <a:extLst>
              <a:ext uri="{FF2B5EF4-FFF2-40B4-BE49-F238E27FC236}">
                <a16:creationId xmlns:a16="http://schemas.microsoft.com/office/drawing/2014/main" id="{CA4B2CC5-CF84-4450-904D-004440C099AC}"/>
              </a:ext>
            </a:extLst>
          </p:cNvPr>
          <p:cNvPicPr>
            <a:picLocks noChangeAspect="1"/>
          </p:cNvPicPr>
          <p:nvPr/>
        </p:nvPicPr>
        <p:blipFill>
          <a:blip r:embed="rId2"/>
          <a:stretch>
            <a:fillRect/>
          </a:stretch>
        </p:blipFill>
        <p:spPr>
          <a:xfrm>
            <a:off x="1542614" y="485931"/>
            <a:ext cx="4648781" cy="2601104"/>
          </a:xfrm>
          <a:prstGeom prst="rect">
            <a:avLst/>
          </a:prstGeom>
        </p:spPr>
      </p:pic>
      <p:sp>
        <p:nvSpPr>
          <p:cNvPr id="5" name="TextBox 4">
            <a:extLst>
              <a:ext uri="{FF2B5EF4-FFF2-40B4-BE49-F238E27FC236}">
                <a16:creationId xmlns:a16="http://schemas.microsoft.com/office/drawing/2014/main" id="{0031D819-0DA3-4C6E-BF56-02360900822A}"/>
              </a:ext>
            </a:extLst>
          </p:cNvPr>
          <p:cNvSpPr txBox="1"/>
          <p:nvPr/>
        </p:nvSpPr>
        <p:spPr>
          <a:xfrm>
            <a:off x="467671" y="3462155"/>
            <a:ext cx="5479420" cy="523220"/>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We want to measure “Level of Stress” during layoffs.</a:t>
            </a: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We have some observations as above</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4A6FBD33-F2B7-419F-9B8E-52B2D5F890F9}"/>
                  </a:ext>
                </a:extLst>
              </p14:cNvPr>
              <p14:cNvContentPartPr/>
              <p14:nvPr/>
            </p14:nvContentPartPr>
            <p14:xfrm>
              <a:off x="271440" y="781200"/>
              <a:ext cx="8653680" cy="4152960"/>
            </p14:xfrm>
          </p:contentPart>
        </mc:Choice>
        <mc:Fallback>
          <p:pic>
            <p:nvPicPr>
              <p:cNvPr id="3" name="Ink 2">
                <a:extLst>
                  <a:ext uri="{FF2B5EF4-FFF2-40B4-BE49-F238E27FC236}">
                    <a16:creationId xmlns:a16="http://schemas.microsoft.com/office/drawing/2014/main" id="{4A6FBD33-F2B7-419F-9B8E-52B2D5F890F9}"/>
                  </a:ext>
                </a:extLst>
              </p:cNvPr>
              <p:cNvPicPr/>
              <p:nvPr/>
            </p:nvPicPr>
            <p:blipFill>
              <a:blip r:embed="rId4"/>
              <a:stretch>
                <a:fillRect/>
              </a:stretch>
            </p:blipFill>
            <p:spPr>
              <a:xfrm>
                <a:off x="262080" y="771840"/>
                <a:ext cx="8672400" cy="4171680"/>
              </a:xfrm>
              <a:prstGeom prst="rect">
                <a:avLst/>
              </a:prstGeom>
            </p:spPr>
          </p:pic>
        </mc:Fallback>
      </mc:AlternateContent>
    </p:spTree>
    <p:extLst>
      <p:ext uri="{BB962C8B-B14F-4D97-AF65-F5344CB8AC3E}">
        <p14:creationId xmlns:p14="http://schemas.microsoft.com/office/powerpoint/2010/main" val="3094124288"/>
      </p:ext>
    </p:extLst>
  </p:cSld>
  <p:clrMapOvr>
    <a:masterClrMapping/>
  </p:clrMapOvr>
  <p:transition spd="med">
    <p:wipe dir="r"/>
  </p:transition>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2B86E4-F4FF-45AB-B3E4-2BEBC975018F}"/>
              </a:ext>
            </a:extLst>
          </p:cNvPr>
          <p:cNvSpPr>
            <a:spLocks noGrp="1"/>
          </p:cNvSpPr>
          <p:nvPr>
            <p:ph type="title"/>
          </p:nvPr>
        </p:nvSpPr>
        <p:spPr>
          <a:xfrm>
            <a:off x="0" y="0"/>
            <a:ext cx="8229600" cy="637794"/>
          </a:xfrm>
        </p:spPr>
        <p:txBody>
          <a:bodyPr/>
          <a:lstStyle/>
          <a:p>
            <a:r>
              <a:rPr lang="en-US" dirty="0"/>
              <a:t>ANOVA - Steps</a:t>
            </a:r>
          </a:p>
        </p:txBody>
      </p:sp>
      <p:pic>
        <p:nvPicPr>
          <p:cNvPr id="8" name="Picture 7">
            <a:extLst>
              <a:ext uri="{FF2B5EF4-FFF2-40B4-BE49-F238E27FC236}">
                <a16:creationId xmlns:a16="http://schemas.microsoft.com/office/drawing/2014/main" id="{5CFAF5AB-2113-4ABC-A938-F98C9F1E5F17}"/>
              </a:ext>
            </a:extLst>
          </p:cNvPr>
          <p:cNvPicPr>
            <a:picLocks noChangeAspect="1"/>
          </p:cNvPicPr>
          <p:nvPr/>
        </p:nvPicPr>
        <p:blipFill>
          <a:blip r:embed="rId2"/>
          <a:stretch>
            <a:fillRect/>
          </a:stretch>
        </p:blipFill>
        <p:spPr>
          <a:xfrm>
            <a:off x="2554736" y="267359"/>
            <a:ext cx="4516158" cy="2061550"/>
          </a:xfrm>
          <a:prstGeom prst="rect">
            <a:avLst/>
          </a:prstGeom>
        </p:spPr>
      </p:pic>
      <p:sp>
        <p:nvSpPr>
          <p:cNvPr id="9" name="TextBox 8">
            <a:extLst>
              <a:ext uri="{FF2B5EF4-FFF2-40B4-BE49-F238E27FC236}">
                <a16:creationId xmlns:a16="http://schemas.microsoft.com/office/drawing/2014/main" id="{4161EC3C-26BA-47C5-82B7-B89F6CC7BBB0}"/>
              </a:ext>
            </a:extLst>
          </p:cNvPr>
          <p:cNvSpPr txBox="1"/>
          <p:nvPr/>
        </p:nvSpPr>
        <p:spPr>
          <a:xfrm>
            <a:off x="0" y="928802"/>
            <a:ext cx="2401173"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1) Find the variance within groups </a:t>
            </a:r>
            <a:r>
              <a:rPr lang="en-US" sz="1400" dirty="0" err="1">
                <a:solidFill>
                  <a:schemeClr val="bg2"/>
                </a:solidFill>
                <a:latin typeface="+mn-lt"/>
              </a:rPr>
              <a:t>i.e</a:t>
            </a:r>
            <a:r>
              <a:rPr lang="en-US" sz="1400" dirty="0">
                <a:solidFill>
                  <a:schemeClr val="bg2"/>
                </a:solidFill>
                <a:latin typeface="+mn-lt"/>
              </a:rPr>
              <a:t> sum of squared within groups </a:t>
            </a:r>
            <a:r>
              <a:rPr lang="en-US" sz="1400" b="1" dirty="0">
                <a:solidFill>
                  <a:schemeClr val="bg2"/>
                </a:solidFill>
                <a:latin typeface="+mn-lt"/>
              </a:rPr>
              <a:t>(called SSW)</a:t>
            </a:r>
          </a:p>
        </p:txBody>
      </p:sp>
      <p:pic>
        <p:nvPicPr>
          <p:cNvPr id="11" name="Picture 10">
            <a:extLst>
              <a:ext uri="{FF2B5EF4-FFF2-40B4-BE49-F238E27FC236}">
                <a16:creationId xmlns:a16="http://schemas.microsoft.com/office/drawing/2014/main" id="{66C702E3-3D7D-4C91-885A-AAEE8DE16913}"/>
              </a:ext>
            </a:extLst>
          </p:cNvPr>
          <p:cNvPicPr>
            <a:picLocks noChangeAspect="1"/>
          </p:cNvPicPr>
          <p:nvPr/>
        </p:nvPicPr>
        <p:blipFill>
          <a:blip r:embed="rId3"/>
          <a:stretch>
            <a:fillRect/>
          </a:stretch>
        </p:blipFill>
        <p:spPr>
          <a:xfrm>
            <a:off x="2554736" y="2470606"/>
            <a:ext cx="4460317" cy="2347138"/>
          </a:xfrm>
          <a:prstGeom prst="rect">
            <a:avLst/>
          </a:prstGeom>
        </p:spPr>
      </p:pic>
      <p:sp>
        <p:nvSpPr>
          <p:cNvPr id="12" name="TextBox 11">
            <a:extLst>
              <a:ext uri="{FF2B5EF4-FFF2-40B4-BE49-F238E27FC236}">
                <a16:creationId xmlns:a16="http://schemas.microsoft.com/office/drawing/2014/main" id="{1AAE102A-29C4-4A6D-ACAD-8CD6AF2C317C}"/>
              </a:ext>
            </a:extLst>
          </p:cNvPr>
          <p:cNvSpPr txBox="1"/>
          <p:nvPr/>
        </p:nvSpPr>
        <p:spPr>
          <a:xfrm>
            <a:off x="0" y="2571750"/>
            <a:ext cx="2401173"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2) Find the variance between groups </a:t>
            </a:r>
            <a:r>
              <a:rPr lang="en-US" sz="1400" dirty="0" err="1">
                <a:solidFill>
                  <a:schemeClr val="bg2"/>
                </a:solidFill>
                <a:latin typeface="+mn-lt"/>
              </a:rPr>
              <a:t>i.e</a:t>
            </a:r>
            <a:r>
              <a:rPr lang="en-US" sz="1400" dirty="0">
                <a:solidFill>
                  <a:schemeClr val="bg2"/>
                </a:solidFill>
                <a:latin typeface="+mn-lt"/>
              </a:rPr>
              <a:t> sum of squared between groups</a:t>
            </a:r>
            <a:r>
              <a:rPr lang="en-US" sz="1400" b="1" dirty="0">
                <a:solidFill>
                  <a:schemeClr val="bg2"/>
                </a:solidFill>
                <a:latin typeface="+mn-lt"/>
              </a:rPr>
              <a:t> (called SSB)</a:t>
            </a:r>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2E72BEE5-EBED-4CC3-989E-71B43277C06D}"/>
                  </a:ext>
                </a:extLst>
              </p14:cNvPr>
              <p14:cNvContentPartPr/>
              <p14:nvPr/>
            </p14:nvContentPartPr>
            <p14:xfrm>
              <a:off x="271440" y="504720"/>
              <a:ext cx="7310880" cy="4496400"/>
            </p14:xfrm>
          </p:contentPart>
        </mc:Choice>
        <mc:Fallback>
          <p:pic>
            <p:nvPicPr>
              <p:cNvPr id="3" name="Ink 2">
                <a:extLst>
                  <a:ext uri="{FF2B5EF4-FFF2-40B4-BE49-F238E27FC236}">
                    <a16:creationId xmlns:a16="http://schemas.microsoft.com/office/drawing/2014/main" id="{2E72BEE5-EBED-4CC3-989E-71B43277C06D}"/>
                  </a:ext>
                </a:extLst>
              </p:cNvPr>
              <p:cNvPicPr/>
              <p:nvPr/>
            </p:nvPicPr>
            <p:blipFill>
              <a:blip r:embed="rId5"/>
              <a:stretch>
                <a:fillRect/>
              </a:stretch>
            </p:blipFill>
            <p:spPr>
              <a:xfrm>
                <a:off x="262080" y="495360"/>
                <a:ext cx="7329600" cy="4515120"/>
              </a:xfrm>
              <a:prstGeom prst="rect">
                <a:avLst/>
              </a:prstGeom>
            </p:spPr>
          </p:pic>
        </mc:Fallback>
      </mc:AlternateContent>
    </p:spTree>
    <p:extLst>
      <p:ext uri="{BB962C8B-B14F-4D97-AF65-F5344CB8AC3E}">
        <p14:creationId xmlns:p14="http://schemas.microsoft.com/office/powerpoint/2010/main" val="152367105"/>
      </p:ext>
    </p:extLst>
  </p:cSld>
  <p:clrMapOvr>
    <a:masterClrMapping/>
  </p:clrMapOvr>
  <p:transition spd="med">
    <p:wipe dir="r"/>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E8BCC4-0E46-4B2A-8AE6-75AE4E380649}"/>
              </a:ext>
            </a:extLst>
          </p:cNvPr>
          <p:cNvSpPr>
            <a:spLocks noGrp="1"/>
          </p:cNvSpPr>
          <p:nvPr>
            <p:ph type="title"/>
          </p:nvPr>
        </p:nvSpPr>
        <p:spPr>
          <a:xfrm>
            <a:off x="0" y="0"/>
            <a:ext cx="8229600" cy="637794"/>
          </a:xfrm>
        </p:spPr>
        <p:txBody>
          <a:bodyPr/>
          <a:lstStyle/>
          <a:p>
            <a:r>
              <a:rPr lang="en-US" dirty="0"/>
              <a:t>ANOVA - Steps</a:t>
            </a:r>
          </a:p>
        </p:txBody>
      </p:sp>
      <p:pic>
        <p:nvPicPr>
          <p:cNvPr id="4" name="Picture 3">
            <a:extLst>
              <a:ext uri="{FF2B5EF4-FFF2-40B4-BE49-F238E27FC236}">
                <a16:creationId xmlns:a16="http://schemas.microsoft.com/office/drawing/2014/main" id="{EA2645B4-F541-4FA9-A2B3-BF6B538235BF}"/>
              </a:ext>
            </a:extLst>
          </p:cNvPr>
          <p:cNvPicPr>
            <a:picLocks noChangeAspect="1"/>
          </p:cNvPicPr>
          <p:nvPr/>
        </p:nvPicPr>
        <p:blipFill>
          <a:blip r:embed="rId2"/>
          <a:stretch>
            <a:fillRect/>
          </a:stretch>
        </p:blipFill>
        <p:spPr>
          <a:xfrm>
            <a:off x="1236681" y="2159792"/>
            <a:ext cx="4164762" cy="2703133"/>
          </a:xfrm>
          <a:prstGeom prst="rect">
            <a:avLst/>
          </a:prstGeom>
        </p:spPr>
      </p:pic>
      <p:pic>
        <p:nvPicPr>
          <p:cNvPr id="6" name="Picture 5">
            <a:extLst>
              <a:ext uri="{FF2B5EF4-FFF2-40B4-BE49-F238E27FC236}">
                <a16:creationId xmlns:a16="http://schemas.microsoft.com/office/drawing/2014/main" id="{B33B23D2-8471-4432-BA06-2A95F845D101}"/>
              </a:ext>
            </a:extLst>
          </p:cNvPr>
          <p:cNvPicPr>
            <a:picLocks noChangeAspect="1"/>
          </p:cNvPicPr>
          <p:nvPr/>
        </p:nvPicPr>
        <p:blipFill>
          <a:blip r:embed="rId3"/>
          <a:stretch>
            <a:fillRect/>
          </a:stretch>
        </p:blipFill>
        <p:spPr>
          <a:xfrm>
            <a:off x="7042839" y="1137764"/>
            <a:ext cx="670230" cy="3273547"/>
          </a:xfrm>
          <a:prstGeom prst="rect">
            <a:avLst/>
          </a:prstGeom>
        </p:spPr>
      </p:pic>
      <p:sp>
        <p:nvSpPr>
          <p:cNvPr id="7" name="TextBox 6">
            <a:extLst>
              <a:ext uri="{FF2B5EF4-FFF2-40B4-BE49-F238E27FC236}">
                <a16:creationId xmlns:a16="http://schemas.microsoft.com/office/drawing/2014/main" id="{B85EB237-250C-45F5-ACB4-D773D399B2BC}"/>
              </a:ext>
            </a:extLst>
          </p:cNvPr>
          <p:cNvSpPr txBox="1"/>
          <p:nvPr/>
        </p:nvSpPr>
        <p:spPr>
          <a:xfrm>
            <a:off x="174504" y="774797"/>
            <a:ext cx="6289117" cy="138499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3) </a:t>
            </a:r>
            <a:r>
              <a:rPr lang="en-US" sz="1400" b="1" dirty="0">
                <a:solidFill>
                  <a:schemeClr val="bg2"/>
                </a:solidFill>
                <a:latin typeface="+mn-lt"/>
              </a:rPr>
              <a:t>Combine all groups together as one single unit </a:t>
            </a:r>
            <a:r>
              <a:rPr lang="en-US" sz="1400" dirty="0">
                <a:solidFill>
                  <a:schemeClr val="bg2"/>
                </a:solidFill>
                <a:latin typeface="+mn-lt"/>
              </a:rPr>
              <a:t>and calculate the “total sum of squares” (called as SST)</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4) </a:t>
            </a:r>
            <a:r>
              <a:rPr lang="en-US" sz="1400" b="1" dirty="0">
                <a:solidFill>
                  <a:schemeClr val="bg2"/>
                </a:solidFill>
                <a:latin typeface="+mn-lt"/>
              </a:rPr>
              <a:t>Now find the critical value </a:t>
            </a:r>
            <a:r>
              <a:rPr lang="en-US" sz="1400" b="1" dirty="0" err="1">
                <a:solidFill>
                  <a:schemeClr val="bg2"/>
                </a:solidFill>
                <a:latin typeface="+mn-lt"/>
              </a:rPr>
              <a:t>i.e</a:t>
            </a:r>
            <a:r>
              <a:rPr lang="en-US" sz="1400" b="1" dirty="0">
                <a:solidFill>
                  <a:schemeClr val="bg2"/>
                </a:solidFill>
                <a:latin typeface="+mn-lt"/>
              </a:rPr>
              <a:t> F-Ratio</a:t>
            </a:r>
            <a:r>
              <a:rPr lang="en-US" sz="1400" dirty="0">
                <a:solidFill>
                  <a:schemeClr val="bg2"/>
                </a:solidFill>
                <a:latin typeface="+mn-lt"/>
              </a:rPr>
              <a:t>. This is to check whether the F-Ratio lies in the rejection region or not. If it lies in the rejection region </a:t>
            </a:r>
            <a:r>
              <a:rPr lang="en-US" sz="1400" b="1" dirty="0">
                <a:solidFill>
                  <a:schemeClr val="bg2"/>
                </a:solidFill>
                <a:latin typeface="+mn-lt"/>
              </a:rPr>
              <a:t>then Reject Ho</a:t>
            </a:r>
            <a:r>
              <a:rPr lang="en-US" sz="1400" dirty="0">
                <a:solidFill>
                  <a:schemeClr val="bg2"/>
                </a:solidFill>
                <a:latin typeface="+mn-lt"/>
              </a:rPr>
              <a:t>, else Fail to </a:t>
            </a:r>
            <a:r>
              <a:rPr lang="en-US" sz="1400" b="1" dirty="0">
                <a:solidFill>
                  <a:schemeClr val="bg2"/>
                </a:solidFill>
                <a:latin typeface="+mn-lt"/>
              </a:rPr>
              <a:t>Reject Ho</a:t>
            </a:r>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11A0E4A2-924D-472D-838D-F0215CD848C0}"/>
                  </a:ext>
                </a:extLst>
              </p14:cNvPr>
              <p14:cNvContentPartPr/>
              <p14:nvPr/>
            </p14:nvContentPartPr>
            <p14:xfrm>
              <a:off x="552600" y="257040"/>
              <a:ext cx="7877520" cy="3986640"/>
            </p14:xfrm>
          </p:contentPart>
        </mc:Choice>
        <mc:Fallback>
          <p:pic>
            <p:nvPicPr>
              <p:cNvPr id="3" name="Ink 2">
                <a:extLst>
                  <a:ext uri="{FF2B5EF4-FFF2-40B4-BE49-F238E27FC236}">
                    <a16:creationId xmlns:a16="http://schemas.microsoft.com/office/drawing/2014/main" id="{11A0E4A2-924D-472D-838D-F0215CD848C0}"/>
                  </a:ext>
                </a:extLst>
              </p:cNvPr>
              <p:cNvPicPr/>
              <p:nvPr/>
            </p:nvPicPr>
            <p:blipFill>
              <a:blip r:embed="rId5"/>
              <a:stretch>
                <a:fillRect/>
              </a:stretch>
            </p:blipFill>
            <p:spPr>
              <a:xfrm>
                <a:off x="543240" y="247680"/>
                <a:ext cx="7896240" cy="4005360"/>
              </a:xfrm>
              <a:prstGeom prst="rect">
                <a:avLst/>
              </a:prstGeom>
            </p:spPr>
          </p:pic>
        </mc:Fallback>
      </mc:AlternateContent>
    </p:spTree>
    <p:extLst>
      <p:ext uri="{BB962C8B-B14F-4D97-AF65-F5344CB8AC3E}">
        <p14:creationId xmlns:p14="http://schemas.microsoft.com/office/powerpoint/2010/main" val="247410383"/>
      </p:ext>
    </p:extLst>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B392B1B-F39D-4768-935E-054CB31A20FF}"/>
              </a:ext>
            </a:extLst>
          </p:cNvPr>
          <p:cNvSpPr>
            <a:spLocks noGrp="1"/>
          </p:cNvSpPr>
          <p:nvPr>
            <p:ph type="title"/>
          </p:nvPr>
        </p:nvSpPr>
        <p:spPr>
          <a:xfrm>
            <a:off x="0" y="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6" name="TextBox 5">
            <a:extLst>
              <a:ext uri="{FF2B5EF4-FFF2-40B4-BE49-F238E27FC236}">
                <a16:creationId xmlns:a16="http://schemas.microsoft.com/office/drawing/2014/main" id="{DCB63690-E772-4BAF-822C-38DD0D858D8E}"/>
              </a:ext>
            </a:extLst>
          </p:cNvPr>
          <p:cNvSpPr txBox="1"/>
          <p:nvPr/>
        </p:nvSpPr>
        <p:spPr>
          <a:xfrm>
            <a:off x="43185" y="1704742"/>
            <a:ext cx="5966726" cy="1631216"/>
          </a:xfrm>
          <a:prstGeom prst="rect">
            <a:avLst/>
          </a:prstGeom>
          <a:noFill/>
        </p:spPr>
        <p:txBody>
          <a:bodyPr wrap="square" rtlCol="0">
            <a:spAutoFit/>
          </a:bodyPr>
          <a:lstStyle/>
          <a:p>
            <a:pPr marL="0" indent="0">
              <a:buNone/>
            </a:pPr>
            <a:r>
              <a:rPr lang="en-US" sz="1400" b="1" i="1" dirty="0">
                <a:solidFill>
                  <a:schemeClr val="accent1"/>
                </a:solidFill>
              </a:rPr>
              <a:t>Study 3 : </a:t>
            </a:r>
          </a:p>
          <a:p>
            <a:pPr marL="0" indent="0">
              <a:buNone/>
            </a:pPr>
            <a:r>
              <a:rPr lang="en-US" sz="1400" i="1" dirty="0">
                <a:solidFill>
                  <a:schemeClr val="bg2">
                    <a:lumMod val="50000"/>
                    <a:lumOff val="50000"/>
                  </a:schemeClr>
                </a:solidFill>
              </a:rPr>
              <a:t>Does listening to music improve students’ ability to quickly identify information?</a:t>
            </a:r>
          </a:p>
          <a:p>
            <a:pPr marL="0" indent="0">
              <a:buNone/>
            </a:pPr>
            <a:endParaRPr lang="en-US" sz="1400" i="1" dirty="0">
              <a:solidFill>
                <a:schemeClr val="bg2">
                  <a:lumMod val="50000"/>
                  <a:lumOff val="50000"/>
                </a:schemeClr>
              </a:solidFill>
              <a:latin typeface="+mn-lt"/>
            </a:endParaRPr>
          </a:p>
          <a:p>
            <a:pPr marL="0" indent="0">
              <a:buNone/>
            </a:pPr>
            <a:r>
              <a:rPr lang="en-US" sz="1000" dirty="0">
                <a:solidFill>
                  <a:schemeClr val="bg2">
                    <a:lumMod val="50000"/>
                    <a:lumOff val="50000"/>
                  </a:schemeClr>
                </a:solidFill>
                <a:latin typeface="+mn-lt"/>
              </a:rPr>
              <a:t>To investigate this question, the instructor uses word-search puzzles. She divides the class into two groups. Students on one side of the room do a word puzzle for 3 minutes while listening to music on an iPod. Students on the other side of the room do a word puzzle for 3 minutes without music. The instructor calculates the average number of words found by each group.</a:t>
            </a:r>
          </a:p>
        </p:txBody>
      </p:sp>
      <p:pic>
        <p:nvPicPr>
          <p:cNvPr id="7" name="Picture 6">
            <a:extLst>
              <a:ext uri="{FF2B5EF4-FFF2-40B4-BE49-F238E27FC236}">
                <a16:creationId xmlns:a16="http://schemas.microsoft.com/office/drawing/2014/main" id="{7313401C-CCD6-4372-B248-82C8D3522CA6}"/>
              </a:ext>
            </a:extLst>
          </p:cNvPr>
          <p:cNvPicPr>
            <a:picLocks noChangeAspect="1"/>
          </p:cNvPicPr>
          <p:nvPr/>
        </p:nvPicPr>
        <p:blipFill>
          <a:blip r:embed="rId2"/>
          <a:stretch>
            <a:fillRect/>
          </a:stretch>
        </p:blipFill>
        <p:spPr>
          <a:xfrm>
            <a:off x="6009911" y="1524296"/>
            <a:ext cx="2998809" cy="2094907"/>
          </a:xfrm>
          <a:prstGeom prst="rect">
            <a:avLst/>
          </a:prstGeom>
        </p:spPr>
      </p:pic>
    </p:spTree>
    <p:extLst>
      <p:ext uri="{BB962C8B-B14F-4D97-AF65-F5344CB8AC3E}">
        <p14:creationId xmlns:p14="http://schemas.microsoft.com/office/powerpoint/2010/main" val="4271565730"/>
      </p:ext>
    </p:extLst>
  </p:cSld>
  <p:clrMapOvr>
    <a:masterClrMapping/>
  </p:clrMapOvr>
  <p:transition spd="med">
    <p:wipe dir="r"/>
  </p:transition>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34AEA-7261-43B4-B7C5-BC2638F34C57}"/>
              </a:ext>
            </a:extLst>
          </p:cNvPr>
          <p:cNvSpPr>
            <a:spLocks noGrp="1"/>
          </p:cNvSpPr>
          <p:nvPr>
            <p:ph type="title"/>
          </p:nvPr>
        </p:nvSpPr>
        <p:spPr>
          <a:xfrm>
            <a:off x="0" y="0"/>
            <a:ext cx="8229600" cy="637794"/>
          </a:xfrm>
        </p:spPr>
        <p:txBody>
          <a:bodyPr/>
          <a:lstStyle/>
          <a:p>
            <a:r>
              <a:rPr lang="en-US" dirty="0"/>
              <a:t>ANOVA - Steps</a:t>
            </a:r>
          </a:p>
        </p:txBody>
      </p:sp>
      <p:pic>
        <p:nvPicPr>
          <p:cNvPr id="5" name="Picture 4">
            <a:extLst>
              <a:ext uri="{FF2B5EF4-FFF2-40B4-BE49-F238E27FC236}">
                <a16:creationId xmlns:a16="http://schemas.microsoft.com/office/drawing/2014/main" id="{D9C09B3B-E413-4855-A2C8-4B88F76DC817}"/>
              </a:ext>
            </a:extLst>
          </p:cNvPr>
          <p:cNvPicPr>
            <a:picLocks noChangeAspect="1"/>
          </p:cNvPicPr>
          <p:nvPr/>
        </p:nvPicPr>
        <p:blipFill>
          <a:blip r:embed="rId2"/>
          <a:stretch>
            <a:fillRect/>
          </a:stretch>
        </p:blipFill>
        <p:spPr>
          <a:xfrm>
            <a:off x="99520" y="771674"/>
            <a:ext cx="566387" cy="2760013"/>
          </a:xfrm>
          <a:prstGeom prst="rect">
            <a:avLst/>
          </a:prstGeom>
        </p:spPr>
      </p:pic>
      <p:pic>
        <p:nvPicPr>
          <p:cNvPr id="6" name="Picture 5">
            <a:extLst>
              <a:ext uri="{FF2B5EF4-FFF2-40B4-BE49-F238E27FC236}">
                <a16:creationId xmlns:a16="http://schemas.microsoft.com/office/drawing/2014/main" id="{5CFAF5AB-2113-4ABC-A938-F98C9F1E5F17}"/>
              </a:ext>
            </a:extLst>
          </p:cNvPr>
          <p:cNvPicPr>
            <a:picLocks noChangeAspect="1"/>
          </p:cNvPicPr>
          <p:nvPr/>
        </p:nvPicPr>
        <p:blipFill>
          <a:blip r:embed="rId3"/>
          <a:stretch>
            <a:fillRect/>
          </a:stretch>
        </p:blipFill>
        <p:spPr>
          <a:xfrm>
            <a:off x="1103886" y="1261336"/>
            <a:ext cx="3900882" cy="1780687"/>
          </a:xfrm>
          <a:prstGeom prst="rect">
            <a:avLst/>
          </a:prstGeom>
        </p:spPr>
      </p:pic>
      <p:pic>
        <p:nvPicPr>
          <p:cNvPr id="7" name="Picture 6">
            <a:extLst>
              <a:ext uri="{FF2B5EF4-FFF2-40B4-BE49-F238E27FC236}">
                <a16:creationId xmlns:a16="http://schemas.microsoft.com/office/drawing/2014/main" id="{66C702E3-3D7D-4C91-885A-AAEE8DE16913}"/>
              </a:ext>
            </a:extLst>
          </p:cNvPr>
          <p:cNvPicPr>
            <a:picLocks noChangeAspect="1"/>
          </p:cNvPicPr>
          <p:nvPr/>
        </p:nvPicPr>
        <p:blipFill>
          <a:blip r:embed="rId4"/>
          <a:stretch>
            <a:fillRect/>
          </a:stretch>
        </p:blipFill>
        <p:spPr>
          <a:xfrm>
            <a:off x="5693864" y="1318430"/>
            <a:ext cx="3450136" cy="1822639"/>
          </a:xfrm>
          <a:prstGeom prst="rect">
            <a:avLst/>
          </a:prstGeom>
        </p:spPr>
      </p:pic>
      <p:sp>
        <p:nvSpPr>
          <p:cNvPr id="8" name="TextBox 7">
            <a:extLst>
              <a:ext uri="{FF2B5EF4-FFF2-40B4-BE49-F238E27FC236}">
                <a16:creationId xmlns:a16="http://schemas.microsoft.com/office/drawing/2014/main" id="{E22B5532-9D75-4E52-9ED6-75BEE860E1C6}"/>
              </a:ext>
            </a:extLst>
          </p:cNvPr>
          <p:cNvSpPr txBox="1"/>
          <p:nvPr/>
        </p:nvSpPr>
        <p:spPr>
          <a:xfrm>
            <a:off x="611260" y="1933502"/>
            <a:ext cx="386902"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a:t>
            </a:r>
            <a:endParaRPr lang="en-US" sz="1400" b="1" dirty="0">
              <a:solidFill>
                <a:schemeClr val="bg2"/>
              </a:solidFill>
              <a:latin typeface="+mn-lt"/>
            </a:endParaRPr>
          </a:p>
        </p:txBody>
      </p:sp>
      <p:sp>
        <p:nvSpPr>
          <p:cNvPr id="9" name="TextBox 8">
            <a:extLst>
              <a:ext uri="{FF2B5EF4-FFF2-40B4-BE49-F238E27FC236}">
                <a16:creationId xmlns:a16="http://schemas.microsoft.com/office/drawing/2014/main" id="{23F3F8E8-0C36-43E1-86FA-4979CD305AA8}"/>
              </a:ext>
            </a:extLst>
          </p:cNvPr>
          <p:cNvSpPr txBox="1"/>
          <p:nvPr/>
        </p:nvSpPr>
        <p:spPr>
          <a:xfrm>
            <a:off x="5155865" y="1808877"/>
            <a:ext cx="386902"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a:t>
            </a:r>
            <a:endParaRPr lang="en-US" sz="1400" b="1" dirty="0">
              <a:solidFill>
                <a:schemeClr val="bg2"/>
              </a:solidFill>
              <a:latin typeface="+mn-lt"/>
            </a:endParaRPr>
          </a:p>
        </p:txBody>
      </p:sp>
      <p:sp>
        <p:nvSpPr>
          <p:cNvPr id="11" name="TextBox 10">
            <a:extLst>
              <a:ext uri="{FF2B5EF4-FFF2-40B4-BE49-F238E27FC236}">
                <a16:creationId xmlns:a16="http://schemas.microsoft.com/office/drawing/2014/main" id="{9159A209-1028-49C4-B178-9D289F6A4D6C}"/>
              </a:ext>
            </a:extLst>
          </p:cNvPr>
          <p:cNvSpPr txBox="1"/>
          <p:nvPr/>
        </p:nvSpPr>
        <p:spPr>
          <a:xfrm>
            <a:off x="42875" y="463897"/>
            <a:ext cx="830677" cy="307777"/>
          </a:xfrm>
          <a:prstGeom prst="rect">
            <a:avLst/>
          </a:prstGeom>
          <a:noFill/>
        </p:spPr>
        <p:txBody>
          <a:bodyPr wrap="none" rtlCol="0">
            <a:spAutoFit/>
          </a:bodyPr>
          <a:lstStyle/>
          <a:p>
            <a:pPr>
              <a:spcBef>
                <a:spcPts val="0"/>
              </a:spcBef>
              <a:spcAft>
                <a:spcPts val="0"/>
              </a:spcAft>
              <a:buClr>
                <a:schemeClr val="bg1"/>
              </a:buClr>
            </a:pPr>
            <a:r>
              <a:rPr lang="en-US" sz="1400" b="1" dirty="0">
                <a:solidFill>
                  <a:schemeClr val="bg2"/>
                </a:solidFill>
                <a:latin typeface="+mn-lt"/>
              </a:rPr>
              <a:t>Step 5: </a:t>
            </a:r>
          </a:p>
        </p:txBody>
      </p:sp>
      <p:sp>
        <p:nvSpPr>
          <p:cNvPr id="12" name="TextBox 11">
            <a:extLst>
              <a:ext uri="{FF2B5EF4-FFF2-40B4-BE49-F238E27FC236}">
                <a16:creationId xmlns:a16="http://schemas.microsoft.com/office/drawing/2014/main" id="{9FE0397E-1D68-4426-BCF5-8BCDF0C0B36D}"/>
              </a:ext>
            </a:extLst>
          </p:cNvPr>
          <p:cNvSpPr txBox="1"/>
          <p:nvPr/>
        </p:nvSpPr>
        <p:spPr>
          <a:xfrm>
            <a:off x="202424" y="3608739"/>
            <a:ext cx="868331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otal Sum of Squared = Sum of Squared with Groups + Sum of Squared Between Groups</a:t>
            </a:r>
          </a:p>
        </p:txBody>
      </p:sp>
      <p:sp>
        <p:nvSpPr>
          <p:cNvPr id="13" name="TextBox 12">
            <a:extLst>
              <a:ext uri="{FF2B5EF4-FFF2-40B4-BE49-F238E27FC236}">
                <a16:creationId xmlns:a16="http://schemas.microsoft.com/office/drawing/2014/main" id="{83184197-5B53-4DD5-AB9E-CE62D10569C7}"/>
              </a:ext>
            </a:extLst>
          </p:cNvPr>
          <p:cNvSpPr txBox="1"/>
          <p:nvPr/>
        </p:nvSpPr>
        <p:spPr>
          <a:xfrm>
            <a:off x="14993" y="4329343"/>
            <a:ext cx="8131842" cy="307777"/>
          </a:xfrm>
          <a:prstGeom prst="rect">
            <a:avLst/>
          </a:prstGeom>
          <a:noFill/>
        </p:spPr>
        <p:txBody>
          <a:bodyPr wrap="none" rtlCol="0">
            <a:spAutoFit/>
          </a:bodyPr>
          <a:lstStyle/>
          <a:p>
            <a:pPr>
              <a:spcBef>
                <a:spcPts val="0"/>
              </a:spcBef>
              <a:spcAft>
                <a:spcPts val="0"/>
              </a:spcAft>
              <a:buClr>
                <a:schemeClr val="bg1"/>
              </a:buClr>
            </a:pPr>
            <a:r>
              <a:rPr lang="en-US" sz="1400" b="1" dirty="0">
                <a:solidFill>
                  <a:schemeClr val="bg2"/>
                </a:solidFill>
                <a:latin typeface="+mn-lt"/>
              </a:rPr>
              <a:t>Step 6: </a:t>
            </a:r>
            <a:r>
              <a:rPr lang="en-US" sz="1400" dirty="0">
                <a:solidFill>
                  <a:schemeClr val="bg2"/>
                </a:solidFill>
                <a:latin typeface="+mn-lt"/>
              </a:rPr>
              <a:t>Compare the F-ration w.r.t C.V to either Reject or Fail to reject the Ho and draw </a:t>
            </a:r>
            <a:r>
              <a:rPr lang="en-US" sz="1400" dirty="0" err="1">
                <a:solidFill>
                  <a:schemeClr val="bg2"/>
                </a:solidFill>
                <a:latin typeface="+mn-lt"/>
              </a:rPr>
              <a:t>conculsions</a:t>
            </a:r>
            <a:r>
              <a:rPr lang="en-US" sz="1400" b="1" dirty="0">
                <a:solidFill>
                  <a:schemeClr val="bg2"/>
                </a:solidFill>
                <a:latin typeface="+mn-lt"/>
              </a:rPr>
              <a:t> </a:t>
            </a:r>
          </a:p>
        </p:txBody>
      </p:sp>
      <mc:AlternateContent xmlns:mc="http://schemas.openxmlformats.org/markup-compatibility/2006">
        <mc:Choice xmlns:p14="http://schemas.microsoft.com/office/powerpoint/2010/main" Requires="p14">
          <p:contentPart p14:bwMode="auto" r:id="rId5">
            <p14:nvContentPartPr>
              <p14:cNvPr id="3" name="Ink 2">
                <a:extLst>
                  <a:ext uri="{FF2B5EF4-FFF2-40B4-BE49-F238E27FC236}">
                    <a16:creationId xmlns:a16="http://schemas.microsoft.com/office/drawing/2014/main" id="{7C0D0B26-839F-437E-BD32-F6309F2E805A}"/>
                  </a:ext>
                </a:extLst>
              </p14:cNvPr>
              <p14:cNvContentPartPr/>
              <p14:nvPr/>
            </p14:nvContentPartPr>
            <p14:xfrm>
              <a:off x="757080" y="3881520"/>
              <a:ext cx="6182280" cy="1052640"/>
            </p14:xfrm>
          </p:contentPart>
        </mc:Choice>
        <mc:Fallback>
          <p:pic>
            <p:nvPicPr>
              <p:cNvPr id="3" name="Ink 2">
                <a:extLst>
                  <a:ext uri="{FF2B5EF4-FFF2-40B4-BE49-F238E27FC236}">
                    <a16:creationId xmlns:a16="http://schemas.microsoft.com/office/drawing/2014/main" id="{7C0D0B26-839F-437E-BD32-F6309F2E805A}"/>
                  </a:ext>
                </a:extLst>
              </p:cNvPr>
              <p:cNvPicPr/>
              <p:nvPr/>
            </p:nvPicPr>
            <p:blipFill>
              <a:blip r:embed="rId6"/>
              <a:stretch>
                <a:fillRect/>
              </a:stretch>
            </p:blipFill>
            <p:spPr>
              <a:xfrm>
                <a:off x="747720" y="3872160"/>
                <a:ext cx="6201000" cy="1071360"/>
              </a:xfrm>
              <a:prstGeom prst="rect">
                <a:avLst/>
              </a:prstGeom>
            </p:spPr>
          </p:pic>
        </mc:Fallback>
      </mc:AlternateContent>
    </p:spTree>
    <p:extLst>
      <p:ext uri="{BB962C8B-B14F-4D97-AF65-F5344CB8AC3E}">
        <p14:creationId xmlns:p14="http://schemas.microsoft.com/office/powerpoint/2010/main" val="3460810210"/>
      </p:ext>
    </p:extLst>
  </p:cSld>
  <p:clrMapOvr>
    <a:masterClrMapping/>
  </p:clrMapOvr>
  <p:transition spd="med">
    <p:wipe dir="r"/>
  </p:transition>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62B1B-A433-4C40-A8E7-A89749D1BF68}"/>
              </a:ext>
            </a:extLst>
          </p:cNvPr>
          <p:cNvSpPr>
            <a:spLocks noGrp="1"/>
          </p:cNvSpPr>
          <p:nvPr>
            <p:ph type="title"/>
          </p:nvPr>
        </p:nvSpPr>
        <p:spPr>
          <a:xfrm>
            <a:off x="-1" y="0"/>
            <a:ext cx="8843853" cy="637794"/>
          </a:xfrm>
        </p:spPr>
        <p:txBody>
          <a:bodyPr/>
          <a:lstStyle/>
          <a:p>
            <a:r>
              <a:rPr lang="en-US" dirty="0"/>
              <a:t>ANOVA : Performing calculation according to steps</a:t>
            </a:r>
          </a:p>
        </p:txBody>
      </p:sp>
      <p:sp>
        <p:nvSpPr>
          <p:cNvPr id="3" name="TextBox 2">
            <a:extLst>
              <a:ext uri="{FF2B5EF4-FFF2-40B4-BE49-F238E27FC236}">
                <a16:creationId xmlns:a16="http://schemas.microsoft.com/office/drawing/2014/main" id="{CE6D8CB1-D8EB-4299-B7E4-75C1ED0ABFFA}"/>
              </a:ext>
            </a:extLst>
          </p:cNvPr>
          <p:cNvSpPr txBox="1"/>
          <p:nvPr/>
        </p:nvSpPr>
        <p:spPr>
          <a:xfrm>
            <a:off x="139603" y="637794"/>
            <a:ext cx="729426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1) Find the variance within groups </a:t>
            </a:r>
            <a:r>
              <a:rPr lang="en-US" sz="1400" dirty="0" err="1">
                <a:solidFill>
                  <a:schemeClr val="bg2"/>
                </a:solidFill>
                <a:latin typeface="+mn-lt"/>
              </a:rPr>
              <a:t>i.e</a:t>
            </a:r>
            <a:r>
              <a:rPr lang="en-US" sz="1400" dirty="0">
                <a:solidFill>
                  <a:schemeClr val="bg2"/>
                </a:solidFill>
                <a:latin typeface="+mn-lt"/>
              </a:rPr>
              <a:t> sum of squared within groups (called SSW)</a:t>
            </a:r>
          </a:p>
        </p:txBody>
      </p:sp>
      <p:pic>
        <p:nvPicPr>
          <p:cNvPr id="5" name="Picture 4">
            <a:extLst>
              <a:ext uri="{FF2B5EF4-FFF2-40B4-BE49-F238E27FC236}">
                <a16:creationId xmlns:a16="http://schemas.microsoft.com/office/drawing/2014/main" id="{6809C798-E5C8-442D-A235-81962659E838}"/>
              </a:ext>
            </a:extLst>
          </p:cNvPr>
          <p:cNvPicPr>
            <a:picLocks noChangeAspect="1"/>
          </p:cNvPicPr>
          <p:nvPr/>
        </p:nvPicPr>
        <p:blipFill>
          <a:blip r:embed="rId2"/>
          <a:stretch>
            <a:fillRect/>
          </a:stretch>
        </p:blipFill>
        <p:spPr>
          <a:xfrm>
            <a:off x="332117" y="1275588"/>
            <a:ext cx="1774228" cy="2197876"/>
          </a:xfrm>
          <a:prstGeom prst="rect">
            <a:avLst/>
          </a:prstGeom>
        </p:spPr>
      </p:pic>
      <p:pic>
        <p:nvPicPr>
          <p:cNvPr id="7" name="Picture 6">
            <a:extLst>
              <a:ext uri="{FF2B5EF4-FFF2-40B4-BE49-F238E27FC236}">
                <a16:creationId xmlns:a16="http://schemas.microsoft.com/office/drawing/2014/main" id="{C12BA9EB-74A6-40CF-B03A-C034E9456589}"/>
              </a:ext>
            </a:extLst>
          </p:cNvPr>
          <p:cNvPicPr>
            <a:picLocks noChangeAspect="1"/>
          </p:cNvPicPr>
          <p:nvPr/>
        </p:nvPicPr>
        <p:blipFill>
          <a:blip r:embed="rId3"/>
          <a:stretch>
            <a:fillRect/>
          </a:stretch>
        </p:blipFill>
        <p:spPr>
          <a:xfrm>
            <a:off x="2621847" y="1275588"/>
            <a:ext cx="2920394" cy="1395618"/>
          </a:xfrm>
          <a:prstGeom prst="rect">
            <a:avLst/>
          </a:prstGeom>
        </p:spPr>
      </p:pic>
      <p:sp>
        <p:nvSpPr>
          <p:cNvPr id="8" name="TextBox 7">
            <a:extLst>
              <a:ext uri="{FF2B5EF4-FFF2-40B4-BE49-F238E27FC236}">
                <a16:creationId xmlns:a16="http://schemas.microsoft.com/office/drawing/2014/main" id="{3F47A313-1CED-460D-AA4A-43C1FA80905C}"/>
              </a:ext>
            </a:extLst>
          </p:cNvPr>
          <p:cNvSpPr txBox="1"/>
          <p:nvPr/>
        </p:nvSpPr>
        <p:spPr>
          <a:xfrm>
            <a:off x="2778101" y="3231811"/>
            <a:ext cx="4013588"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um of squared within groups (called SSW)</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 22 + 18 + 14 = 54</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829EAA30-7B1F-41A1-BBB0-D1ED961FD00E}"/>
                  </a:ext>
                </a:extLst>
              </p14:cNvPr>
              <p14:cNvContentPartPr/>
              <p14:nvPr/>
            </p14:nvContentPartPr>
            <p14:xfrm>
              <a:off x="1023840" y="923760"/>
              <a:ext cx="5448600" cy="3182040"/>
            </p14:xfrm>
          </p:contentPart>
        </mc:Choice>
        <mc:Fallback>
          <p:pic>
            <p:nvPicPr>
              <p:cNvPr id="4" name="Ink 3">
                <a:extLst>
                  <a:ext uri="{FF2B5EF4-FFF2-40B4-BE49-F238E27FC236}">
                    <a16:creationId xmlns:a16="http://schemas.microsoft.com/office/drawing/2014/main" id="{829EAA30-7B1F-41A1-BBB0-D1ED961FD00E}"/>
                  </a:ext>
                </a:extLst>
              </p:cNvPr>
              <p:cNvPicPr/>
              <p:nvPr/>
            </p:nvPicPr>
            <p:blipFill>
              <a:blip r:embed="rId5"/>
              <a:stretch>
                <a:fillRect/>
              </a:stretch>
            </p:blipFill>
            <p:spPr>
              <a:xfrm>
                <a:off x="1014480" y="914400"/>
                <a:ext cx="5467320" cy="3200760"/>
              </a:xfrm>
              <a:prstGeom prst="rect">
                <a:avLst/>
              </a:prstGeom>
            </p:spPr>
          </p:pic>
        </mc:Fallback>
      </mc:AlternateContent>
    </p:spTree>
    <p:extLst>
      <p:ext uri="{BB962C8B-B14F-4D97-AF65-F5344CB8AC3E}">
        <p14:creationId xmlns:p14="http://schemas.microsoft.com/office/powerpoint/2010/main" val="1900744009"/>
      </p:ext>
    </p:extLst>
  </p:cSld>
  <p:clrMapOvr>
    <a:masterClrMapping/>
  </p:clrMapOvr>
  <p:transition spd="med">
    <p:wipe dir="r"/>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71143E-A56B-49DC-AC3A-0C9555181E1D}"/>
              </a:ext>
            </a:extLst>
          </p:cNvPr>
          <p:cNvSpPr>
            <a:spLocks noGrp="1"/>
          </p:cNvSpPr>
          <p:nvPr>
            <p:ph type="title"/>
          </p:nvPr>
        </p:nvSpPr>
        <p:spPr>
          <a:xfrm>
            <a:off x="0" y="0"/>
            <a:ext cx="9144000" cy="637794"/>
          </a:xfrm>
        </p:spPr>
        <p:txBody>
          <a:bodyPr/>
          <a:lstStyle/>
          <a:p>
            <a:r>
              <a:rPr lang="en-US" dirty="0"/>
              <a:t>ANOVA : Performing calculation according to steps</a:t>
            </a:r>
          </a:p>
        </p:txBody>
      </p:sp>
      <p:pic>
        <p:nvPicPr>
          <p:cNvPr id="4" name="Picture 3">
            <a:extLst>
              <a:ext uri="{FF2B5EF4-FFF2-40B4-BE49-F238E27FC236}">
                <a16:creationId xmlns:a16="http://schemas.microsoft.com/office/drawing/2014/main" id="{7224F9B5-81E0-4243-B0EB-3802163E788A}"/>
              </a:ext>
            </a:extLst>
          </p:cNvPr>
          <p:cNvPicPr>
            <a:picLocks noChangeAspect="1"/>
          </p:cNvPicPr>
          <p:nvPr/>
        </p:nvPicPr>
        <p:blipFill>
          <a:blip r:embed="rId2"/>
          <a:stretch>
            <a:fillRect/>
          </a:stretch>
        </p:blipFill>
        <p:spPr>
          <a:xfrm>
            <a:off x="140718" y="1137764"/>
            <a:ext cx="4138115" cy="3419692"/>
          </a:xfrm>
          <a:prstGeom prst="rect">
            <a:avLst/>
          </a:prstGeom>
        </p:spPr>
      </p:pic>
      <p:sp>
        <p:nvSpPr>
          <p:cNvPr id="5" name="TextBox 4">
            <a:extLst>
              <a:ext uri="{FF2B5EF4-FFF2-40B4-BE49-F238E27FC236}">
                <a16:creationId xmlns:a16="http://schemas.microsoft.com/office/drawing/2014/main" id="{F8DABA4E-E863-454A-B9B4-39A754C03BC1}"/>
              </a:ext>
            </a:extLst>
          </p:cNvPr>
          <p:cNvSpPr txBox="1"/>
          <p:nvPr/>
        </p:nvSpPr>
        <p:spPr>
          <a:xfrm>
            <a:off x="66310" y="565103"/>
            <a:ext cx="8425045"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2 &amp; 3 ) find the variance within the groups </a:t>
            </a:r>
            <a:r>
              <a:rPr lang="en-US" sz="1400" dirty="0" err="1">
                <a:solidFill>
                  <a:schemeClr val="bg2"/>
                </a:solidFill>
                <a:latin typeface="+mn-lt"/>
              </a:rPr>
              <a:t>i.e</a:t>
            </a:r>
            <a:r>
              <a:rPr lang="en-US" sz="1400" dirty="0">
                <a:solidFill>
                  <a:schemeClr val="bg2"/>
                </a:solidFill>
                <a:latin typeface="+mn-lt"/>
              </a:rPr>
              <a:t> sum of squared withing groups (</a:t>
            </a:r>
            <a:r>
              <a:rPr lang="en-US" sz="1400" b="1" dirty="0">
                <a:solidFill>
                  <a:schemeClr val="bg2"/>
                </a:solidFill>
                <a:latin typeface="+mn-lt"/>
              </a:rPr>
              <a:t>called SSW</a:t>
            </a:r>
            <a:r>
              <a:rPr lang="en-US" sz="1400" dirty="0">
                <a:solidFill>
                  <a:schemeClr val="bg2"/>
                </a:solidFill>
                <a:latin typeface="+mn-lt"/>
              </a:rPr>
              <a:t>), by </a:t>
            </a:r>
            <a:r>
              <a:rPr lang="en-US" sz="1400" b="1" dirty="0">
                <a:solidFill>
                  <a:schemeClr val="bg2"/>
                </a:solidFill>
                <a:latin typeface="+mn-lt"/>
              </a:rPr>
              <a:t>finding the total sum of squares. Like this:</a:t>
            </a:r>
          </a:p>
        </p:txBody>
      </p:sp>
      <p:sp>
        <p:nvSpPr>
          <p:cNvPr id="6" name="TextBox 5">
            <a:extLst>
              <a:ext uri="{FF2B5EF4-FFF2-40B4-BE49-F238E27FC236}">
                <a16:creationId xmlns:a16="http://schemas.microsoft.com/office/drawing/2014/main" id="{5E8E2774-7587-4BA1-AC18-61DD8E924F6D}"/>
              </a:ext>
            </a:extLst>
          </p:cNvPr>
          <p:cNvSpPr txBox="1"/>
          <p:nvPr/>
        </p:nvSpPr>
        <p:spPr>
          <a:xfrm>
            <a:off x="4753485" y="1391816"/>
            <a:ext cx="2603597"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otal sum of </a:t>
            </a:r>
            <a:r>
              <a:rPr lang="en-US" sz="1400" b="1" dirty="0">
                <a:solidFill>
                  <a:schemeClr val="bg2"/>
                </a:solidFill>
                <a:latin typeface="+mn-lt"/>
              </a:rPr>
              <a:t>squared (called SST) = 257.3</a:t>
            </a:r>
          </a:p>
        </p:txBody>
      </p:sp>
      <p:sp>
        <p:nvSpPr>
          <p:cNvPr id="7" name="TextBox 6">
            <a:extLst>
              <a:ext uri="{FF2B5EF4-FFF2-40B4-BE49-F238E27FC236}">
                <a16:creationId xmlns:a16="http://schemas.microsoft.com/office/drawing/2014/main" id="{C78B2EBF-9B12-40F8-8B9D-C210859AB399}"/>
              </a:ext>
            </a:extLst>
          </p:cNvPr>
          <p:cNvSpPr txBox="1"/>
          <p:nvPr/>
        </p:nvSpPr>
        <p:spPr>
          <a:xfrm>
            <a:off x="4865169" y="2330790"/>
            <a:ext cx="1689197"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um if squared between groups </a:t>
            </a:r>
            <a:r>
              <a:rPr lang="en-US" sz="1400" b="1" dirty="0">
                <a:solidFill>
                  <a:schemeClr val="bg2"/>
                </a:solidFill>
                <a:latin typeface="+mn-lt"/>
              </a:rPr>
              <a:t>(called SSB) = 257.3 – 54 = 203.3</a:t>
            </a:r>
          </a:p>
        </p:txBody>
      </p:sp>
      <p:sp>
        <p:nvSpPr>
          <p:cNvPr id="8" name="TextBox 7">
            <a:extLst>
              <a:ext uri="{FF2B5EF4-FFF2-40B4-BE49-F238E27FC236}">
                <a16:creationId xmlns:a16="http://schemas.microsoft.com/office/drawing/2014/main" id="{3E8F476B-330B-496F-8438-25D856235442}"/>
              </a:ext>
            </a:extLst>
          </p:cNvPr>
          <p:cNvSpPr txBox="1"/>
          <p:nvPr/>
        </p:nvSpPr>
        <p:spPr>
          <a:xfrm>
            <a:off x="4948930" y="3811163"/>
            <a:ext cx="2408152"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ST = SSQ + SSB</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748EEDEC-7E8C-4A93-922A-6A9ED402245F}"/>
                  </a:ext>
                </a:extLst>
              </p14:cNvPr>
              <p14:cNvContentPartPr/>
              <p14:nvPr/>
            </p14:nvContentPartPr>
            <p14:xfrm>
              <a:off x="19080" y="1319040"/>
              <a:ext cx="8920440" cy="3520080"/>
            </p14:xfrm>
          </p:contentPart>
        </mc:Choice>
        <mc:Fallback>
          <p:pic>
            <p:nvPicPr>
              <p:cNvPr id="3" name="Ink 2">
                <a:extLst>
                  <a:ext uri="{FF2B5EF4-FFF2-40B4-BE49-F238E27FC236}">
                    <a16:creationId xmlns:a16="http://schemas.microsoft.com/office/drawing/2014/main" id="{748EEDEC-7E8C-4A93-922A-6A9ED402245F}"/>
                  </a:ext>
                </a:extLst>
              </p:cNvPr>
              <p:cNvPicPr/>
              <p:nvPr/>
            </p:nvPicPr>
            <p:blipFill>
              <a:blip r:embed="rId4"/>
              <a:stretch>
                <a:fillRect/>
              </a:stretch>
            </p:blipFill>
            <p:spPr>
              <a:xfrm>
                <a:off x="9720" y="1309680"/>
                <a:ext cx="8939160" cy="3538800"/>
              </a:xfrm>
              <a:prstGeom prst="rect">
                <a:avLst/>
              </a:prstGeom>
            </p:spPr>
          </p:pic>
        </mc:Fallback>
      </mc:AlternateContent>
    </p:spTree>
    <p:extLst>
      <p:ext uri="{BB962C8B-B14F-4D97-AF65-F5344CB8AC3E}">
        <p14:creationId xmlns:p14="http://schemas.microsoft.com/office/powerpoint/2010/main" val="4122162930"/>
      </p:ext>
    </p:extLst>
  </p:cSld>
  <p:clrMapOvr>
    <a:masterClrMapping/>
  </p:clrMapOvr>
  <p:transition spd="med">
    <p:wipe dir="r"/>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E3164-056A-4A5A-811D-20047BA37266}"/>
              </a:ext>
            </a:extLst>
          </p:cNvPr>
          <p:cNvSpPr>
            <a:spLocks noGrp="1"/>
          </p:cNvSpPr>
          <p:nvPr>
            <p:ph type="title"/>
          </p:nvPr>
        </p:nvSpPr>
        <p:spPr>
          <a:xfrm>
            <a:off x="-1" y="0"/>
            <a:ext cx="9004397" cy="502571"/>
          </a:xfrm>
        </p:spPr>
        <p:txBody>
          <a:bodyPr/>
          <a:lstStyle/>
          <a:p>
            <a:r>
              <a:rPr lang="en-US" dirty="0"/>
              <a:t>ANOVA : Performing calculation according to steps</a:t>
            </a:r>
          </a:p>
        </p:txBody>
      </p:sp>
      <p:pic>
        <p:nvPicPr>
          <p:cNvPr id="4" name="Picture 3">
            <a:extLst>
              <a:ext uri="{FF2B5EF4-FFF2-40B4-BE49-F238E27FC236}">
                <a16:creationId xmlns:a16="http://schemas.microsoft.com/office/drawing/2014/main" id="{E2BE140B-40B1-4A2C-871A-6D480E40E151}"/>
              </a:ext>
            </a:extLst>
          </p:cNvPr>
          <p:cNvPicPr>
            <a:picLocks noChangeAspect="1"/>
          </p:cNvPicPr>
          <p:nvPr/>
        </p:nvPicPr>
        <p:blipFill>
          <a:blip r:embed="rId2"/>
          <a:stretch>
            <a:fillRect/>
          </a:stretch>
        </p:blipFill>
        <p:spPr>
          <a:xfrm>
            <a:off x="952428" y="1165685"/>
            <a:ext cx="3065343" cy="1544431"/>
          </a:xfrm>
          <a:prstGeom prst="rect">
            <a:avLst/>
          </a:prstGeom>
        </p:spPr>
      </p:pic>
      <p:pic>
        <p:nvPicPr>
          <p:cNvPr id="6" name="Picture 5">
            <a:extLst>
              <a:ext uri="{FF2B5EF4-FFF2-40B4-BE49-F238E27FC236}">
                <a16:creationId xmlns:a16="http://schemas.microsoft.com/office/drawing/2014/main" id="{DD1100A8-4541-4307-947F-2AC51C336F94}"/>
              </a:ext>
            </a:extLst>
          </p:cNvPr>
          <p:cNvPicPr>
            <a:picLocks noChangeAspect="1"/>
          </p:cNvPicPr>
          <p:nvPr/>
        </p:nvPicPr>
        <p:blipFill>
          <a:blip r:embed="rId3"/>
          <a:stretch>
            <a:fillRect/>
          </a:stretch>
        </p:blipFill>
        <p:spPr>
          <a:xfrm>
            <a:off x="915093" y="3028180"/>
            <a:ext cx="6205356" cy="1544033"/>
          </a:xfrm>
          <a:prstGeom prst="rect">
            <a:avLst/>
          </a:prstGeom>
        </p:spPr>
      </p:pic>
      <p:sp>
        <p:nvSpPr>
          <p:cNvPr id="7" name="TextBox 6">
            <a:extLst>
              <a:ext uri="{FF2B5EF4-FFF2-40B4-BE49-F238E27FC236}">
                <a16:creationId xmlns:a16="http://schemas.microsoft.com/office/drawing/2014/main" id="{0284CC22-EE05-4B6A-BCC7-FE81AF70701B}"/>
              </a:ext>
            </a:extLst>
          </p:cNvPr>
          <p:cNvSpPr txBox="1"/>
          <p:nvPr/>
        </p:nvSpPr>
        <p:spPr>
          <a:xfrm>
            <a:off x="4669724" y="4495218"/>
            <a:ext cx="2317410"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Observations - Groups</a:t>
            </a:r>
          </a:p>
        </p:txBody>
      </p:sp>
      <p:sp>
        <p:nvSpPr>
          <p:cNvPr id="8" name="TextBox 7">
            <a:extLst>
              <a:ext uri="{FF2B5EF4-FFF2-40B4-BE49-F238E27FC236}">
                <a16:creationId xmlns:a16="http://schemas.microsoft.com/office/drawing/2014/main" id="{6BE65B03-7E09-455B-BDF3-566465FAEF75}"/>
              </a:ext>
            </a:extLst>
          </p:cNvPr>
          <p:cNvSpPr txBox="1"/>
          <p:nvPr/>
        </p:nvSpPr>
        <p:spPr>
          <a:xfrm>
            <a:off x="4257893" y="1281076"/>
            <a:ext cx="2121967"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 101.667</a:t>
            </a:r>
          </a:p>
        </p:txBody>
      </p:sp>
      <p:sp>
        <p:nvSpPr>
          <p:cNvPr id="9" name="TextBox 8">
            <a:extLst>
              <a:ext uri="{FF2B5EF4-FFF2-40B4-BE49-F238E27FC236}">
                <a16:creationId xmlns:a16="http://schemas.microsoft.com/office/drawing/2014/main" id="{89B77CB9-2B99-4B07-8F00-A7F828B8C57B}"/>
              </a:ext>
            </a:extLst>
          </p:cNvPr>
          <p:cNvSpPr txBox="1"/>
          <p:nvPr/>
        </p:nvSpPr>
        <p:spPr>
          <a:xfrm>
            <a:off x="139604" y="677075"/>
            <a:ext cx="7049953"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4 &amp; 5 ) finding F-ratio and then comparing with F-table</a:t>
            </a:r>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7587F55A-35D6-4411-8BF1-972F2B931E13}"/>
                  </a:ext>
                </a:extLst>
              </p14:cNvPr>
              <p14:cNvContentPartPr/>
              <p14:nvPr/>
            </p14:nvContentPartPr>
            <p14:xfrm>
              <a:off x="733320" y="900000"/>
              <a:ext cx="7963200" cy="4034160"/>
            </p14:xfrm>
          </p:contentPart>
        </mc:Choice>
        <mc:Fallback>
          <p:pic>
            <p:nvPicPr>
              <p:cNvPr id="3" name="Ink 2">
                <a:extLst>
                  <a:ext uri="{FF2B5EF4-FFF2-40B4-BE49-F238E27FC236}">
                    <a16:creationId xmlns:a16="http://schemas.microsoft.com/office/drawing/2014/main" id="{7587F55A-35D6-4411-8BF1-972F2B931E13}"/>
                  </a:ext>
                </a:extLst>
              </p:cNvPr>
              <p:cNvPicPr/>
              <p:nvPr/>
            </p:nvPicPr>
            <p:blipFill>
              <a:blip r:embed="rId5"/>
              <a:stretch>
                <a:fillRect/>
              </a:stretch>
            </p:blipFill>
            <p:spPr>
              <a:xfrm>
                <a:off x="723960" y="890640"/>
                <a:ext cx="7981920" cy="4052880"/>
              </a:xfrm>
              <a:prstGeom prst="rect">
                <a:avLst/>
              </a:prstGeom>
            </p:spPr>
          </p:pic>
        </mc:Fallback>
      </mc:AlternateContent>
    </p:spTree>
    <p:extLst>
      <p:ext uri="{BB962C8B-B14F-4D97-AF65-F5344CB8AC3E}">
        <p14:creationId xmlns:p14="http://schemas.microsoft.com/office/powerpoint/2010/main" val="2241858490"/>
      </p:ext>
    </p:extLst>
  </p:cSld>
  <p:clrMapOvr>
    <a:masterClrMapping/>
  </p:clrMapOvr>
  <p:transition spd="med">
    <p:wipe dir="r"/>
  </p:transition>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43DA7-43E4-4A1B-9F0A-A9D4FBE959BD}"/>
              </a:ext>
            </a:extLst>
          </p:cNvPr>
          <p:cNvSpPr>
            <a:spLocks noGrp="1"/>
          </p:cNvSpPr>
          <p:nvPr>
            <p:ph type="title"/>
          </p:nvPr>
        </p:nvSpPr>
        <p:spPr>
          <a:xfrm>
            <a:off x="0" y="0"/>
            <a:ext cx="9144000" cy="637794"/>
          </a:xfrm>
        </p:spPr>
        <p:txBody>
          <a:bodyPr/>
          <a:lstStyle/>
          <a:p>
            <a:r>
              <a:rPr lang="en-US" dirty="0"/>
              <a:t>ANOVA : Performing calculation according to steps</a:t>
            </a:r>
          </a:p>
        </p:txBody>
      </p:sp>
      <p:sp>
        <p:nvSpPr>
          <p:cNvPr id="3" name="TextBox 2">
            <a:extLst>
              <a:ext uri="{FF2B5EF4-FFF2-40B4-BE49-F238E27FC236}">
                <a16:creationId xmlns:a16="http://schemas.microsoft.com/office/drawing/2014/main" id="{FFF77DDE-C04B-41E8-B8A3-28DB722D8607}"/>
              </a:ext>
            </a:extLst>
          </p:cNvPr>
          <p:cNvSpPr txBox="1"/>
          <p:nvPr/>
        </p:nvSpPr>
        <p:spPr>
          <a:xfrm>
            <a:off x="202424" y="788757"/>
            <a:ext cx="3378394"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nce we calculate the F-ratio as :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dirty="0">
                <a:solidFill>
                  <a:schemeClr val="bg2"/>
                </a:solidFill>
                <a:latin typeface="+mn-lt"/>
              </a:rPr>
              <a:t>F(2,12) – 22.59, p&lt; .05</a:t>
            </a:r>
          </a:p>
        </p:txBody>
      </p:sp>
      <p:sp>
        <p:nvSpPr>
          <p:cNvPr id="6" name="TextBox 5">
            <a:extLst>
              <a:ext uri="{FF2B5EF4-FFF2-40B4-BE49-F238E27FC236}">
                <a16:creationId xmlns:a16="http://schemas.microsoft.com/office/drawing/2014/main" id="{3364D02E-A55F-4990-B961-AA53949A5BD5}"/>
              </a:ext>
            </a:extLst>
          </p:cNvPr>
          <p:cNvSpPr txBox="1"/>
          <p:nvPr/>
        </p:nvSpPr>
        <p:spPr>
          <a:xfrm>
            <a:off x="0" y="1829160"/>
            <a:ext cx="1137765"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Degree of freedom, numerator</a:t>
            </a:r>
          </a:p>
        </p:txBody>
      </p:sp>
      <p:sp>
        <p:nvSpPr>
          <p:cNvPr id="7" name="TextBox 6">
            <a:extLst>
              <a:ext uri="{FF2B5EF4-FFF2-40B4-BE49-F238E27FC236}">
                <a16:creationId xmlns:a16="http://schemas.microsoft.com/office/drawing/2014/main" id="{0BD58522-DA57-4F48-A84A-9CFA623DBCA7}"/>
              </a:ext>
            </a:extLst>
          </p:cNvPr>
          <p:cNvSpPr txBox="1"/>
          <p:nvPr/>
        </p:nvSpPr>
        <p:spPr>
          <a:xfrm>
            <a:off x="1322738" y="1895490"/>
            <a:ext cx="1371601"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Degree of freedom, Denominator</a:t>
            </a:r>
          </a:p>
        </p:txBody>
      </p:sp>
      <p:cxnSp>
        <p:nvCxnSpPr>
          <p:cNvPr id="9" name="Straight Arrow Connector 8">
            <a:extLst>
              <a:ext uri="{FF2B5EF4-FFF2-40B4-BE49-F238E27FC236}">
                <a16:creationId xmlns:a16="http://schemas.microsoft.com/office/drawing/2014/main" id="{FF4D05DF-998E-4B7D-8203-7545CF24B435}"/>
              </a:ext>
            </a:extLst>
          </p:cNvPr>
          <p:cNvCxnSpPr/>
          <p:nvPr/>
        </p:nvCxnSpPr>
        <p:spPr>
          <a:xfrm flipV="1">
            <a:off x="258266" y="1527421"/>
            <a:ext cx="251285" cy="368069"/>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93C62D87-3E80-4C4C-850C-D54998F6BEC6}"/>
              </a:ext>
            </a:extLst>
          </p:cNvPr>
          <p:cNvCxnSpPr/>
          <p:nvPr/>
        </p:nvCxnSpPr>
        <p:spPr>
          <a:xfrm flipH="1" flipV="1">
            <a:off x="746876" y="1494256"/>
            <a:ext cx="977222" cy="401234"/>
          </a:xfrm>
          <a:prstGeom prst="straightConnector1">
            <a:avLst/>
          </a:prstGeom>
          <a:ln w="12700" cmpd="sng">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2994D200-603D-4DED-BDDE-F8FBED80481D}"/>
              </a:ext>
            </a:extLst>
          </p:cNvPr>
          <p:cNvSpPr txBox="1"/>
          <p:nvPr/>
        </p:nvSpPr>
        <p:spPr>
          <a:xfrm>
            <a:off x="3992648" y="1711455"/>
            <a:ext cx="4662742"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F = 101.667 / 4.5 = 22.59</a:t>
            </a:r>
          </a:p>
        </p:txBody>
      </p:sp>
      <p:sp>
        <p:nvSpPr>
          <p:cNvPr id="13" name="TextBox 12">
            <a:extLst>
              <a:ext uri="{FF2B5EF4-FFF2-40B4-BE49-F238E27FC236}">
                <a16:creationId xmlns:a16="http://schemas.microsoft.com/office/drawing/2014/main" id="{BA9ACD6E-66E5-4700-84F4-AC221A9D3CD3}"/>
              </a:ext>
            </a:extLst>
          </p:cNvPr>
          <p:cNvSpPr txBox="1"/>
          <p:nvPr/>
        </p:nvSpPr>
        <p:spPr>
          <a:xfrm>
            <a:off x="258266" y="2980525"/>
            <a:ext cx="6987132"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Final step : </a:t>
            </a:r>
            <a:r>
              <a:rPr lang="en-US" sz="1400" dirty="0">
                <a:solidFill>
                  <a:schemeClr val="bg2"/>
                </a:solidFill>
                <a:latin typeface="+mn-lt"/>
              </a:rPr>
              <a:t>Look into the F- table and check the calculated F-value &gt; the C.V or not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Accordingly conclude to Reject or Not reject Ho</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842644E6-4F64-4700-98E2-4634EEF44F33}"/>
                  </a:ext>
                </a:extLst>
              </p14:cNvPr>
              <p14:cNvContentPartPr/>
              <p14:nvPr/>
            </p14:nvContentPartPr>
            <p14:xfrm>
              <a:off x="1100160" y="1457280"/>
              <a:ext cx="7220160" cy="3439080"/>
            </p14:xfrm>
          </p:contentPart>
        </mc:Choice>
        <mc:Fallback>
          <p:pic>
            <p:nvPicPr>
              <p:cNvPr id="4" name="Ink 3">
                <a:extLst>
                  <a:ext uri="{FF2B5EF4-FFF2-40B4-BE49-F238E27FC236}">
                    <a16:creationId xmlns:a16="http://schemas.microsoft.com/office/drawing/2014/main" id="{842644E6-4F64-4700-98E2-4634EEF44F33}"/>
                  </a:ext>
                </a:extLst>
              </p:cNvPr>
              <p:cNvPicPr/>
              <p:nvPr/>
            </p:nvPicPr>
            <p:blipFill>
              <a:blip r:embed="rId3"/>
              <a:stretch>
                <a:fillRect/>
              </a:stretch>
            </p:blipFill>
            <p:spPr>
              <a:xfrm>
                <a:off x="1090800" y="1447920"/>
                <a:ext cx="7238880" cy="3457800"/>
              </a:xfrm>
              <a:prstGeom prst="rect">
                <a:avLst/>
              </a:prstGeom>
            </p:spPr>
          </p:pic>
        </mc:Fallback>
      </mc:AlternateContent>
    </p:spTree>
    <p:extLst>
      <p:ext uri="{BB962C8B-B14F-4D97-AF65-F5344CB8AC3E}">
        <p14:creationId xmlns:p14="http://schemas.microsoft.com/office/powerpoint/2010/main" val="4072586870"/>
      </p:ext>
    </p:extLst>
  </p:cSld>
  <p:clrMapOvr>
    <a:masterClrMapping/>
  </p:clrMapOvr>
  <p:transition spd="med">
    <p:wipe dir="r"/>
  </p:transition>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773CAD-09FC-49AD-8908-8EB70DA7B5ED}"/>
              </a:ext>
            </a:extLst>
          </p:cNvPr>
          <p:cNvSpPr>
            <a:spLocks noGrp="1"/>
          </p:cNvSpPr>
          <p:nvPr>
            <p:ph type="title"/>
          </p:nvPr>
        </p:nvSpPr>
        <p:spPr>
          <a:xfrm>
            <a:off x="0" y="0"/>
            <a:ext cx="8229600" cy="637794"/>
          </a:xfrm>
        </p:spPr>
        <p:txBody>
          <a:bodyPr/>
          <a:lstStyle/>
          <a:p>
            <a:r>
              <a:rPr lang="en-US" dirty="0"/>
              <a:t>ANOVA – F- table</a:t>
            </a:r>
          </a:p>
        </p:txBody>
      </p:sp>
      <p:pic>
        <p:nvPicPr>
          <p:cNvPr id="4" name="Picture 3">
            <a:extLst>
              <a:ext uri="{FF2B5EF4-FFF2-40B4-BE49-F238E27FC236}">
                <a16:creationId xmlns:a16="http://schemas.microsoft.com/office/drawing/2014/main" id="{8C59B509-6E0D-4FD9-8806-C889CDE3173C}"/>
              </a:ext>
            </a:extLst>
          </p:cNvPr>
          <p:cNvPicPr>
            <a:picLocks noChangeAspect="1"/>
          </p:cNvPicPr>
          <p:nvPr/>
        </p:nvPicPr>
        <p:blipFill>
          <a:blip r:embed="rId3"/>
          <a:stretch>
            <a:fillRect/>
          </a:stretch>
        </p:blipFill>
        <p:spPr>
          <a:xfrm>
            <a:off x="139702" y="457079"/>
            <a:ext cx="6568123" cy="3684890"/>
          </a:xfrm>
          <a:prstGeom prst="rect">
            <a:avLst/>
          </a:prstGeom>
        </p:spPr>
      </p:pic>
      <p:sp>
        <p:nvSpPr>
          <p:cNvPr id="5" name="TextBox 4">
            <a:extLst>
              <a:ext uri="{FF2B5EF4-FFF2-40B4-BE49-F238E27FC236}">
                <a16:creationId xmlns:a16="http://schemas.microsoft.com/office/drawing/2014/main" id="{5AA97624-D6BA-4DDC-A936-397DE7F2B859}"/>
              </a:ext>
            </a:extLst>
          </p:cNvPr>
          <p:cNvSpPr txBox="1"/>
          <p:nvPr/>
        </p:nvSpPr>
        <p:spPr>
          <a:xfrm>
            <a:off x="1361130" y="4337438"/>
            <a:ext cx="7405942" cy="52322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Conclusion : </a:t>
            </a:r>
            <a:r>
              <a:rPr lang="en-US" sz="1400" dirty="0">
                <a:solidFill>
                  <a:schemeClr val="bg2"/>
                </a:solidFill>
                <a:latin typeface="+mn-lt"/>
              </a:rPr>
              <a:t>f(2,12) – 22.59 is &gt; than C.V = 3.89, </a:t>
            </a:r>
            <a:r>
              <a:rPr lang="en-US" sz="1400" dirty="0" err="1">
                <a:solidFill>
                  <a:schemeClr val="bg2"/>
                </a:solidFill>
                <a:latin typeface="+mn-lt"/>
              </a:rPr>
              <a:t>i.e</a:t>
            </a:r>
            <a:r>
              <a:rPr lang="en-US" sz="1400" dirty="0">
                <a:solidFill>
                  <a:schemeClr val="bg2"/>
                </a:solidFill>
                <a:latin typeface="+mn-lt"/>
              </a:rPr>
              <a:t> the calculated F-value comes in the rejection region. Hence Reject Ho </a:t>
            </a:r>
            <a:r>
              <a:rPr lang="en-US" sz="1400" i="1" dirty="0">
                <a:solidFill>
                  <a:schemeClr val="bg2">
                    <a:lumMod val="50000"/>
                    <a:lumOff val="50000"/>
                  </a:schemeClr>
                </a:solidFill>
                <a:latin typeface="+mn-lt"/>
              </a:rPr>
              <a:t>(see plot on next slide)</a:t>
            </a:r>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2A4B0BFE-6A10-4D62-B3E3-AAC0AB1ABC86}"/>
                  </a:ext>
                </a:extLst>
              </p14:cNvPr>
              <p14:cNvContentPartPr/>
              <p14:nvPr/>
            </p14:nvContentPartPr>
            <p14:xfrm>
              <a:off x="157320" y="0"/>
              <a:ext cx="8410680" cy="4934160"/>
            </p14:xfrm>
          </p:contentPart>
        </mc:Choice>
        <mc:Fallback>
          <p:pic>
            <p:nvPicPr>
              <p:cNvPr id="3" name="Ink 2">
                <a:extLst>
                  <a:ext uri="{FF2B5EF4-FFF2-40B4-BE49-F238E27FC236}">
                    <a16:creationId xmlns:a16="http://schemas.microsoft.com/office/drawing/2014/main" id="{2A4B0BFE-6A10-4D62-B3E3-AAC0AB1ABC86}"/>
                  </a:ext>
                </a:extLst>
              </p:cNvPr>
              <p:cNvPicPr/>
              <p:nvPr/>
            </p:nvPicPr>
            <p:blipFill>
              <a:blip r:embed="rId5"/>
              <a:stretch>
                <a:fillRect/>
              </a:stretch>
            </p:blipFill>
            <p:spPr>
              <a:xfrm>
                <a:off x="147960" y="-9360"/>
                <a:ext cx="8429400" cy="4952880"/>
              </a:xfrm>
              <a:prstGeom prst="rect">
                <a:avLst/>
              </a:prstGeom>
            </p:spPr>
          </p:pic>
        </mc:Fallback>
      </mc:AlternateContent>
    </p:spTree>
    <p:extLst>
      <p:ext uri="{BB962C8B-B14F-4D97-AF65-F5344CB8AC3E}">
        <p14:creationId xmlns:p14="http://schemas.microsoft.com/office/powerpoint/2010/main" val="269895417"/>
      </p:ext>
    </p:extLst>
  </p:cSld>
  <p:clrMapOvr>
    <a:masterClrMapping/>
  </p:clrMapOvr>
  <p:transition spd="med">
    <p:wipe dir="r"/>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CD350F-14F3-4C4B-AB19-70E23F7E1A6A}"/>
              </a:ext>
            </a:extLst>
          </p:cNvPr>
          <p:cNvSpPr>
            <a:spLocks noGrp="1"/>
          </p:cNvSpPr>
          <p:nvPr>
            <p:ph type="title"/>
          </p:nvPr>
        </p:nvSpPr>
        <p:spPr>
          <a:xfrm>
            <a:off x="0" y="0"/>
            <a:ext cx="8229600" cy="637794"/>
          </a:xfrm>
        </p:spPr>
        <p:txBody>
          <a:bodyPr/>
          <a:lstStyle/>
          <a:p>
            <a:r>
              <a:rPr lang="en-US" dirty="0"/>
              <a:t>One Way ANOVA : Another Example 2</a:t>
            </a:r>
          </a:p>
        </p:txBody>
      </p:sp>
      <p:sp>
        <p:nvSpPr>
          <p:cNvPr id="3" name="TextBox 2">
            <a:extLst>
              <a:ext uri="{FF2B5EF4-FFF2-40B4-BE49-F238E27FC236}">
                <a16:creationId xmlns:a16="http://schemas.microsoft.com/office/drawing/2014/main" id="{04E93016-4231-489B-8C86-4179B0425D11}"/>
              </a:ext>
            </a:extLst>
          </p:cNvPr>
          <p:cNvSpPr txBox="1"/>
          <p:nvPr/>
        </p:nvSpPr>
        <p:spPr>
          <a:xfrm>
            <a:off x="202424" y="760837"/>
            <a:ext cx="8376183" cy="1169551"/>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 consumer agency wanted to find out if the mean weight loss for each of the 3 types of drugs for loosing weight is same. The following table records the weight loss per KG by the 15 people after eating these drugs for 3 months.</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Using 10% significant level will you conclude that mean weight loss is the same for each of 3 drugs</a:t>
            </a:r>
          </a:p>
        </p:txBody>
      </p:sp>
      <p:graphicFrame>
        <p:nvGraphicFramePr>
          <p:cNvPr id="4" name="Table 4">
            <a:extLst>
              <a:ext uri="{FF2B5EF4-FFF2-40B4-BE49-F238E27FC236}">
                <a16:creationId xmlns:a16="http://schemas.microsoft.com/office/drawing/2014/main" id="{C2666D29-DAD7-447C-A151-F0791CA550A4}"/>
              </a:ext>
            </a:extLst>
          </p:cNvPr>
          <p:cNvGraphicFramePr>
            <a:graphicFrameLocks noGrp="1"/>
          </p:cNvGraphicFramePr>
          <p:nvPr>
            <p:extLst>
              <p:ext uri="{D42A27DB-BD31-4B8C-83A1-F6EECF244321}">
                <p14:modId xmlns:p14="http://schemas.microsoft.com/office/powerpoint/2010/main" val="2666095422"/>
              </p:ext>
            </p:extLst>
          </p:nvPr>
        </p:nvGraphicFramePr>
        <p:xfrm>
          <a:off x="1147072" y="2298748"/>
          <a:ext cx="6096000" cy="222504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1157513822"/>
                    </a:ext>
                  </a:extLst>
                </a:gridCol>
                <a:gridCol w="2032000">
                  <a:extLst>
                    <a:ext uri="{9D8B030D-6E8A-4147-A177-3AD203B41FA5}">
                      <a16:colId xmlns:a16="http://schemas.microsoft.com/office/drawing/2014/main" val="3189769854"/>
                    </a:ext>
                  </a:extLst>
                </a:gridCol>
                <a:gridCol w="2032000">
                  <a:extLst>
                    <a:ext uri="{9D8B030D-6E8A-4147-A177-3AD203B41FA5}">
                      <a16:colId xmlns:a16="http://schemas.microsoft.com/office/drawing/2014/main" val="2387582659"/>
                    </a:ext>
                  </a:extLst>
                </a:gridCol>
              </a:tblGrid>
              <a:tr h="370840">
                <a:tc>
                  <a:txBody>
                    <a:bodyPr/>
                    <a:lstStyle/>
                    <a:p>
                      <a:r>
                        <a:rPr lang="en-US" dirty="0">
                          <a:solidFill>
                            <a:schemeClr val="tx2"/>
                          </a:solidFill>
                        </a:rPr>
                        <a:t>Drug 1</a:t>
                      </a:r>
                    </a:p>
                  </a:txBody>
                  <a:tcPr/>
                </a:tc>
                <a:tc>
                  <a:txBody>
                    <a:bodyPr/>
                    <a:lstStyle/>
                    <a:p>
                      <a:r>
                        <a:rPr lang="en-US" dirty="0">
                          <a:solidFill>
                            <a:schemeClr val="tx2"/>
                          </a:solidFill>
                        </a:rPr>
                        <a:t>Drug 2</a:t>
                      </a:r>
                    </a:p>
                  </a:txBody>
                  <a:tcPr/>
                </a:tc>
                <a:tc>
                  <a:txBody>
                    <a:bodyPr/>
                    <a:lstStyle/>
                    <a:p>
                      <a:r>
                        <a:rPr lang="en-US" dirty="0">
                          <a:solidFill>
                            <a:schemeClr val="tx2"/>
                          </a:solidFill>
                        </a:rPr>
                        <a:t>Drug 3</a:t>
                      </a:r>
                    </a:p>
                  </a:txBody>
                  <a:tcPr/>
                </a:tc>
                <a:extLst>
                  <a:ext uri="{0D108BD9-81ED-4DB2-BD59-A6C34878D82A}">
                    <a16:rowId xmlns:a16="http://schemas.microsoft.com/office/drawing/2014/main" val="2712902630"/>
                  </a:ext>
                </a:extLst>
              </a:tr>
              <a:tr h="370840">
                <a:tc>
                  <a:txBody>
                    <a:bodyPr/>
                    <a:lstStyle/>
                    <a:p>
                      <a:r>
                        <a:rPr lang="en-US" dirty="0"/>
                        <a:t>7.5</a:t>
                      </a:r>
                    </a:p>
                  </a:txBody>
                  <a:tcPr/>
                </a:tc>
                <a:tc>
                  <a:txBody>
                    <a:bodyPr/>
                    <a:lstStyle/>
                    <a:p>
                      <a:r>
                        <a:rPr lang="en-US" dirty="0"/>
                        <a:t>9.5</a:t>
                      </a:r>
                    </a:p>
                  </a:txBody>
                  <a:tcPr/>
                </a:tc>
                <a:tc>
                  <a:txBody>
                    <a:bodyPr/>
                    <a:lstStyle/>
                    <a:p>
                      <a:r>
                        <a:rPr lang="en-US" dirty="0"/>
                        <a:t>8.5</a:t>
                      </a:r>
                    </a:p>
                  </a:txBody>
                  <a:tcPr/>
                </a:tc>
                <a:extLst>
                  <a:ext uri="{0D108BD9-81ED-4DB2-BD59-A6C34878D82A}">
                    <a16:rowId xmlns:a16="http://schemas.microsoft.com/office/drawing/2014/main" val="910693249"/>
                  </a:ext>
                </a:extLst>
              </a:tr>
              <a:tr h="370840">
                <a:tc>
                  <a:txBody>
                    <a:bodyPr/>
                    <a:lstStyle/>
                    <a:p>
                      <a:r>
                        <a:rPr lang="en-US" dirty="0"/>
                        <a:t>10</a:t>
                      </a:r>
                    </a:p>
                  </a:txBody>
                  <a:tcPr/>
                </a:tc>
                <a:tc>
                  <a:txBody>
                    <a:bodyPr/>
                    <a:lstStyle/>
                    <a:p>
                      <a:r>
                        <a:rPr lang="en-US" dirty="0"/>
                        <a:t>9</a:t>
                      </a:r>
                    </a:p>
                  </a:txBody>
                  <a:tcPr/>
                </a:tc>
                <a:tc>
                  <a:txBody>
                    <a:bodyPr/>
                    <a:lstStyle/>
                    <a:p>
                      <a:r>
                        <a:rPr lang="en-US" dirty="0"/>
                        <a:t>10</a:t>
                      </a:r>
                    </a:p>
                  </a:txBody>
                  <a:tcPr/>
                </a:tc>
                <a:extLst>
                  <a:ext uri="{0D108BD9-81ED-4DB2-BD59-A6C34878D82A}">
                    <a16:rowId xmlns:a16="http://schemas.microsoft.com/office/drawing/2014/main" val="1881476594"/>
                  </a:ext>
                </a:extLst>
              </a:tr>
              <a:tr h="370840">
                <a:tc>
                  <a:txBody>
                    <a:bodyPr/>
                    <a:lstStyle/>
                    <a:p>
                      <a:r>
                        <a:rPr lang="en-US" dirty="0"/>
                        <a:t>8</a:t>
                      </a:r>
                    </a:p>
                  </a:txBody>
                  <a:tcPr/>
                </a:tc>
                <a:tc>
                  <a:txBody>
                    <a:bodyPr/>
                    <a:lstStyle/>
                    <a:p>
                      <a:r>
                        <a:rPr lang="en-US" dirty="0"/>
                        <a:t>7.5</a:t>
                      </a:r>
                    </a:p>
                  </a:txBody>
                  <a:tcPr/>
                </a:tc>
                <a:tc>
                  <a:txBody>
                    <a:bodyPr/>
                    <a:lstStyle/>
                    <a:p>
                      <a:r>
                        <a:rPr lang="en-US" dirty="0"/>
                        <a:t>6.5</a:t>
                      </a:r>
                    </a:p>
                  </a:txBody>
                  <a:tcPr/>
                </a:tc>
                <a:extLst>
                  <a:ext uri="{0D108BD9-81ED-4DB2-BD59-A6C34878D82A}">
                    <a16:rowId xmlns:a16="http://schemas.microsoft.com/office/drawing/2014/main" val="1061176349"/>
                  </a:ext>
                </a:extLst>
              </a:tr>
              <a:tr h="370840">
                <a:tc>
                  <a:txBody>
                    <a:bodyPr/>
                    <a:lstStyle/>
                    <a:p>
                      <a:r>
                        <a:rPr lang="en-US" dirty="0"/>
                        <a:t>6</a:t>
                      </a:r>
                    </a:p>
                  </a:txBody>
                  <a:tcPr/>
                </a:tc>
                <a:tc>
                  <a:txBody>
                    <a:bodyPr/>
                    <a:lstStyle/>
                    <a:p>
                      <a:r>
                        <a:rPr lang="en-US" dirty="0"/>
                        <a:t>10</a:t>
                      </a:r>
                    </a:p>
                  </a:txBody>
                  <a:tcPr/>
                </a:tc>
                <a:tc>
                  <a:txBody>
                    <a:bodyPr/>
                    <a:lstStyle/>
                    <a:p>
                      <a:r>
                        <a:rPr lang="en-US" dirty="0"/>
                        <a:t>11</a:t>
                      </a:r>
                    </a:p>
                  </a:txBody>
                  <a:tcPr/>
                </a:tc>
                <a:extLst>
                  <a:ext uri="{0D108BD9-81ED-4DB2-BD59-A6C34878D82A}">
                    <a16:rowId xmlns:a16="http://schemas.microsoft.com/office/drawing/2014/main" val="871935396"/>
                  </a:ext>
                </a:extLst>
              </a:tr>
              <a:tr h="370840">
                <a:tc>
                  <a:txBody>
                    <a:bodyPr/>
                    <a:lstStyle/>
                    <a:p>
                      <a:r>
                        <a:rPr lang="en-US" dirty="0"/>
                        <a:t>6.5</a:t>
                      </a:r>
                    </a:p>
                  </a:txBody>
                  <a:tcPr/>
                </a:tc>
                <a:tc>
                  <a:txBody>
                    <a:bodyPr/>
                    <a:lstStyle/>
                    <a:p>
                      <a:r>
                        <a:rPr lang="en-US" dirty="0"/>
                        <a:t>6</a:t>
                      </a:r>
                    </a:p>
                  </a:txBody>
                  <a:tcPr/>
                </a:tc>
                <a:tc>
                  <a:txBody>
                    <a:bodyPr/>
                    <a:lstStyle/>
                    <a:p>
                      <a:r>
                        <a:rPr lang="en-US" dirty="0"/>
                        <a:t>8</a:t>
                      </a:r>
                    </a:p>
                  </a:txBody>
                  <a:tcPr/>
                </a:tc>
                <a:extLst>
                  <a:ext uri="{0D108BD9-81ED-4DB2-BD59-A6C34878D82A}">
                    <a16:rowId xmlns:a16="http://schemas.microsoft.com/office/drawing/2014/main" val="3270804997"/>
                  </a:ext>
                </a:extLst>
              </a:tr>
            </a:tbl>
          </a:graphicData>
        </a:graphic>
      </p:graphicFrame>
      <mc:AlternateContent xmlns:mc="http://schemas.openxmlformats.org/markup-compatibility/2006">
        <mc:Choice xmlns:p14="http://schemas.microsoft.com/office/powerpoint/2010/main" Requires="p14">
          <p:contentPart p14:bwMode="auto" r:id="rId2">
            <p14:nvContentPartPr>
              <p14:cNvPr id="5" name="Ink 4">
                <a:extLst>
                  <a:ext uri="{FF2B5EF4-FFF2-40B4-BE49-F238E27FC236}">
                    <a16:creationId xmlns:a16="http://schemas.microsoft.com/office/drawing/2014/main" id="{8FE1A2C1-2AE3-41DC-B480-FECB9316BB45}"/>
                  </a:ext>
                </a:extLst>
              </p14:cNvPr>
              <p14:cNvContentPartPr/>
              <p14:nvPr/>
            </p14:nvContentPartPr>
            <p14:xfrm>
              <a:off x="695160" y="1014480"/>
              <a:ext cx="7596720" cy="1252800"/>
            </p14:xfrm>
          </p:contentPart>
        </mc:Choice>
        <mc:Fallback>
          <p:pic>
            <p:nvPicPr>
              <p:cNvPr id="5" name="Ink 4">
                <a:extLst>
                  <a:ext uri="{FF2B5EF4-FFF2-40B4-BE49-F238E27FC236}">
                    <a16:creationId xmlns:a16="http://schemas.microsoft.com/office/drawing/2014/main" id="{8FE1A2C1-2AE3-41DC-B480-FECB9316BB45}"/>
                  </a:ext>
                </a:extLst>
              </p:cNvPr>
              <p:cNvPicPr/>
              <p:nvPr/>
            </p:nvPicPr>
            <p:blipFill>
              <a:blip r:embed="rId3"/>
              <a:stretch>
                <a:fillRect/>
              </a:stretch>
            </p:blipFill>
            <p:spPr>
              <a:xfrm>
                <a:off x="685800" y="1005120"/>
                <a:ext cx="7615440" cy="1271520"/>
              </a:xfrm>
              <a:prstGeom prst="rect">
                <a:avLst/>
              </a:prstGeom>
            </p:spPr>
          </p:pic>
        </mc:Fallback>
      </mc:AlternateContent>
    </p:spTree>
    <p:extLst>
      <p:ext uri="{BB962C8B-B14F-4D97-AF65-F5344CB8AC3E}">
        <p14:creationId xmlns:p14="http://schemas.microsoft.com/office/powerpoint/2010/main" val="3251091159"/>
      </p:ext>
    </p:extLst>
  </p:cSld>
  <p:clrMapOvr>
    <a:masterClrMapping/>
  </p:clrMapOvr>
  <p:transition spd="med">
    <p:wipe dir="r"/>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B5336B-7659-4D34-A1CD-835FED5AC305}"/>
              </a:ext>
            </a:extLst>
          </p:cNvPr>
          <p:cNvSpPr>
            <a:spLocks noGrp="1"/>
          </p:cNvSpPr>
          <p:nvPr>
            <p:ph type="title"/>
          </p:nvPr>
        </p:nvSpPr>
        <p:spPr>
          <a:xfrm>
            <a:off x="0" y="0"/>
            <a:ext cx="8229600" cy="637794"/>
          </a:xfrm>
        </p:spPr>
        <p:txBody>
          <a:bodyPr/>
          <a:lstStyle/>
          <a:p>
            <a:r>
              <a:rPr lang="en-US" dirty="0"/>
              <a:t>When to use WHAT ? </a:t>
            </a:r>
          </a:p>
        </p:txBody>
      </p:sp>
      <p:graphicFrame>
        <p:nvGraphicFramePr>
          <p:cNvPr id="4" name="Table 4">
            <a:extLst>
              <a:ext uri="{FF2B5EF4-FFF2-40B4-BE49-F238E27FC236}">
                <a16:creationId xmlns:a16="http://schemas.microsoft.com/office/drawing/2014/main" id="{5122A055-9407-4E55-8381-B130D506BE6E}"/>
              </a:ext>
            </a:extLst>
          </p:cNvPr>
          <p:cNvGraphicFramePr>
            <a:graphicFrameLocks noGrp="1"/>
          </p:cNvGraphicFramePr>
          <p:nvPr>
            <p:extLst>
              <p:ext uri="{D42A27DB-BD31-4B8C-83A1-F6EECF244321}">
                <p14:modId xmlns:p14="http://schemas.microsoft.com/office/powerpoint/2010/main" val="3691458284"/>
              </p:ext>
            </p:extLst>
          </p:nvPr>
        </p:nvGraphicFramePr>
        <p:xfrm>
          <a:off x="358313" y="972520"/>
          <a:ext cx="8052771" cy="2062480"/>
        </p:xfrm>
        <a:graphic>
          <a:graphicData uri="http://schemas.openxmlformats.org/drawingml/2006/table">
            <a:tbl>
              <a:tblPr firstRow="1" bandRow="1">
                <a:tableStyleId>{5940675A-B579-460E-94D1-54222C63F5DA}</a:tableStyleId>
              </a:tblPr>
              <a:tblGrid>
                <a:gridCol w="2569512">
                  <a:extLst>
                    <a:ext uri="{9D8B030D-6E8A-4147-A177-3AD203B41FA5}">
                      <a16:colId xmlns:a16="http://schemas.microsoft.com/office/drawing/2014/main" val="276784685"/>
                    </a:ext>
                  </a:extLst>
                </a:gridCol>
                <a:gridCol w="5483259">
                  <a:extLst>
                    <a:ext uri="{9D8B030D-6E8A-4147-A177-3AD203B41FA5}">
                      <a16:colId xmlns:a16="http://schemas.microsoft.com/office/drawing/2014/main" val="1768606866"/>
                    </a:ext>
                  </a:extLst>
                </a:gridCol>
              </a:tblGrid>
              <a:tr h="370840">
                <a:tc>
                  <a:txBody>
                    <a:bodyPr/>
                    <a:lstStyle/>
                    <a:p>
                      <a:r>
                        <a:rPr lang="en-US" b="1" dirty="0"/>
                        <a:t>Test</a:t>
                      </a:r>
                    </a:p>
                  </a:txBody>
                  <a:tcPr>
                    <a:solidFill>
                      <a:schemeClr val="accent4">
                        <a:lumMod val="20000"/>
                        <a:lumOff val="80000"/>
                      </a:schemeClr>
                    </a:solidFill>
                  </a:tcPr>
                </a:tc>
                <a:tc>
                  <a:txBody>
                    <a:bodyPr/>
                    <a:lstStyle/>
                    <a:p>
                      <a:r>
                        <a:rPr lang="en-US" dirty="0"/>
                        <a:t>Use</a:t>
                      </a:r>
                    </a:p>
                  </a:txBody>
                  <a:tcPr/>
                </a:tc>
                <a:extLst>
                  <a:ext uri="{0D108BD9-81ED-4DB2-BD59-A6C34878D82A}">
                    <a16:rowId xmlns:a16="http://schemas.microsoft.com/office/drawing/2014/main" val="1183533314"/>
                  </a:ext>
                </a:extLst>
              </a:tr>
              <a:tr h="370840">
                <a:tc>
                  <a:txBody>
                    <a:bodyPr/>
                    <a:lstStyle/>
                    <a:p>
                      <a:r>
                        <a:rPr lang="en-US" sz="1600" b="1" dirty="0"/>
                        <a:t>ANOVA</a:t>
                      </a:r>
                    </a:p>
                  </a:txBody>
                  <a:tcPr>
                    <a:solidFill>
                      <a:schemeClr val="accent4">
                        <a:lumMod val="20000"/>
                        <a:lumOff val="80000"/>
                      </a:schemeClr>
                    </a:solidFill>
                  </a:tcPr>
                </a:tc>
                <a:tc>
                  <a:txBody>
                    <a:bodyPr/>
                    <a:lstStyle/>
                    <a:p>
                      <a:r>
                        <a:rPr lang="en-US" sz="1600" dirty="0"/>
                        <a:t>Comparing the mean of (more than two) samples</a:t>
                      </a:r>
                    </a:p>
                  </a:txBody>
                  <a:tcPr/>
                </a:tc>
                <a:extLst>
                  <a:ext uri="{0D108BD9-81ED-4DB2-BD59-A6C34878D82A}">
                    <a16:rowId xmlns:a16="http://schemas.microsoft.com/office/drawing/2014/main" val="227966399"/>
                  </a:ext>
                </a:extLst>
              </a:tr>
              <a:tr h="370840">
                <a:tc>
                  <a:txBody>
                    <a:bodyPr/>
                    <a:lstStyle/>
                    <a:p>
                      <a:r>
                        <a:rPr lang="en-US" sz="1600" b="1" dirty="0"/>
                        <a:t>Chi –Square Test </a:t>
                      </a:r>
                    </a:p>
                  </a:txBody>
                  <a:tcPr>
                    <a:solidFill>
                      <a:schemeClr val="accent4">
                        <a:lumMod val="20000"/>
                        <a:lumOff val="80000"/>
                      </a:schemeClr>
                    </a:solidFill>
                  </a:tcPr>
                </a:tc>
                <a:tc>
                  <a:txBody>
                    <a:bodyPr/>
                    <a:lstStyle/>
                    <a:p>
                      <a:r>
                        <a:rPr lang="en-US" sz="1600" dirty="0"/>
                        <a:t>Testing ‘goodness of fit’ to assumed distribution</a:t>
                      </a:r>
                    </a:p>
                  </a:txBody>
                  <a:tcPr/>
                </a:tc>
                <a:extLst>
                  <a:ext uri="{0D108BD9-81ED-4DB2-BD59-A6C34878D82A}">
                    <a16:rowId xmlns:a16="http://schemas.microsoft.com/office/drawing/2014/main" val="35511097"/>
                  </a:ext>
                </a:extLst>
              </a:tr>
              <a:tr h="370840">
                <a:tc>
                  <a:txBody>
                    <a:bodyPr/>
                    <a:lstStyle/>
                    <a:p>
                      <a:r>
                        <a:rPr lang="en-US" sz="1600" b="1" dirty="0"/>
                        <a:t>t- test</a:t>
                      </a:r>
                    </a:p>
                  </a:txBody>
                  <a:tcPr>
                    <a:solidFill>
                      <a:schemeClr val="accent4">
                        <a:lumMod val="20000"/>
                        <a:lumOff val="80000"/>
                      </a:schemeClr>
                    </a:solidFill>
                  </a:tcPr>
                </a:tc>
                <a:tc>
                  <a:txBody>
                    <a:bodyPr/>
                    <a:lstStyle/>
                    <a:p>
                      <a:r>
                        <a:rPr lang="en-US" sz="1600" dirty="0"/>
                        <a:t>Comparing the mean to a value, or the means of two samples</a:t>
                      </a:r>
                    </a:p>
                  </a:txBody>
                  <a:tcPr/>
                </a:tc>
                <a:extLst>
                  <a:ext uri="{0D108BD9-81ED-4DB2-BD59-A6C34878D82A}">
                    <a16:rowId xmlns:a16="http://schemas.microsoft.com/office/drawing/2014/main" val="806802981"/>
                  </a:ext>
                </a:extLst>
              </a:tr>
              <a:tr h="370840">
                <a:tc>
                  <a:txBody>
                    <a:bodyPr/>
                    <a:lstStyle/>
                    <a:p>
                      <a:r>
                        <a:rPr lang="en-US" sz="1600" b="1" dirty="0"/>
                        <a:t>z - test</a:t>
                      </a:r>
                    </a:p>
                  </a:txBody>
                  <a:tcPr>
                    <a:solidFill>
                      <a:schemeClr val="accent4">
                        <a:lumMod val="20000"/>
                        <a:lumOff val="80000"/>
                      </a:schemeClr>
                    </a:solidFill>
                  </a:tcPr>
                </a:tc>
                <a:tc>
                  <a:txBody>
                    <a:bodyPr/>
                    <a:lstStyle/>
                    <a:p>
                      <a:r>
                        <a:rPr lang="en-US" sz="1600" dirty="0"/>
                        <a:t>Same as t- test but for large samples </a:t>
                      </a:r>
                    </a:p>
                  </a:txBody>
                  <a:tcPr/>
                </a:tc>
                <a:extLst>
                  <a:ext uri="{0D108BD9-81ED-4DB2-BD59-A6C34878D82A}">
                    <a16:rowId xmlns:a16="http://schemas.microsoft.com/office/drawing/2014/main" val="3919581492"/>
                  </a:ext>
                </a:extLst>
              </a:tr>
            </a:tbl>
          </a:graphicData>
        </a:graphic>
      </p:graphicFrame>
      <mc:AlternateContent xmlns:mc="http://schemas.openxmlformats.org/markup-compatibility/2006">
        <mc:Choice xmlns:p14="http://schemas.microsoft.com/office/powerpoint/2010/main" Requires="p14">
          <p:contentPart p14:bwMode="auto" r:id="rId2">
            <p14:nvContentPartPr>
              <p14:cNvPr id="5" name="Ink 4">
                <a:extLst>
                  <a:ext uri="{FF2B5EF4-FFF2-40B4-BE49-F238E27FC236}">
                    <a16:creationId xmlns:a16="http://schemas.microsoft.com/office/drawing/2014/main" id="{8097319A-FE54-4F7B-B9A8-7008B2F329C7}"/>
                  </a:ext>
                </a:extLst>
              </p14:cNvPr>
              <p14:cNvContentPartPr/>
              <p14:nvPr/>
            </p14:nvContentPartPr>
            <p14:xfrm>
              <a:off x="2233440" y="1414440"/>
              <a:ext cx="5767920" cy="1543320"/>
            </p14:xfrm>
          </p:contentPart>
        </mc:Choice>
        <mc:Fallback>
          <p:pic>
            <p:nvPicPr>
              <p:cNvPr id="5" name="Ink 4">
                <a:extLst>
                  <a:ext uri="{FF2B5EF4-FFF2-40B4-BE49-F238E27FC236}">
                    <a16:creationId xmlns:a16="http://schemas.microsoft.com/office/drawing/2014/main" id="{8097319A-FE54-4F7B-B9A8-7008B2F329C7}"/>
                  </a:ext>
                </a:extLst>
              </p:cNvPr>
              <p:cNvPicPr/>
              <p:nvPr/>
            </p:nvPicPr>
            <p:blipFill>
              <a:blip r:embed="rId3"/>
              <a:stretch>
                <a:fillRect/>
              </a:stretch>
            </p:blipFill>
            <p:spPr>
              <a:xfrm>
                <a:off x="2224080" y="1405080"/>
                <a:ext cx="5786640" cy="1562040"/>
              </a:xfrm>
              <a:prstGeom prst="rect">
                <a:avLst/>
              </a:prstGeom>
            </p:spPr>
          </p:pic>
        </mc:Fallback>
      </mc:AlternateContent>
    </p:spTree>
    <p:extLst>
      <p:ext uri="{BB962C8B-B14F-4D97-AF65-F5344CB8AC3E}">
        <p14:creationId xmlns:p14="http://schemas.microsoft.com/office/powerpoint/2010/main" val="1815010286"/>
      </p:ext>
    </p:extLst>
  </p:cSld>
  <p:clrMapOvr>
    <a:masterClrMapping/>
  </p:clrMapOvr>
  <p:transition spd="med">
    <p:wipe dir="r"/>
  </p:transition>
</p:sld>
</file>

<file path=ppt/slides/slide258.xml><?xml version="1.0" encoding="utf-8"?>
<p:sld xmlns:a="http://schemas.openxmlformats.org/drawingml/2006/main" xmlns:r="http://schemas.openxmlformats.org/officeDocument/2006/relationships" xmlns:p="http://schemas.openxmlformats.org/presentationml/2006/main">
  <p:cSld>
    <p:bg>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BA0A3F8-BAAA-4120-B71D-634F9B383578}"/>
              </a:ext>
            </a:extLst>
          </p:cNvPr>
          <p:cNvSpPr txBox="1"/>
          <p:nvPr/>
        </p:nvSpPr>
        <p:spPr>
          <a:xfrm>
            <a:off x="0" y="1619395"/>
            <a:ext cx="6777728" cy="1569660"/>
          </a:xfrm>
          <a:prstGeom prst="rect">
            <a:avLst/>
          </a:prstGeom>
          <a:noFill/>
        </p:spPr>
        <p:txBody>
          <a:bodyPr wrap="square" rtlCol="0">
            <a:spAutoFit/>
          </a:bodyPr>
          <a:lstStyle/>
          <a:p>
            <a:pPr>
              <a:spcBef>
                <a:spcPts val="0"/>
              </a:spcBef>
              <a:spcAft>
                <a:spcPts val="0"/>
              </a:spcAft>
              <a:buClr>
                <a:schemeClr val="bg1"/>
              </a:buClr>
            </a:pPr>
            <a:r>
              <a:rPr lang="en-US" sz="9600" b="1" dirty="0">
                <a:solidFill>
                  <a:schemeClr val="bg2"/>
                </a:solidFill>
                <a:latin typeface="+mn-lt"/>
              </a:rPr>
              <a:t>BACK UP</a:t>
            </a:r>
            <a:endParaRPr lang="en-US" sz="1400" b="1" dirty="0">
              <a:solidFill>
                <a:schemeClr val="bg2"/>
              </a:solidFill>
              <a:latin typeface="+mn-lt"/>
            </a:endParaRPr>
          </a:p>
        </p:txBody>
      </p:sp>
    </p:spTree>
    <p:extLst>
      <p:ext uri="{BB962C8B-B14F-4D97-AF65-F5344CB8AC3E}">
        <p14:creationId xmlns:p14="http://schemas.microsoft.com/office/powerpoint/2010/main" val="2913372648"/>
      </p:ext>
    </p:extLst>
  </p:cSld>
  <p:clrMapOvr>
    <a:masterClrMapping/>
  </p:clrMapOvr>
  <p:transition spd="med">
    <p:wipe dir="r"/>
  </p:transition>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6A6F8-39EB-4FBD-8D81-11A2AD144917}"/>
              </a:ext>
            </a:extLst>
          </p:cNvPr>
          <p:cNvSpPr>
            <a:spLocks noGrp="1"/>
          </p:cNvSpPr>
          <p:nvPr>
            <p:ph type="title"/>
          </p:nvPr>
        </p:nvSpPr>
        <p:spPr>
          <a:xfrm>
            <a:off x="0" y="0"/>
            <a:ext cx="8229600" cy="637794"/>
          </a:xfrm>
        </p:spPr>
        <p:txBody>
          <a:bodyPr/>
          <a:lstStyle/>
          <a:p>
            <a:r>
              <a:rPr lang="en-US" dirty="0"/>
              <a:t>Percentiles</a:t>
            </a:r>
          </a:p>
        </p:txBody>
      </p:sp>
      <p:sp>
        <p:nvSpPr>
          <p:cNvPr id="3" name="TextBox 2">
            <a:extLst>
              <a:ext uri="{FF2B5EF4-FFF2-40B4-BE49-F238E27FC236}">
                <a16:creationId xmlns:a16="http://schemas.microsoft.com/office/drawing/2014/main" id="{0EC1444E-8018-4B80-BEE3-261C4E50A262}"/>
              </a:ext>
            </a:extLst>
          </p:cNvPr>
          <p:cNvSpPr txBox="1"/>
          <p:nvPr/>
        </p:nvSpPr>
        <p:spPr>
          <a:xfrm>
            <a:off x="516531" y="637794"/>
            <a:ext cx="5479420" cy="862939"/>
          </a:xfrm>
          <a:prstGeom prst="rect">
            <a:avLst/>
          </a:prstGeom>
          <a:noFill/>
        </p:spPr>
        <p:txBody>
          <a:bodyPr wrap="square" rtlCol="0">
            <a:spAutoFit/>
          </a:bodyPr>
          <a:lstStyle/>
          <a:p>
            <a:pPr>
              <a:spcBef>
                <a:spcPts val="0"/>
              </a:spcBef>
              <a:spcAft>
                <a:spcPts val="0"/>
              </a:spcAft>
              <a:buClr>
                <a:schemeClr val="bg1"/>
              </a:buClr>
            </a:pPr>
            <a:endParaRPr lang="en-US" sz="1400" dirty="0" err="1">
              <a:solidFill>
                <a:schemeClr val="bg2"/>
              </a:solidFill>
              <a:latin typeface="+mn-lt"/>
            </a:endParaRPr>
          </a:p>
        </p:txBody>
      </p:sp>
      <p:sp>
        <p:nvSpPr>
          <p:cNvPr id="4" name="Title 1">
            <a:extLst>
              <a:ext uri="{FF2B5EF4-FFF2-40B4-BE49-F238E27FC236}">
                <a16:creationId xmlns:a16="http://schemas.microsoft.com/office/drawing/2014/main" id="{36A26050-DF8F-487D-9E3C-DAC39F5F4378}"/>
              </a:ext>
            </a:extLst>
          </p:cNvPr>
          <p:cNvSpPr txBox="1">
            <a:spLocks/>
          </p:cNvSpPr>
          <p:nvPr/>
        </p:nvSpPr>
        <p:spPr>
          <a:xfrm>
            <a:off x="138439" y="1181836"/>
            <a:ext cx="8229600"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Decile</a:t>
            </a:r>
          </a:p>
          <a:p>
            <a:endParaRPr lang="en-US" kern="0" dirty="0"/>
          </a:p>
          <a:p>
            <a:r>
              <a:rPr lang="en-US" kern="0" dirty="0"/>
              <a:t>Estimating Percentile</a:t>
            </a:r>
          </a:p>
        </p:txBody>
      </p:sp>
    </p:spTree>
    <p:extLst>
      <p:ext uri="{BB962C8B-B14F-4D97-AF65-F5344CB8AC3E}">
        <p14:creationId xmlns:p14="http://schemas.microsoft.com/office/powerpoint/2010/main" val="2750829029"/>
      </p:ext>
    </p:extLst>
  </p:cSld>
  <p:clrMapOvr>
    <a:masterClrMapping/>
  </p:clrMapOvr>
  <p:transition spd="med">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93A03-5898-4C6C-BF44-6F13B753C34B}"/>
              </a:ext>
            </a:extLst>
          </p:cNvPr>
          <p:cNvSpPr>
            <a:spLocks noGrp="1"/>
          </p:cNvSpPr>
          <p:nvPr>
            <p:ph type="title"/>
          </p:nvPr>
        </p:nvSpPr>
        <p:spPr>
          <a:xfrm>
            <a:off x="137160" y="22860"/>
            <a:ext cx="7955280" cy="640080"/>
          </a:xfrm>
        </p:spPr>
        <p:txBody>
          <a:bodyPr/>
          <a:lstStyle/>
          <a:p>
            <a:r>
              <a:rPr lang="en-US" dirty="0"/>
              <a:t>Control Experiment – drug test example</a:t>
            </a:r>
          </a:p>
        </p:txBody>
      </p:sp>
      <p:sp>
        <p:nvSpPr>
          <p:cNvPr id="3" name="Content Placeholder 2">
            <a:extLst>
              <a:ext uri="{FF2B5EF4-FFF2-40B4-BE49-F238E27FC236}">
                <a16:creationId xmlns:a16="http://schemas.microsoft.com/office/drawing/2014/main" id="{B284F41B-5C6B-486A-A6B7-4AF38B491853}"/>
              </a:ext>
            </a:extLst>
          </p:cNvPr>
          <p:cNvSpPr>
            <a:spLocks noGrp="1"/>
          </p:cNvSpPr>
          <p:nvPr>
            <p:ph sz="half" idx="13"/>
          </p:nvPr>
        </p:nvSpPr>
        <p:spPr>
          <a:xfrm>
            <a:off x="230478" y="716489"/>
            <a:ext cx="7955279" cy="3200400"/>
          </a:xfrm>
        </p:spPr>
        <p:txBody>
          <a:bodyPr/>
          <a:lstStyle/>
          <a:p>
            <a:r>
              <a:rPr lang="en-US" dirty="0">
                <a:solidFill>
                  <a:schemeClr val="bg2">
                    <a:lumMod val="50000"/>
                    <a:lumOff val="50000"/>
                  </a:schemeClr>
                </a:solidFill>
              </a:rPr>
              <a:t>If we are studying the effectiveness of a pill, we should also compare it to a placebo. It is often the case that the act of receiving a treatment that a person believe will be beneficial with itself result in a beneficial effect. Regardless of whether the treatment is otherwise effective</a:t>
            </a:r>
          </a:p>
        </p:txBody>
      </p:sp>
      <p:pic>
        <p:nvPicPr>
          <p:cNvPr id="5" name="Picture 4" descr="A picture containing table, indoor, wooden, slice&#10;&#10;Description automatically generated">
            <a:extLst>
              <a:ext uri="{FF2B5EF4-FFF2-40B4-BE49-F238E27FC236}">
                <a16:creationId xmlns:a16="http://schemas.microsoft.com/office/drawing/2014/main" id="{2ABCDDB0-5640-4524-AB37-630EFD094CB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194782" y="1912562"/>
            <a:ext cx="3834432" cy="2156868"/>
          </a:xfrm>
          <a:prstGeom prst="rect">
            <a:avLst/>
          </a:prstGeom>
        </p:spPr>
      </p:pic>
      <p:sp>
        <p:nvSpPr>
          <p:cNvPr id="6" name="TextBox 5">
            <a:extLst>
              <a:ext uri="{FF2B5EF4-FFF2-40B4-BE49-F238E27FC236}">
                <a16:creationId xmlns:a16="http://schemas.microsoft.com/office/drawing/2014/main" id="{DCF10603-437E-4C7A-980F-322B67C14954}"/>
              </a:ext>
            </a:extLst>
          </p:cNvPr>
          <p:cNvSpPr txBox="1"/>
          <p:nvPr/>
        </p:nvSpPr>
        <p:spPr>
          <a:xfrm>
            <a:off x="4097350" y="5245622"/>
            <a:ext cx="5046650" cy="230832"/>
          </a:xfrm>
          <a:prstGeom prst="rect">
            <a:avLst/>
          </a:prstGeom>
          <a:noFill/>
        </p:spPr>
        <p:txBody>
          <a:bodyPr wrap="square" rtlCol="0">
            <a:spAutoFit/>
          </a:bodyPr>
          <a:lstStyle/>
          <a:p>
            <a:r>
              <a:rPr lang="en-US" sz="900">
                <a:hlinkClick r:id="rId3" tooltip="http://capitalcurrent.ca/opioid-overdoses-dwarf-covid-19/"/>
              </a:rPr>
              <a:t>This Photo</a:t>
            </a:r>
            <a:r>
              <a:rPr lang="en-US" sz="900"/>
              <a:t> by Unknown Author is licensed under </a:t>
            </a:r>
            <a:r>
              <a:rPr lang="en-US" sz="900">
                <a:hlinkClick r:id="rId4" tooltip="https://creativecommons.org/licenses/by-nc-nd/3.0/"/>
              </a:rPr>
              <a:t>CC BY-NC-ND</a:t>
            </a:r>
            <a:endParaRPr lang="en-US" sz="900"/>
          </a:p>
        </p:txBody>
      </p:sp>
    </p:spTree>
    <p:extLst>
      <p:ext uri="{BB962C8B-B14F-4D97-AF65-F5344CB8AC3E}">
        <p14:creationId xmlns:p14="http://schemas.microsoft.com/office/powerpoint/2010/main" val="4145885228"/>
      </p:ext>
    </p:extLst>
  </p:cSld>
  <p:clrMapOvr>
    <a:masterClrMapping/>
  </p:clrMapOvr>
  <p:transition spd="med">
    <p:wipe dir="r"/>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43CC1-90CC-435A-9189-5BDF12903CEF}"/>
              </a:ext>
            </a:extLst>
          </p:cNvPr>
          <p:cNvSpPr>
            <a:spLocks noGrp="1"/>
          </p:cNvSpPr>
          <p:nvPr>
            <p:ph type="title"/>
          </p:nvPr>
        </p:nvSpPr>
        <p:spPr>
          <a:xfrm>
            <a:off x="148676" y="110628"/>
            <a:ext cx="7955280" cy="640080"/>
          </a:xfrm>
        </p:spPr>
        <p:txBody>
          <a:bodyPr/>
          <a:lstStyle/>
          <a:p>
            <a:r>
              <a:rPr lang="en-US" dirty="0"/>
              <a:t>Why Statistics is </a:t>
            </a:r>
            <a:r>
              <a:rPr lang="en-US" dirty="0">
                <a:solidFill>
                  <a:schemeClr val="tx2">
                    <a:lumMod val="50000"/>
                  </a:schemeClr>
                </a:solidFill>
              </a:rPr>
              <a:t>Important?</a:t>
            </a:r>
          </a:p>
        </p:txBody>
      </p:sp>
      <p:sp>
        <p:nvSpPr>
          <p:cNvPr id="3" name="Content Placeholder 2">
            <a:extLst>
              <a:ext uri="{FF2B5EF4-FFF2-40B4-BE49-F238E27FC236}">
                <a16:creationId xmlns:a16="http://schemas.microsoft.com/office/drawing/2014/main" id="{ADA3D4CF-1D48-420F-9105-1682DCCA001A}"/>
              </a:ext>
            </a:extLst>
          </p:cNvPr>
          <p:cNvSpPr>
            <a:spLocks noGrp="1"/>
          </p:cNvSpPr>
          <p:nvPr>
            <p:ph sz="half" idx="1"/>
          </p:nvPr>
        </p:nvSpPr>
        <p:spPr>
          <a:xfrm>
            <a:off x="73186" y="750708"/>
            <a:ext cx="8791607" cy="4120906"/>
          </a:xfrm>
        </p:spPr>
        <p:txBody>
          <a:bodyPr>
            <a:normAutofit/>
          </a:bodyPr>
          <a:lstStyle/>
          <a:p>
            <a:pPr algn="just">
              <a:buFont typeface="Arial" panose="020B0604020202020204" pitchFamily="34" charset="0"/>
              <a:buChar char="•"/>
            </a:pPr>
            <a:r>
              <a:rPr lang="en-US" b="1" i="0" dirty="0">
                <a:solidFill>
                  <a:schemeClr val="bg1"/>
                </a:solidFill>
                <a:effectLst/>
                <a:latin typeface="roboto" panose="02000000000000000000" pitchFamily="2" charset="0"/>
              </a:rPr>
              <a:t>In Business</a:t>
            </a:r>
          </a:p>
          <a:p>
            <a:pPr marL="0" indent="0" algn="just">
              <a:buNone/>
            </a:pPr>
            <a:endParaRPr lang="en-US" b="1" i="0" dirty="0">
              <a:solidFill>
                <a:schemeClr val="bg1"/>
              </a:solidFill>
              <a:effectLst/>
              <a:latin typeface="roboto" panose="02000000000000000000" pitchFamily="2" charset="0"/>
            </a:endParaRPr>
          </a:p>
          <a:p>
            <a:pPr algn="just">
              <a:buFont typeface="Arial" panose="020B0604020202020204" pitchFamily="34" charset="0"/>
              <a:buChar char="•"/>
            </a:pPr>
            <a:r>
              <a:rPr lang="en-US" b="1" i="0" dirty="0">
                <a:solidFill>
                  <a:schemeClr val="bg1"/>
                </a:solidFill>
                <a:effectLst/>
                <a:latin typeface="roboto" panose="02000000000000000000" pitchFamily="2" charset="0"/>
              </a:rPr>
              <a:t>In economics</a:t>
            </a:r>
            <a:endParaRPr lang="en-US" b="0" i="0" dirty="0">
              <a:solidFill>
                <a:schemeClr val="bg1"/>
              </a:solidFill>
              <a:effectLst/>
              <a:latin typeface="roboto" panose="02000000000000000000" pitchFamily="2" charset="0"/>
            </a:endParaRPr>
          </a:p>
          <a:p>
            <a:pPr marL="0" indent="0" algn="just">
              <a:buNone/>
            </a:pPr>
            <a:endParaRPr lang="en-US" b="0" i="0" dirty="0">
              <a:solidFill>
                <a:schemeClr val="bg1"/>
              </a:solidFill>
              <a:effectLst/>
              <a:latin typeface="roboto" panose="02000000000000000000" pitchFamily="2" charset="0"/>
            </a:endParaRPr>
          </a:p>
          <a:p>
            <a:pPr algn="just">
              <a:buFont typeface="Arial" panose="020B0604020202020204" pitchFamily="34" charset="0"/>
              <a:buChar char="•"/>
            </a:pPr>
            <a:r>
              <a:rPr lang="en-US" b="1" i="0" dirty="0">
                <a:solidFill>
                  <a:schemeClr val="bg1"/>
                </a:solidFill>
                <a:effectLst/>
                <a:latin typeface="roboto" panose="02000000000000000000" pitchFamily="2" charset="0"/>
              </a:rPr>
              <a:t>In Accounts</a:t>
            </a:r>
            <a:endParaRPr lang="en-US" b="0" i="0" dirty="0">
              <a:solidFill>
                <a:schemeClr val="bg1"/>
              </a:solidFill>
              <a:effectLst/>
              <a:latin typeface="roboto" panose="02000000000000000000" pitchFamily="2" charset="0"/>
            </a:endParaRPr>
          </a:p>
          <a:p>
            <a:pPr marL="0" indent="0" algn="just">
              <a:buNone/>
            </a:pPr>
            <a:endParaRPr lang="en-US" b="0" i="0" dirty="0">
              <a:solidFill>
                <a:schemeClr val="bg1"/>
              </a:solidFill>
              <a:effectLst/>
              <a:latin typeface="roboto" panose="02000000000000000000" pitchFamily="2" charset="0"/>
            </a:endParaRPr>
          </a:p>
          <a:p>
            <a:pPr algn="just">
              <a:buFont typeface="Arial" panose="020B0604020202020204" pitchFamily="34" charset="0"/>
              <a:buChar char="•"/>
            </a:pPr>
            <a:r>
              <a:rPr lang="en-US" b="1" i="0" dirty="0">
                <a:solidFill>
                  <a:schemeClr val="bg1"/>
                </a:solidFill>
                <a:effectLst/>
                <a:latin typeface="roboto" panose="02000000000000000000" pitchFamily="2" charset="0"/>
              </a:rPr>
              <a:t>In Physics</a:t>
            </a:r>
          </a:p>
          <a:p>
            <a:pPr algn="just">
              <a:buFont typeface="Arial" panose="020B0604020202020204" pitchFamily="34" charset="0"/>
              <a:buChar char="•"/>
            </a:pPr>
            <a:endParaRPr lang="en-US" b="1" dirty="0">
              <a:solidFill>
                <a:schemeClr val="bg1"/>
              </a:solidFill>
              <a:latin typeface="roboto" panose="02000000000000000000" pitchFamily="2" charset="0"/>
            </a:endParaRPr>
          </a:p>
          <a:p>
            <a:pPr algn="just">
              <a:buFont typeface="Arial" panose="020B0604020202020204" pitchFamily="34" charset="0"/>
              <a:buChar char="•"/>
            </a:pPr>
            <a:r>
              <a:rPr lang="en-US" b="1" dirty="0">
                <a:solidFill>
                  <a:schemeClr val="bg1"/>
                </a:solidFill>
                <a:latin typeface="roboto" panose="02000000000000000000" pitchFamily="2" charset="0"/>
              </a:rPr>
              <a:t>Government</a:t>
            </a:r>
            <a:endParaRPr lang="en-US" b="0" i="0" dirty="0">
              <a:solidFill>
                <a:schemeClr val="tx2">
                  <a:lumMod val="50000"/>
                </a:schemeClr>
              </a:solidFill>
              <a:effectLst/>
              <a:latin typeface="roboto" panose="02000000000000000000" pitchFamily="2" charset="0"/>
            </a:endParaRPr>
          </a:p>
        </p:txBody>
      </p:sp>
      <p:sp>
        <p:nvSpPr>
          <p:cNvPr id="4" name="TextBox 3">
            <a:extLst>
              <a:ext uri="{FF2B5EF4-FFF2-40B4-BE49-F238E27FC236}">
                <a16:creationId xmlns:a16="http://schemas.microsoft.com/office/drawing/2014/main" id="{71BCDC17-5F44-491A-8B8C-5B3384ADA063}"/>
              </a:ext>
            </a:extLst>
          </p:cNvPr>
          <p:cNvSpPr txBox="1"/>
          <p:nvPr/>
        </p:nvSpPr>
        <p:spPr>
          <a:xfrm>
            <a:off x="369948" y="963087"/>
            <a:ext cx="558412" cy="276999"/>
          </a:xfrm>
          <a:prstGeom prst="rect">
            <a:avLst/>
          </a:prstGeom>
          <a:noFill/>
        </p:spPr>
        <p:txBody>
          <a:bodyPr wrap="square" rtlCol="0">
            <a:spAutoFit/>
          </a:bodyPr>
          <a:lstStyle/>
          <a:p>
            <a:pPr>
              <a:spcBef>
                <a:spcPts val="0"/>
              </a:spcBef>
              <a:spcAft>
                <a:spcPts val="0"/>
              </a:spcAft>
              <a:buClr>
                <a:schemeClr val="bg1"/>
              </a:buClr>
            </a:pPr>
            <a:r>
              <a:rPr lang="en-US" sz="1200" b="1" dirty="0">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
        <p:nvSpPr>
          <p:cNvPr id="5" name="TextBox 4">
            <a:extLst>
              <a:ext uri="{FF2B5EF4-FFF2-40B4-BE49-F238E27FC236}">
                <a16:creationId xmlns:a16="http://schemas.microsoft.com/office/drawing/2014/main" id="{B39A2A80-1EBF-49F5-B480-0472A4E70679}"/>
              </a:ext>
            </a:extLst>
          </p:cNvPr>
          <p:cNvSpPr txBox="1"/>
          <p:nvPr/>
        </p:nvSpPr>
        <p:spPr>
          <a:xfrm>
            <a:off x="355987" y="1698625"/>
            <a:ext cx="558412" cy="276999"/>
          </a:xfrm>
          <a:prstGeom prst="rect">
            <a:avLst/>
          </a:prstGeom>
          <a:noFill/>
        </p:spPr>
        <p:txBody>
          <a:bodyPr wrap="square" rtlCol="0">
            <a:spAutoFit/>
          </a:bodyPr>
          <a:lstStyle/>
          <a:p>
            <a:pPr>
              <a:spcBef>
                <a:spcPts val="0"/>
              </a:spcBef>
              <a:spcAft>
                <a:spcPts val="0"/>
              </a:spcAft>
              <a:buClr>
                <a:schemeClr val="bg1"/>
              </a:buClr>
            </a:pPr>
            <a:r>
              <a:rPr lang="en-US" sz="1200" b="1" dirty="0">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
        <p:nvSpPr>
          <p:cNvPr id="6" name="TextBox 5">
            <a:extLst>
              <a:ext uri="{FF2B5EF4-FFF2-40B4-BE49-F238E27FC236}">
                <a16:creationId xmlns:a16="http://schemas.microsoft.com/office/drawing/2014/main" id="{D024976C-77DA-4A9C-A93C-AE7E864E157A}"/>
              </a:ext>
            </a:extLst>
          </p:cNvPr>
          <p:cNvSpPr txBox="1"/>
          <p:nvPr/>
        </p:nvSpPr>
        <p:spPr>
          <a:xfrm>
            <a:off x="355987" y="2395662"/>
            <a:ext cx="558412" cy="276999"/>
          </a:xfrm>
          <a:prstGeom prst="rect">
            <a:avLst/>
          </a:prstGeom>
          <a:noFill/>
        </p:spPr>
        <p:txBody>
          <a:bodyPr wrap="square" rtlCol="0">
            <a:spAutoFit/>
          </a:bodyPr>
          <a:lstStyle/>
          <a:p>
            <a:pPr>
              <a:spcBef>
                <a:spcPts val="0"/>
              </a:spcBef>
              <a:spcAft>
                <a:spcPts val="0"/>
              </a:spcAft>
              <a:buClr>
                <a:schemeClr val="bg1"/>
              </a:buClr>
            </a:pPr>
            <a:r>
              <a:rPr lang="en-US" sz="1200" b="1">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
        <p:nvSpPr>
          <p:cNvPr id="7" name="TextBox 6">
            <a:extLst>
              <a:ext uri="{FF2B5EF4-FFF2-40B4-BE49-F238E27FC236}">
                <a16:creationId xmlns:a16="http://schemas.microsoft.com/office/drawing/2014/main" id="{44D6110D-AF15-462D-B9A6-FBD47075AA6A}"/>
              </a:ext>
            </a:extLst>
          </p:cNvPr>
          <p:cNvSpPr txBox="1"/>
          <p:nvPr/>
        </p:nvSpPr>
        <p:spPr>
          <a:xfrm>
            <a:off x="355987" y="3167877"/>
            <a:ext cx="558412" cy="276999"/>
          </a:xfrm>
          <a:prstGeom prst="rect">
            <a:avLst/>
          </a:prstGeom>
          <a:noFill/>
        </p:spPr>
        <p:txBody>
          <a:bodyPr wrap="square" rtlCol="0">
            <a:spAutoFit/>
          </a:bodyPr>
          <a:lstStyle/>
          <a:p>
            <a:pPr>
              <a:spcBef>
                <a:spcPts val="0"/>
              </a:spcBef>
              <a:spcAft>
                <a:spcPts val="0"/>
              </a:spcAft>
              <a:buClr>
                <a:schemeClr val="bg1"/>
              </a:buClr>
            </a:pPr>
            <a:r>
              <a:rPr lang="en-US" sz="1200" b="1" dirty="0">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
        <p:nvSpPr>
          <p:cNvPr id="8" name="TextBox 7">
            <a:extLst>
              <a:ext uri="{FF2B5EF4-FFF2-40B4-BE49-F238E27FC236}">
                <a16:creationId xmlns:a16="http://schemas.microsoft.com/office/drawing/2014/main" id="{EDA8814B-062A-41E7-A660-66D6673E6EE9}"/>
              </a:ext>
            </a:extLst>
          </p:cNvPr>
          <p:cNvSpPr txBox="1"/>
          <p:nvPr/>
        </p:nvSpPr>
        <p:spPr>
          <a:xfrm>
            <a:off x="300147" y="3881245"/>
            <a:ext cx="558412" cy="276999"/>
          </a:xfrm>
          <a:prstGeom prst="rect">
            <a:avLst/>
          </a:prstGeom>
          <a:noFill/>
        </p:spPr>
        <p:txBody>
          <a:bodyPr wrap="square" rtlCol="0">
            <a:spAutoFit/>
          </a:bodyPr>
          <a:lstStyle/>
          <a:p>
            <a:pPr>
              <a:spcBef>
                <a:spcPts val="0"/>
              </a:spcBef>
              <a:spcAft>
                <a:spcPts val="0"/>
              </a:spcAft>
              <a:buClr>
                <a:schemeClr val="bg1"/>
              </a:buClr>
            </a:pPr>
            <a:r>
              <a:rPr lang="en-US" sz="1200" b="1" dirty="0">
                <a:solidFill>
                  <a:schemeClr val="bg2">
                    <a:lumMod val="50000"/>
                    <a:lumOff val="50000"/>
                  </a:schemeClr>
                </a:solidFill>
                <a:latin typeface="+mn-lt"/>
              </a:rPr>
              <a:t>Ex:</a:t>
            </a:r>
            <a:endParaRPr lang="en-US" sz="1400" b="1" dirty="0">
              <a:solidFill>
                <a:schemeClr val="bg2">
                  <a:lumMod val="50000"/>
                  <a:lumOff val="50000"/>
                </a:schemeClr>
              </a:solidFill>
              <a:latin typeface="+mn-lt"/>
            </a:endParaRPr>
          </a:p>
        </p:txBody>
      </p:sp>
    </p:spTree>
    <p:extLst>
      <p:ext uri="{BB962C8B-B14F-4D97-AF65-F5344CB8AC3E}">
        <p14:creationId xmlns:p14="http://schemas.microsoft.com/office/powerpoint/2010/main" val="2542499745"/>
      </p:ext>
    </p:extLst>
  </p:cSld>
  <p:clrMapOvr>
    <a:masterClrMapping/>
  </p:clrMapOvr>
  <p:transition spd="med">
    <p:wipe dir="r"/>
  </p:transition>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5D4AD9-EA66-4AB3-924A-162C75EDA01E}"/>
              </a:ext>
            </a:extLst>
          </p:cNvPr>
          <p:cNvSpPr>
            <a:spLocks noGrp="1"/>
          </p:cNvSpPr>
          <p:nvPr>
            <p:ph type="title"/>
          </p:nvPr>
        </p:nvSpPr>
        <p:spPr>
          <a:xfrm>
            <a:off x="0" y="0"/>
            <a:ext cx="7955280" cy="640080"/>
          </a:xfrm>
        </p:spPr>
        <p:txBody>
          <a:bodyPr/>
          <a:lstStyle/>
          <a:p>
            <a:r>
              <a:rPr lang="en-US" dirty="0"/>
              <a:t>Standard error</a:t>
            </a:r>
          </a:p>
        </p:txBody>
      </p:sp>
      <p:sp>
        <p:nvSpPr>
          <p:cNvPr id="3" name="Content Placeholder 2">
            <a:extLst>
              <a:ext uri="{FF2B5EF4-FFF2-40B4-BE49-F238E27FC236}">
                <a16:creationId xmlns:a16="http://schemas.microsoft.com/office/drawing/2014/main" id="{47CD45C0-EFC7-4DD0-B50D-0190DB321846}"/>
              </a:ext>
            </a:extLst>
          </p:cNvPr>
          <p:cNvSpPr>
            <a:spLocks noGrp="1"/>
          </p:cNvSpPr>
          <p:nvPr>
            <p:ph sz="half" idx="1"/>
          </p:nvPr>
        </p:nvSpPr>
        <p:spPr>
          <a:xfrm>
            <a:off x="141698" y="640080"/>
            <a:ext cx="7924386" cy="3200400"/>
          </a:xfrm>
        </p:spPr>
        <p:txBody>
          <a:bodyPr/>
          <a:lstStyle/>
          <a:p>
            <a:pPr marL="0" indent="0" algn="l">
              <a:buNone/>
            </a:pPr>
            <a:r>
              <a:rPr lang="en-US" b="1" i="0" dirty="0">
                <a:solidFill>
                  <a:srgbClr val="1B2B68"/>
                </a:solidFill>
                <a:effectLst/>
                <a:latin typeface="Gilmer"/>
              </a:rPr>
              <a:t>Why standard error matters ?</a:t>
            </a:r>
          </a:p>
          <a:p>
            <a:pPr algn="l"/>
            <a:r>
              <a:rPr lang="en-US" b="0" i="0" dirty="0">
                <a:solidFill>
                  <a:srgbClr val="0D405F"/>
                </a:solidFill>
                <a:effectLst/>
                <a:latin typeface="Inter"/>
              </a:rPr>
              <a:t>In statistics, data from</a:t>
            </a:r>
            <a:r>
              <a:rPr lang="en-US" dirty="0">
                <a:solidFill>
                  <a:srgbClr val="0D405F"/>
                </a:solidFill>
                <a:latin typeface="Inter"/>
              </a:rPr>
              <a:t> </a:t>
            </a:r>
            <a:r>
              <a:rPr lang="en-US" dirty="0">
                <a:solidFill>
                  <a:srgbClr val="0D405F"/>
                </a:solidFill>
                <a:latin typeface="Inter"/>
                <a:hlinkClick r:id="rId2">
                  <a:extLst>
                    <a:ext uri="{A12FA001-AC4F-418D-AE19-62706E023703}">
                      <ahyp:hlinkClr xmlns:ahyp="http://schemas.microsoft.com/office/drawing/2018/hyperlinkcolor" val="tx"/>
                    </a:ext>
                  </a:extLst>
                </a:hlinkClick>
              </a:rPr>
              <a:t>samples</a:t>
            </a:r>
            <a:r>
              <a:rPr lang="en-US" dirty="0">
                <a:solidFill>
                  <a:srgbClr val="0D405F"/>
                </a:solidFill>
                <a:latin typeface="Inter"/>
              </a:rPr>
              <a:t> is used </a:t>
            </a:r>
            <a:r>
              <a:rPr lang="en-US" b="0" i="0" dirty="0">
                <a:solidFill>
                  <a:srgbClr val="0D405F"/>
                </a:solidFill>
                <a:effectLst/>
                <a:latin typeface="Inter"/>
              </a:rPr>
              <a:t>to understand larger populations. Standard error matters because it helps you estimate how well your sample data represents the whole population.</a:t>
            </a:r>
          </a:p>
          <a:p>
            <a:pPr algn="l"/>
            <a:endParaRPr lang="en-US" dirty="0">
              <a:solidFill>
                <a:srgbClr val="0D405F"/>
              </a:solidFill>
              <a:latin typeface="Inter"/>
            </a:endParaRPr>
          </a:p>
          <a:p>
            <a:pPr marL="0" indent="0" algn="l">
              <a:buNone/>
            </a:pPr>
            <a:r>
              <a:rPr lang="en-US" b="1" i="0" dirty="0">
                <a:solidFill>
                  <a:srgbClr val="1B2B68"/>
                </a:solidFill>
                <a:effectLst/>
                <a:latin typeface="Gilmer"/>
              </a:rPr>
              <a:t>Standard error vs standard deviation</a:t>
            </a:r>
          </a:p>
          <a:p>
            <a:pPr marL="0" indent="0" algn="l">
              <a:buNone/>
            </a:pPr>
            <a:r>
              <a:rPr lang="en-US" b="0" i="0" dirty="0">
                <a:solidFill>
                  <a:srgbClr val="0D405F"/>
                </a:solidFill>
                <a:effectLst/>
                <a:latin typeface="Inter"/>
              </a:rPr>
              <a:t>Standard error and </a:t>
            </a:r>
            <a:r>
              <a:rPr lang="en-US" dirty="0">
                <a:solidFill>
                  <a:srgbClr val="0D405F"/>
                </a:solidFill>
                <a:latin typeface="Inter"/>
                <a:hlinkClick r:id="rId3">
                  <a:extLst>
                    <a:ext uri="{A12FA001-AC4F-418D-AE19-62706E023703}">
                      <ahyp:hlinkClr xmlns:ahyp="http://schemas.microsoft.com/office/drawing/2018/hyperlinkcolor" val="tx"/>
                    </a:ext>
                  </a:extLst>
                </a:hlinkClick>
              </a:rPr>
              <a:t>standard deviation</a:t>
            </a:r>
            <a:r>
              <a:rPr lang="en-US" dirty="0">
                <a:solidFill>
                  <a:srgbClr val="0D405F"/>
                </a:solidFill>
                <a:latin typeface="Inter"/>
              </a:rPr>
              <a:t> are both measures of </a:t>
            </a:r>
            <a:r>
              <a:rPr lang="en-US" dirty="0">
                <a:solidFill>
                  <a:srgbClr val="0D405F"/>
                </a:solidFill>
                <a:latin typeface="Inter"/>
                <a:hlinkClick r:id="rId4">
                  <a:extLst>
                    <a:ext uri="{A12FA001-AC4F-418D-AE19-62706E023703}">
                      <ahyp:hlinkClr xmlns:ahyp="http://schemas.microsoft.com/office/drawing/2018/hyperlinkcolor" val="tx"/>
                    </a:ext>
                  </a:extLst>
                </a:hlinkClick>
              </a:rPr>
              <a:t>variability</a:t>
            </a:r>
            <a:r>
              <a:rPr lang="en-US" dirty="0">
                <a:solidFill>
                  <a:srgbClr val="0D405F"/>
                </a:solidFill>
                <a:latin typeface="Inter"/>
              </a:rPr>
              <a:t>:</a:t>
            </a:r>
          </a:p>
          <a:p>
            <a:pPr algn="l">
              <a:buFont typeface="Arial" panose="020B0604020202020204" pitchFamily="34" charset="0"/>
              <a:buChar char="•"/>
            </a:pPr>
            <a:r>
              <a:rPr lang="en-US" b="0" i="0" dirty="0">
                <a:solidFill>
                  <a:srgbClr val="0D405F"/>
                </a:solidFill>
                <a:effectLst/>
                <a:latin typeface="Inter"/>
              </a:rPr>
              <a:t>The </a:t>
            </a:r>
            <a:r>
              <a:rPr lang="en-US" b="1" i="0" dirty="0">
                <a:solidFill>
                  <a:srgbClr val="0D405F"/>
                </a:solidFill>
                <a:effectLst/>
                <a:latin typeface="Inter"/>
              </a:rPr>
              <a:t>standard deviation</a:t>
            </a:r>
            <a:r>
              <a:rPr lang="en-US" b="0" i="0" dirty="0">
                <a:solidFill>
                  <a:srgbClr val="0D405F"/>
                </a:solidFill>
                <a:effectLst/>
                <a:latin typeface="Inter"/>
              </a:rPr>
              <a:t> describes variability </a:t>
            </a:r>
            <a:r>
              <a:rPr lang="en-US" b="1" i="0" dirty="0">
                <a:solidFill>
                  <a:srgbClr val="0D405F"/>
                </a:solidFill>
                <a:effectLst/>
                <a:latin typeface="Inter"/>
              </a:rPr>
              <a:t>within a single sample</a:t>
            </a:r>
            <a:r>
              <a:rPr lang="en-US" b="0" i="0" dirty="0">
                <a:solidFill>
                  <a:srgbClr val="0D405F"/>
                </a:solidFill>
                <a:effectLst/>
                <a:latin typeface="Inter"/>
              </a:rPr>
              <a:t>.</a:t>
            </a:r>
          </a:p>
          <a:p>
            <a:pPr algn="l">
              <a:buFont typeface="Arial" panose="020B0604020202020204" pitchFamily="34" charset="0"/>
              <a:buChar char="•"/>
            </a:pPr>
            <a:r>
              <a:rPr lang="en-US" b="0" i="0" dirty="0">
                <a:solidFill>
                  <a:srgbClr val="0D405F"/>
                </a:solidFill>
                <a:effectLst/>
                <a:latin typeface="Inter"/>
              </a:rPr>
              <a:t>The </a:t>
            </a:r>
            <a:r>
              <a:rPr lang="en-US" b="1" i="0" dirty="0">
                <a:solidFill>
                  <a:srgbClr val="0D405F"/>
                </a:solidFill>
                <a:effectLst/>
                <a:latin typeface="Inter"/>
              </a:rPr>
              <a:t>standard error</a:t>
            </a:r>
            <a:r>
              <a:rPr lang="en-US" b="0" i="0" dirty="0">
                <a:solidFill>
                  <a:srgbClr val="0D405F"/>
                </a:solidFill>
                <a:effectLst/>
                <a:latin typeface="Inter"/>
              </a:rPr>
              <a:t> estimates the variability </a:t>
            </a:r>
            <a:r>
              <a:rPr lang="en-US" b="1" i="0" dirty="0">
                <a:solidFill>
                  <a:srgbClr val="0D405F"/>
                </a:solidFill>
                <a:effectLst/>
                <a:latin typeface="Inter"/>
              </a:rPr>
              <a:t>across multiple samples</a:t>
            </a:r>
            <a:r>
              <a:rPr lang="en-US" b="0" i="0" dirty="0">
                <a:solidFill>
                  <a:srgbClr val="0D405F"/>
                </a:solidFill>
                <a:effectLst/>
                <a:latin typeface="Inter"/>
              </a:rPr>
              <a:t> of a population.</a:t>
            </a:r>
          </a:p>
          <a:p>
            <a:pPr marL="0" indent="0" algn="l">
              <a:buNone/>
            </a:pPr>
            <a:endParaRPr lang="en-US" b="0" i="0" dirty="0">
              <a:solidFill>
                <a:srgbClr val="0D405F"/>
              </a:solidFill>
              <a:effectLst/>
              <a:latin typeface="Inter"/>
            </a:endParaRPr>
          </a:p>
          <a:p>
            <a:endParaRPr lang="en-US" dirty="0"/>
          </a:p>
        </p:txBody>
      </p:sp>
      <p:pic>
        <p:nvPicPr>
          <p:cNvPr id="5" name="Picture 4">
            <a:extLst>
              <a:ext uri="{FF2B5EF4-FFF2-40B4-BE49-F238E27FC236}">
                <a16:creationId xmlns:a16="http://schemas.microsoft.com/office/drawing/2014/main" id="{729BB341-73B5-479C-BA2D-D3B5ABA2008F}"/>
              </a:ext>
            </a:extLst>
          </p:cNvPr>
          <p:cNvPicPr>
            <a:picLocks noChangeAspect="1"/>
          </p:cNvPicPr>
          <p:nvPr/>
        </p:nvPicPr>
        <p:blipFill>
          <a:blip r:embed="rId5"/>
          <a:stretch>
            <a:fillRect/>
          </a:stretch>
        </p:blipFill>
        <p:spPr>
          <a:xfrm>
            <a:off x="1349636" y="3482278"/>
            <a:ext cx="4869679" cy="1286330"/>
          </a:xfrm>
          <a:prstGeom prst="rect">
            <a:avLst/>
          </a:prstGeom>
        </p:spPr>
      </p:pic>
    </p:spTree>
    <p:extLst>
      <p:ext uri="{BB962C8B-B14F-4D97-AF65-F5344CB8AC3E}">
        <p14:creationId xmlns:p14="http://schemas.microsoft.com/office/powerpoint/2010/main" val="1129975884"/>
      </p:ext>
    </p:extLst>
  </p:cSld>
  <p:clrMapOvr>
    <a:masterClrMapping/>
  </p:clrMapOvr>
  <p:transition spd="med">
    <p:wipe dir="r"/>
  </p:transition>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CEC99E7-518F-405C-AD1B-ACDA17EF2F0F}"/>
              </a:ext>
            </a:extLst>
          </p:cNvPr>
          <p:cNvSpPr/>
          <p:nvPr/>
        </p:nvSpPr>
        <p:spPr>
          <a:xfrm>
            <a:off x="92836" y="3325926"/>
            <a:ext cx="6035738" cy="1043824"/>
          </a:xfrm>
          <a:prstGeom prst="rect">
            <a:avLst/>
          </a:prstGeom>
          <a:solidFill>
            <a:schemeClr val="tx1">
              <a:lumMod val="40000"/>
              <a:lumOff val="60000"/>
            </a:schemeClr>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9" name="Rectangle 8">
            <a:extLst>
              <a:ext uri="{FF2B5EF4-FFF2-40B4-BE49-F238E27FC236}">
                <a16:creationId xmlns:a16="http://schemas.microsoft.com/office/drawing/2014/main" id="{A7F020F5-4C2D-4B3E-B5DE-8EBF08C70B6B}"/>
              </a:ext>
            </a:extLst>
          </p:cNvPr>
          <p:cNvSpPr/>
          <p:nvPr/>
        </p:nvSpPr>
        <p:spPr>
          <a:xfrm>
            <a:off x="92836" y="2196305"/>
            <a:ext cx="6035738" cy="700458"/>
          </a:xfrm>
          <a:prstGeom prst="rect">
            <a:avLst/>
          </a:prstGeom>
          <a:solidFill>
            <a:schemeClr val="tx1">
              <a:lumMod val="40000"/>
              <a:lumOff val="60000"/>
            </a:schemeClr>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B5304044-77BB-429C-B1BB-CF7074495433}"/>
              </a:ext>
            </a:extLst>
          </p:cNvPr>
          <p:cNvSpPr>
            <a:spLocks noGrp="1"/>
          </p:cNvSpPr>
          <p:nvPr>
            <p:ph type="title"/>
          </p:nvPr>
        </p:nvSpPr>
        <p:spPr>
          <a:xfrm>
            <a:off x="0" y="22860"/>
            <a:ext cx="7955280" cy="640080"/>
          </a:xfrm>
        </p:spPr>
        <p:txBody>
          <a:bodyPr/>
          <a:lstStyle/>
          <a:p>
            <a:r>
              <a:rPr lang="en-US" dirty="0"/>
              <a:t>Standard error example</a:t>
            </a:r>
          </a:p>
        </p:txBody>
      </p:sp>
      <p:sp>
        <p:nvSpPr>
          <p:cNvPr id="3" name="Content Placeholder 2">
            <a:extLst>
              <a:ext uri="{FF2B5EF4-FFF2-40B4-BE49-F238E27FC236}">
                <a16:creationId xmlns:a16="http://schemas.microsoft.com/office/drawing/2014/main" id="{D4F0A585-0B49-422D-8CCC-476EC9B70BF6}"/>
              </a:ext>
            </a:extLst>
          </p:cNvPr>
          <p:cNvSpPr>
            <a:spLocks noGrp="1"/>
          </p:cNvSpPr>
          <p:nvPr>
            <p:ph sz="half" idx="1"/>
          </p:nvPr>
        </p:nvSpPr>
        <p:spPr>
          <a:xfrm>
            <a:off x="92836" y="596105"/>
            <a:ext cx="8946462" cy="3200400"/>
          </a:xfrm>
        </p:spPr>
        <p:txBody>
          <a:bodyPr>
            <a:normAutofit/>
          </a:bodyPr>
          <a:lstStyle/>
          <a:p>
            <a:r>
              <a:rPr lang="en-US" sz="1200" dirty="0"/>
              <a:t>In a random sample of 200 students, the mean math SAT score is 550. In this case, the sample is the 200 students, while the population is all test takers in the </a:t>
            </a:r>
            <a:r>
              <a:rPr lang="en-US" sz="1200" dirty="0" err="1"/>
              <a:t>region.The</a:t>
            </a:r>
            <a:r>
              <a:rPr lang="en-US" sz="1200" dirty="0"/>
              <a:t> standard deviation of the math scores is 180. This number reflects on average how much each score differs from the sample mean score of 550.The standard error of the math scores, on the other hand, tells you how much the sample mean score of 550 differs from other sample mean scores, in samples of equal size, in the population of all test takers in the region.</a:t>
            </a:r>
          </a:p>
        </p:txBody>
      </p:sp>
      <p:sp>
        <p:nvSpPr>
          <p:cNvPr id="8" name="TextBox 7">
            <a:extLst>
              <a:ext uri="{FF2B5EF4-FFF2-40B4-BE49-F238E27FC236}">
                <a16:creationId xmlns:a16="http://schemas.microsoft.com/office/drawing/2014/main" id="{E18FA4E6-6235-41B6-87B8-6A8BB56ECD06}"/>
              </a:ext>
            </a:extLst>
          </p:cNvPr>
          <p:cNvSpPr txBox="1"/>
          <p:nvPr/>
        </p:nvSpPr>
        <p:spPr>
          <a:xfrm>
            <a:off x="202424" y="1519654"/>
            <a:ext cx="8257521" cy="3231654"/>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solidFill>
                <a:latin typeface="+mn-lt"/>
              </a:rPr>
              <a:t>Example: Using the standard error formula, to estimate the standard error for math SAT scores, you follow two steps.</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b="1" i="1" dirty="0">
                <a:solidFill>
                  <a:schemeClr val="bg2"/>
                </a:solidFill>
                <a:latin typeface="+mn-lt"/>
              </a:rPr>
              <a:t>First, find the square root of your sample size (n).</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dirty="0">
                <a:solidFill>
                  <a:schemeClr val="bg2"/>
                </a:solidFill>
                <a:latin typeface="+mn-lt"/>
              </a:rPr>
              <a:t>Formula		Calculation</a:t>
            </a:r>
          </a:p>
          <a:p>
            <a:pPr>
              <a:spcBef>
                <a:spcPts val="0"/>
              </a:spcBef>
              <a:spcAft>
                <a:spcPts val="0"/>
              </a:spcAft>
              <a:buClr>
                <a:schemeClr val="bg1"/>
              </a:buClr>
            </a:pPr>
            <a:r>
              <a:rPr lang="en-US" sz="1200" dirty="0">
                <a:solidFill>
                  <a:schemeClr val="bg2"/>
                </a:solidFill>
                <a:latin typeface="+mn-lt"/>
              </a:rPr>
              <a:t>√n		n = 200</a:t>
            </a:r>
          </a:p>
          <a:p>
            <a:pPr>
              <a:spcBef>
                <a:spcPts val="0"/>
              </a:spcBef>
              <a:spcAft>
                <a:spcPts val="0"/>
              </a:spcAft>
              <a:buClr>
                <a:schemeClr val="bg1"/>
              </a:buClr>
            </a:pPr>
            <a:r>
              <a:rPr lang="en-US" sz="1200" dirty="0">
                <a:solidFill>
                  <a:schemeClr val="bg2"/>
                </a:solidFill>
                <a:latin typeface="+mn-lt"/>
              </a:rPr>
              <a:t>√n = 		√200 = 14.1</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b="1" i="1" dirty="0">
                <a:solidFill>
                  <a:schemeClr val="bg2"/>
                </a:solidFill>
                <a:latin typeface="+mn-lt"/>
              </a:rPr>
              <a:t>Next, divide the sample standard deviation by the number you found in step one.</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dirty="0">
                <a:solidFill>
                  <a:schemeClr val="bg2"/>
                </a:solidFill>
                <a:latin typeface="+mn-lt"/>
              </a:rPr>
              <a:t>Formula		Calculation</a:t>
            </a:r>
          </a:p>
          <a:p>
            <a:pPr>
              <a:spcBef>
                <a:spcPts val="0"/>
              </a:spcBef>
              <a:spcAft>
                <a:spcPts val="0"/>
              </a:spcAft>
              <a:buClr>
                <a:schemeClr val="bg1"/>
              </a:buClr>
            </a:pPr>
            <a:r>
              <a:rPr lang="en-US" sz="1200" dirty="0">
                <a:solidFill>
                  <a:schemeClr val="bg2"/>
                </a:solidFill>
                <a:latin typeface="+mn-lt"/>
              </a:rPr>
              <a:t>SE = s / √n		s = 180</a:t>
            </a:r>
          </a:p>
          <a:p>
            <a:pPr>
              <a:spcBef>
                <a:spcPts val="0"/>
              </a:spcBef>
              <a:spcAft>
                <a:spcPts val="0"/>
              </a:spcAft>
              <a:buClr>
                <a:schemeClr val="bg1"/>
              </a:buClr>
            </a:pPr>
            <a:r>
              <a:rPr lang="en-US" sz="1200" dirty="0">
                <a:solidFill>
                  <a:schemeClr val="bg2"/>
                </a:solidFill>
                <a:latin typeface="+mn-lt"/>
              </a:rPr>
              <a:t>		√n = 14.1</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dirty="0">
                <a:solidFill>
                  <a:schemeClr val="bg2"/>
                </a:solidFill>
                <a:latin typeface="+mn-lt"/>
              </a:rPr>
              <a:t>s ÷ √n = 180 ÷ 14.1 = 12.8</a:t>
            </a:r>
          </a:p>
          <a:p>
            <a:pPr>
              <a:spcBef>
                <a:spcPts val="0"/>
              </a:spcBef>
              <a:spcAft>
                <a:spcPts val="0"/>
              </a:spcAft>
              <a:buClr>
                <a:schemeClr val="bg1"/>
              </a:buClr>
            </a:pPr>
            <a:endParaRPr lang="en-US" sz="1200" dirty="0">
              <a:solidFill>
                <a:schemeClr val="bg2"/>
              </a:solidFill>
              <a:latin typeface="+mn-lt"/>
            </a:endParaRPr>
          </a:p>
          <a:p>
            <a:pPr>
              <a:spcBef>
                <a:spcPts val="0"/>
              </a:spcBef>
              <a:spcAft>
                <a:spcPts val="0"/>
              </a:spcAft>
              <a:buClr>
                <a:schemeClr val="bg1"/>
              </a:buClr>
            </a:pPr>
            <a:r>
              <a:rPr lang="en-US" sz="1200" b="1" dirty="0">
                <a:solidFill>
                  <a:schemeClr val="bg2"/>
                </a:solidFill>
                <a:latin typeface="+mn-lt"/>
              </a:rPr>
              <a:t> The standard error of math SAT scores is 12.8.</a:t>
            </a:r>
            <a:endParaRPr lang="en-US" sz="1400" b="1" dirty="0">
              <a:solidFill>
                <a:schemeClr val="bg2"/>
              </a:solidFill>
              <a:latin typeface="+mn-lt"/>
            </a:endParaRPr>
          </a:p>
        </p:txBody>
      </p:sp>
    </p:spTree>
    <p:extLst>
      <p:ext uri="{BB962C8B-B14F-4D97-AF65-F5344CB8AC3E}">
        <p14:creationId xmlns:p14="http://schemas.microsoft.com/office/powerpoint/2010/main" val="1623118111"/>
      </p:ext>
    </p:extLst>
  </p:cSld>
  <p:clrMapOvr>
    <a:masterClrMapping/>
  </p:clrMapOvr>
  <p:transition spd="med">
    <p:wipe dir="r"/>
  </p:transition>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44742-A8FE-48D1-B0F5-33B9C80BD3E0}"/>
              </a:ext>
            </a:extLst>
          </p:cNvPr>
          <p:cNvSpPr>
            <a:spLocks noGrp="1"/>
          </p:cNvSpPr>
          <p:nvPr>
            <p:ph type="title"/>
          </p:nvPr>
        </p:nvSpPr>
        <p:spPr>
          <a:xfrm>
            <a:off x="0" y="0"/>
            <a:ext cx="8229600" cy="637794"/>
          </a:xfrm>
        </p:spPr>
        <p:txBody>
          <a:bodyPr/>
          <a:lstStyle/>
          <a:p>
            <a:r>
              <a:rPr lang="en-US" dirty="0"/>
              <a:t>Standard Scores</a:t>
            </a:r>
          </a:p>
        </p:txBody>
      </p:sp>
      <p:sp>
        <p:nvSpPr>
          <p:cNvPr id="3" name="TextBox 2">
            <a:extLst>
              <a:ext uri="{FF2B5EF4-FFF2-40B4-BE49-F238E27FC236}">
                <a16:creationId xmlns:a16="http://schemas.microsoft.com/office/drawing/2014/main" id="{1382A0D9-8E0E-49AF-A81E-071AA870D57B}"/>
              </a:ext>
            </a:extLst>
          </p:cNvPr>
          <p:cNvSpPr txBox="1"/>
          <p:nvPr/>
        </p:nvSpPr>
        <p:spPr>
          <a:xfrm>
            <a:off x="111683" y="637794"/>
            <a:ext cx="8229600" cy="430887"/>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The number of </a:t>
            </a:r>
            <a:r>
              <a:rPr lang="en-US" sz="1100" b="1" i="0" dirty="0">
                <a:solidFill>
                  <a:srgbClr val="333333"/>
                </a:solidFill>
                <a:effectLst/>
                <a:latin typeface="Verdana" panose="020B0604030504040204" pitchFamily="34" charset="0"/>
              </a:rPr>
              <a:t>standard deviations from the mean</a:t>
            </a:r>
            <a:r>
              <a:rPr lang="en-US" sz="1100" b="0" i="0" dirty="0">
                <a:solidFill>
                  <a:srgbClr val="333333"/>
                </a:solidFill>
                <a:effectLst/>
                <a:latin typeface="Verdana" panose="020B0604030504040204" pitchFamily="34" charset="0"/>
              </a:rPr>
              <a:t> is also called the "Standard Score", "sigma" or "z-score". Get used to those words!</a:t>
            </a:r>
            <a:endParaRPr lang="en-US" sz="1400" dirty="0">
              <a:solidFill>
                <a:schemeClr val="bg2"/>
              </a:solidFill>
              <a:latin typeface="+mn-lt"/>
            </a:endParaRPr>
          </a:p>
        </p:txBody>
      </p:sp>
      <p:sp>
        <p:nvSpPr>
          <p:cNvPr id="4" name="TextBox 3">
            <a:extLst>
              <a:ext uri="{FF2B5EF4-FFF2-40B4-BE49-F238E27FC236}">
                <a16:creationId xmlns:a16="http://schemas.microsoft.com/office/drawing/2014/main" id="{D2AB4E56-192B-4B0B-90DE-64CE5E638505}"/>
              </a:ext>
            </a:extLst>
          </p:cNvPr>
          <p:cNvSpPr txBox="1"/>
          <p:nvPr/>
        </p:nvSpPr>
        <p:spPr>
          <a:xfrm>
            <a:off x="390889" y="1369349"/>
            <a:ext cx="5325856" cy="2569934"/>
          </a:xfrm>
          <a:prstGeom prst="rect">
            <a:avLst/>
          </a:prstGeom>
          <a:noFill/>
        </p:spPr>
        <p:txBody>
          <a:bodyPr wrap="square" rtlCol="0">
            <a:spAutoFit/>
          </a:bodyPr>
          <a:lstStyle/>
          <a:p>
            <a:r>
              <a:rPr lang="en-US" sz="1000" b="0" i="0" dirty="0">
                <a:effectLst/>
                <a:latin typeface="Verdana" panose="020B0604030504040204" pitchFamily="34" charset="0"/>
              </a:rPr>
              <a:t>Example: In that same school one of your friends is 1.85m tall</a:t>
            </a:r>
          </a:p>
          <a:p>
            <a:pPr algn="l"/>
            <a:endParaRPr lang="en-US" sz="1100" b="0" i="0" dirty="0">
              <a:solidFill>
                <a:srgbClr val="333333"/>
              </a:solidFill>
              <a:effectLst/>
              <a:latin typeface="Verdana" panose="020B0604030504040204" pitchFamily="34" charset="0"/>
            </a:endParaRPr>
          </a:p>
          <a:p>
            <a:pPr algn="l"/>
            <a:endParaRPr lang="en-US" sz="1100" dirty="0">
              <a:solidFill>
                <a:srgbClr val="333333"/>
              </a:solidFill>
              <a:latin typeface="Verdana" panose="020B0604030504040204" pitchFamily="34" charset="0"/>
            </a:endParaRPr>
          </a:p>
          <a:p>
            <a:pPr algn="l"/>
            <a:r>
              <a:rPr lang="en-US" sz="1100" b="0" i="0" dirty="0">
                <a:solidFill>
                  <a:srgbClr val="333333"/>
                </a:solidFill>
                <a:effectLst/>
                <a:latin typeface="Verdana" panose="020B0604030504040204" pitchFamily="34" charset="0"/>
              </a:rPr>
              <a:t>You can see on the bell curve that 1.85m is </a:t>
            </a:r>
            <a:r>
              <a:rPr lang="en-US" sz="1100" b="1" i="0" dirty="0">
                <a:solidFill>
                  <a:srgbClr val="333333"/>
                </a:solidFill>
                <a:effectLst/>
                <a:latin typeface="Verdana" panose="020B0604030504040204" pitchFamily="34" charset="0"/>
              </a:rPr>
              <a:t>3 standard deviations</a:t>
            </a:r>
            <a:r>
              <a:rPr lang="en-US" sz="1100" b="0" i="0" dirty="0">
                <a:solidFill>
                  <a:srgbClr val="333333"/>
                </a:solidFill>
                <a:effectLst/>
                <a:latin typeface="Verdana" panose="020B0604030504040204" pitchFamily="34" charset="0"/>
              </a:rPr>
              <a:t> from the mean of 1.4, so:</a:t>
            </a:r>
          </a:p>
          <a:p>
            <a:pPr algn="l"/>
            <a:r>
              <a:rPr lang="en-US" sz="1100" b="0" i="0" dirty="0">
                <a:effectLst/>
                <a:latin typeface="Verdana" panose="020B0604030504040204" pitchFamily="34" charset="0"/>
              </a:rPr>
              <a:t>Your friend's height has a "z-score" of 3.0</a:t>
            </a:r>
          </a:p>
          <a:p>
            <a:pPr algn="l"/>
            <a:endParaRPr lang="en-US" sz="1100" dirty="0">
              <a:latin typeface="Verdana" panose="020B0604030504040204" pitchFamily="34" charset="0"/>
            </a:endParaRPr>
          </a:p>
          <a:p>
            <a:pPr algn="l"/>
            <a:r>
              <a:rPr lang="en-US" sz="1000" b="0" i="0" dirty="0">
                <a:solidFill>
                  <a:srgbClr val="333333"/>
                </a:solidFill>
                <a:effectLst/>
                <a:latin typeface="Verdana" panose="020B0604030504040204" pitchFamily="34" charset="0"/>
              </a:rPr>
              <a:t>It is also possible to </a:t>
            </a:r>
            <a:r>
              <a:rPr lang="en-US" sz="1000" b="1" i="0" dirty="0">
                <a:solidFill>
                  <a:srgbClr val="333333"/>
                </a:solidFill>
                <a:effectLst/>
                <a:latin typeface="Verdana" panose="020B0604030504040204" pitchFamily="34" charset="0"/>
              </a:rPr>
              <a:t>calculate</a:t>
            </a:r>
            <a:r>
              <a:rPr lang="en-US" sz="1000" b="0" i="0" dirty="0">
                <a:solidFill>
                  <a:srgbClr val="333333"/>
                </a:solidFill>
                <a:effectLst/>
                <a:latin typeface="Verdana" panose="020B0604030504040204" pitchFamily="34" charset="0"/>
              </a:rPr>
              <a:t> how many standard deviations 1.85 is from the mean</a:t>
            </a:r>
          </a:p>
          <a:p>
            <a:pPr algn="l"/>
            <a:r>
              <a:rPr lang="en-US" sz="1000" b="0" i="1" dirty="0">
                <a:solidFill>
                  <a:srgbClr val="333333"/>
                </a:solidFill>
                <a:effectLst/>
                <a:latin typeface="Verdana" panose="020B0604030504040204" pitchFamily="34" charset="0"/>
              </a:rPr>
              <a:t>How far is 1.85 from the mean?</a:t>
            </a:r>
            <a:endParaRPr lang="en-US" sz="1000" b="0" i="0" dirty="0">
              <a:solidFill>
                <a:srgbClr val="333333"/>
              </a:solidFill>
              <a:effectLst/>
              <a:latin typeface="Verdana" panose="020B0604030504040204" pitchFamily="34" charset="0"/>
            </a:endParaRPr>
          </a:p>
          <a:p>
            <a:pPr algn="ctr"/>
            <a:r>
              <a:rPr lang="en-US" sz="1000" b="0" i="0" dirty="0">
                <a:solidFill>
                  <a:srgbClr val="333333"/>
                </a:solidFill>
                <a:effectLst/>
                <a:latin typeface="Verdana" panose="020B0604030504040204" pitchFamily="34" charset="0"/>
              </a:rPr>
              <a:t>It is 1.85 - 1.4 =</a:t>
            </a:r>
            <a:r>
              <a:rPr lang="en-US" sz="1000" b="1" i="0" dirty="0">
                <a:solidFill>
                  <a:srgbClr val="333333"/>
                </a:solidFill>
                <a:effectLst/>
                <a:latin typeface="Verdana" panose="020B0604030504040204" pitchFamily="34" charset="0"/>
              </a:rPr>
              <a:t> 0.45m from the mean</a:t>
            </a:r>
            <a:endParaRPr lang="en-US" sz="1000" b="0" i="0" dirty="0">
              <a:solidFill>
                <a:srgbClr val="333333"/>
              </a:solidFill>
              <a:effectLst/>
              <a:latin typeface="Verdana" panose="020B0604030504040204" pitchFamily="34" charset="0"/>
            </a:endParaRPr>
          </a:p>
          <a:p>
            <a:pPr algn="l"/>
            <a:r>
              <a:rPr lang="en-US" sz="1000" b="0" i="1" dirty="0">
                <a:solidFill>
                  <a:srgbClr val="333333"/>
                </a:solidFill>
                <a:effectLst/>
                <a:latin typeface="Verdana" panose="020B0604030504040204" pitchFamily="34" charset="0"/>
              </a:rPr>
              <a:t>How many standard deviations is that?</a:t>
            </a:r>
            <a:r>
              <a:rPr lang="en-US" sz="1000" b="0" i="0" dirty="0">
                <a:solidFill>
                  <a:srgbClr val="333333"/>
                </a:solidFill>
                <a:effectLst/>
                <a:latin typeface="Verdana" panose="020B0604030504040204" pitchFamily="34" charset="0"/>
              </a:rPr>
              <a:t> The standard deviation is 0.15m, so:</a:t>
            </a:r>
          </a:p>
          <a:p>
            <a:pPr algn="ctr"/>
            <a:r>
              <a:rPr lang="en-US" sz="1000" b="0" i="0" dirty="0">
                <a:solidFill>
                  <a:srgbClr val="333333"/>
                </a:solidFill>
                <a:effectLst/>
                <a:latin typeface="Verdana" panose="020B0604030504040204" pitchFamily="34" charset="0"/>
              </a:rPr>
              <a:t>0.45m / 0.15m = </a:t>
            </a:r>
            <a:r>
              <a:rPr lang="en-US" sz="1000" b="1" i="0" dirty="0">
                <a:solidFill>
                  <a:srgbClr val="333333"/>
                </a:solidFill>
                <a:effectLst/>
                <a:latin typeface="Verdana" panose="020B0604030504040204" pitchFamily="34" charset="0"/>
              </a:rPr>
              <a:t>3 standard deviations</a:t>
            </a:r>
            <a:endParaRPr lang="en-US" sz="1000" b="0" i="0" dirty="0">
              <a:solidFill>
                <a:srgbClr val="333333"/>
              </a:solidFill>
              <a:effectLst/>
              <a:latin typeface="Verdana" panose="020B0604030504040204" pitchFamily="34" charset="0"/>
            </a:endParaRPr>
          </a:p>
          <a:p>
            <a:pPr algn="l"/>
            <a:endParaRPr lang="en-US" sz="1100" b="0" i="0" dirty="0">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8" name="Picture 7">
            <a:extLst>
              <a:ext uri="{FF2B5EF4-FFF2-40B4-BE49-F238E27FC236}">
                <a16:creationId xmlns:a16="http://schemas.microsoft.com/office/drawing/2014/main" id="{BE687A7F-C8C5-4F8A-9549-1205CA7E2E35}"/>
              </a:ext>
            </a:extLst>
          </p:cNvPr>
          <p:cNvPicPr>
            <a:picLocks noChangeAspect="1"/>
          </p:cNvPicPr>
          <p:nvPr/>
        </p:nvPicPr>
        <p:blipFill>
          <a:blip r:embed="rId2"/>
          <a:stretch>
            <a:fillRect/>
          </a:stretch>
        </p:blipFill>
        <p:spPr>
          <a:xfrm>
            <a:off x="5716745" y="1536946"/>
            <a:ext cx="3236816" cy="1834468"/>
          </a:xfrm>
          <a:prstGeom prst="rect">
            <a:avLst/>
          </a:prstGeom>
        </p:spPr>
      </p:pic>
    </p:spTree>
    <p:extLst>
      <p:ext uri="{BB962C8B-B14F-4D97-AF65-F5344CB8AC3E}">
        <p14:creationId xmlns:p14="http://schemas.microsoft.com/office/powerpoint/2010/main" val="1470245886"/>
      </p:ext>
    </p:extLst>
  </p:cSld>
  <p:clrMapOvr>
    <a:masterClrMapping/>
  </p:clrMapOvr>
  <p:transition spd="med">
    <p:wipe dir="r"/>
  </p:transition>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15557-E851-4D39-9CB5-3DFDE80BD8C3}"/>
              </a:ext>
            </a:extLst>
          </p:cNvPr>
          <p:cNvSpPr>
            <a:spLocks noGrp="1"/>
          </p:cNvSpPr>
          <p:nvPr>
            <p:ph type="title"/>
          </p:nvPr>
        </p:nvSpPr>
        <p:spPr>
          <a:xfrm>
            <a:off x="0" y="0"/>
            <a:ext cx="8229600" cy="637794"/>
          </a:xfrm>
        </p:spPr>
        <p:txBody>
          <a:bodyPr/>
          <a:lstStyle/>
          <a:p>
            <a:r>
              <a:rPr lang="en-US" dirty="0"/>
              <a:t>Binomial Distribution</a:t>
            </a:r>
          </a:p>
        </p:txBody>
      </p:sp>
      <p:sp>
        <p:nvSpPr>
          <p:cNvPr id="3" name="TextBox 2">
            <a:extLst>
              <a:ext uri="{FF2B5EF4-FFF2-40B4-BE49-F238E27FC236}">
                <a16:creationId xmlns:a16="http://schemas.microsoft.com/office/drawing/2014/main" id="{46C7D9AD-51B2-4DFC-B32A-2EC958442279}"/>
              </a:ext>
            </a:extLst>
          </p:cNvPr>
          <p:cNvSpPr txBox="1"/>
          <p:nvPr/>
        </p:nvSpPr>
        <p:spPr>
          <a:xfrm>
            <a:off x="160543" y="637794"/>
            <a:ext cx="8822913" cy="138499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A binomial distribution can be thought of as simply the probability of a </a:t>
            </a:r>
            <a:r>
              <a:rPr lang="en-US" sz="1400" b="1" dirty="0">
                <a:solidFill>
                  <a:schemeClr val="bg1"/>
                </a:solidFill>
                <a:latin typeface="+mn-lt"/>
              </a:rPr>
              <a:t>SUCCESS</a:t>
            </a:r>
            <a:r>
              <a:rPr lang="en-US" sz="1400" dirty="0">
                <a:solidFill>
                  <a:schemeClr val="bg2"/>
                </a:solidFill>
                <a:latin typeface="+mn-lt"/>
              </a:rPr>
              <a:t> or </a:t>
            </a:r>
            <a:r>
              <a:rPr lang="en-US" sz="1400" b="1" dirty="0">
                <a:solidFill>
                  <a:schemeClr val="bg1"/>
                </a:solidFill>
                <a:latin typeface="+mn-lt"/>
              </a:rPr>
              <a:t>FAILURE</a:t>
            </a:r>
            <a:r>
              <a:rPr lang="en-US" sz="1400" dirty="0">
                <a:solidFill>
                  <a:schemeClr val="bg2"/>
                </a:solidFill>
                <a:latin typeface="+mn-lt"/>
              </a:rPr>
              <a:t> outcome in an experiment or survey that is repeated multiple times. The binomial is a type of distribution that has two possible outcomes </a:t>
            </a:r>
            <a:r>
              <a:rPr lang="en-US" sz="1400" dirty="0">
                <a:solidFill>
                  <a:schemeClr val="bg1"/>
                </a:solidFill>
                <a:latin typeface="+mn-lt"/>
              </a:rPr>
              <a:t>(</a:t>
            </a:r>
            <a:r>
              <a:rPr lang="en-US" sz="1400" b="1" dirty="0">
                <a:solidFill>
                  <a:schemeClr val="bg1"/>
                </a:solidFill>
                <a:latin typeface="+mn-lt"/>
              </a:rPr>
              <a:t>the prefix “bi” means two, or twice</a:t>
            </a:r>
            <a:r>
              <a:rPr lang="en-US" sz="1400" dirty="0">
                <a:solidFill>
                  <a:schemeClr val="bg1"/>
                </a:solidFill>
                <a:latin typeface="+mn-lt"/>
              </a:rPr>
              <a:t>)</a:t>
            </a:r>
            <a:r>
              <a:rPr lang="en-US" sz="1400" dirty="0">
                <a:solidFill>
                  <a:schemeClr val="bg2"/>
                </a:solidFill>
                <a:latin typeface="+mn-lt"/>
              </a:rPr>
              <a:t>.</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b="1" i="1" dirty="0">
                <a:solidFill>
                  <a:schemeClr val="bg2"/>
                </a:solidFill>
                <a:latin typeface="+mn-lt"/>
              </a:rPr>
              <a:t>For example, </a:t>
            </a:r>
            <a:r>
              <a:rPr lang="en-US" sz="1400" i="1" dirty="0">
                <a:solidFill>
                  <a:schemeClr val="bg2"/>
                </a:solidFill>
                <a:latin typeface="+mn-lt"/>
              </a:rPr>
              <a:t>a coin toss has only two possible outcomes: heads or tails and taking a test could have two possible outcomes: pass or fail.</a:t>
            </a:r>
          </a:p>
        </p:txBody>
      </p:sp>
      <p:sp>
        <p:nvSpPr>
          <p:cNvPr id="4" name="TextBox 3">
            <a:extLst>
              <a:ext uri="{FF2B5EF4-FFF2-40B4-BE49-F238E27FC236}">
                <a16:creationId xmlns:a16="http://schemas.microsoft.com/office/drawing/2014/main" id="{D94AEF53-AB99-4794-965F-8075E404AD25}"/>
              </a:ext>
            </a:extLst>
          </p:cNvPr>
          <p:cNvSpPr txBox="1"/>
          <p:nvPr/>
        </p:nvSpPr>
        <p:spPr>
          <a:xfrm>
            <a:off x="3144557" y="2189750"/>
            <a:ext cx="4376555"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solidFill>
                <a:latin typeface="+mn-lt"/>
              </a:rPr>
              <a:t>X ~ B (n, p) </a:t>
            </a:r>
          </a:p>
        </p:txBody>
      </p:sp>
      <p:sp>
        <p:nvSpPr>
          <p:cNvPr id="5" name="TextBox 4">
            <a:extLst>
              <a:ext uri="{FF2B5EF4-FFF2-40B4-BE49-F238E27FC236}">
                <a16:creationId xmlns:a16="http://schemas.microsoft.com/office/drawing/2014/main" id="{2175D111-F71D-4A89-A95F-7E43884E3270}"/>
              </a:ext>
            </a:extLst>
          </p:cNvPr>
          <p:cNvSpPr txBox="1"/>
          <p:nvPr/>
        </p:nvSpPr>
        <p:spPr>
          <a:xfrm>
            <a:off x="362967" y="2953750"/>
            <a:ext cx="7985294" cy="523220"/>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first variable in the binomial formula, n, stands for the number of times the experiment runs.</a:t>
            </a:r>
          </a:p>
          <a:p>
            <a:pPr marL="285750"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The second variable, p, represents the probability of one specific outcome.</a:t>
            </a:r>
          </a:p>
        </p:txBody>
      </p:sp>
      <p:sp>
        <p:nvSpPr>
          <p:cNvPr id="7" name="Rectangle 6">
            <a:extLst>
              <a:ext uri="{FF2B5EF4-FFF2-40B4-BE49-F238E27FC236}">
                <a16:creationId xmlns:a16="http://schemas.microsoft.com/office/drawing/2014/main" id="{4D432B35-4FF0-4882-BFFA-1EB61BB8FBFD}"/>
              </a:ext>
            </a:extLst>
          </p:cNvPr>
          <p:cNvSpPr/>
          <p:nvPr/>
        </p:nvSpPr>
        <p:spPr>
          <a:xfrm>
            <a:off x="788756" y="3772789"/>
            <a:ext cx="7713070" cy="1015595"/>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Additionally, we can express a Bern(p) as a Binomial distribution with a single trails </a:t>
            </a:r>
          </a:p>
          <a:p>
            <a:pPr algn="ctr">
              <a:lnSpc>
                <a:spcPct val="90000"/>
              </a:lnSpc>
              <a:spcBef>
                <a:spcPts val="600"/>
              </a:spcBef>
              <a:spcAft>
                <a:spcPts val="0"/>
              </a:spcAft>
            </a:pPr>
            <a:r>
              <a:rPr lang="en-US" sz="2000" b="1" dirty="0">
                <a:solidFill>
                  <a:schemeClr val="tx2"/>
                </a:solidFill>
                <a:latin typeface="+mn-lt"/>
              </a:rPr>
              <a:t>=&gt; Bern(p) = B(1, p)</a:t>
            </a:r>
          </a:p>
        </p:txBody>
      </p:sp>
    </p:spTree>
    <p:extLst>
      <p:ext uri="{BB962C8B-B14F-4D97-AF65-F5344CB8AC3E}">
        <p14:creationId xmlns:p14="http://schemas.microsoft.com/office/powerpoint/2010/main" val="967999679"/>
      </p:ext>
    </p:extLst>
  </p:cSld>
  <p:clrMapOvr>
    <a:masterClrMapping/>
  </p:clrMapOvr>
  <p:transition spd="med">
    <p:wipe dir="r"/>
  </p:transition>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DA43E-724A-488B-A617-96CE4AABD26B}"/>
              </a:ext>
            </a:extLst>
          </p:cNvPr>
          <p:cNvSpPr>
            <a:spLocks noGrp="1"/>
          </p:cNvSpPr>
          <p:nvPr>
            <p:ph type="title"/>
          </p:nvPr>
        </p:nvSpPr>
        <p:spPr>
          <a:xfrm>
            <a:off x="0" y="0"/>
            <a:ext cx="8229600" cy="637794"/>
          </a:xfrm>
        </p:spPr>
        <p:txBody>
          <a:bodyPr/>
          <a:lstStyle/>
          <a:p>
            <a:r>
              <a:rPr lang="en-US" dirty="0"/>
              <a:t>Binomial Distribution - Formula</a:t>
            </a:r>
          </a:p>
        </p:txBody>
      </p:sp>
      <p:sp>
        <p:nvSpPr>
          <p:cNvPr id="3" name="TextBox 2">
            <a:extLst>
              <a:ext uri="{FF2B5EF4-FFF2-40B4-BE49-F238E27FC236}">
                <a16:creationId xmlns:a16="http://schemas.microsoft.com/office/drawing/2014/main" id="{56F6C692-0C16-416E-B463-15800672507D}"/>
              </a:ext>
            </a:extLst>
          </p:cNvPr>
          <p:cNvSpPr txBox="1"/>
          <p:nvPr/>
        </p:nvSpPr>
        <p:spPr>
          <a:xfrm>
            <a:off x="251283" y="746876"/>
            <a:ext cx="7322182" cy="83099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 binomial distribution formula is:</a:t>
            </a:r>
          </a:p>
          <a:p>
            <a:pPr>
              <a:spcBef>
                <a:spcPts val="0"/>
              </a:spcBef>
              <a:spcAft>
                <a:spcPts val="0"/>
              </a:spcAft>
              <a:buClr>
                <a:schemeClr val="bg1"/>
              </a:buClr>
            </a:pPr>
            <a:r>
              <a:rPr lang="en-US" sz="1400" dirty="0">
                <a:solidFill>
                  <a:schemeClr val="bg2"/>
                </a:solidFill>
                <a:latin typeface="+mn-lt"/>
              </a:rPr>
              <a:t> </a:t>
            </a:r>
          </a:p>
          <a:p>
            <a:pPr>
              <a:spcBef>
                <a:spcPts val="0"/>
              </a:spcBef>
              <a:spcAft>
                <a:spcPts val="0"/>
              </a:spcAft>
              <a:buClr>
                <a:schemeClr val="bg1"/>
              </a:buClr>
            </a:pPr>
            <a:r>
              <a:rPr lang="en-US" sz="2000" b="1" dirty="0">
                <a:solidFill>
                  <a:schemeClr val="bg2"/>
                </a:solidFill>
                <a:latin typeface="+mn-lt"/>
              </a:rPr>
              <a:t>b(x; n, P) = </a:t>
            </a:r>
            <a:r>
              <a:rPr lang="en-US" sz="2000" b="1" dirty="0" err="1">
                <a:solidFill>
                  <a:schemeClr val="bg2"/>
                </a:solidFill>
                <a:latin typeface="+mn-lt"/>
              </a:rPr>
              <a:t>nCx</a:t>
            </a:r>
            <a:r>
              <a:rPr lang="en-US" sz="2000" b="1" dirty="0">
                <a:solidFill>
                  <a:schemeClr val="bg2"/>
                </a:solidFill>
                <a:latin typeface="+mn-lt"/>
              </a:rPr>
              <a:t> * Px * (1 – P)n – x</a:t>
            </a:r>
          </a:p>
        </p:txBody>
      </p:sp>
      <p:sp>
        <p:nvSpPr>
          <p:cNvPr id="4" name="TextBox 3">
            <a:extLst>
              <a:ext uri="{FF2B5EF4-FFF2-40B4-BE49-F238E27FC236}">
                <a16:creationId xmlns:a16="http://schemas.microsoft.com/office/drawing/2014/main" id="{E4BC4CFF-787D-4CC9-B300-6638723F6441}"/>
              </a:ext>
            </a:extLst>
          </p:cNvPr>
          <p:cNvSpPr txBox="1"/>
          <p:nvPr/>
        </p:nvSpPr>
        <p:spPr>
          <a:xfrm>
            <a:off x="251283" y="1786919"/>
            <a:ext cx="4132251" cy="1384995"/>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here:</a:t>
            </a:r>
          </a:p>
          <a:p>
            <a:pPr>
              <a:spcBef>
                <a:spcPts val="0"/>
              </a:spcBef>
              <a:spcAft>
                <a:spcPts val="0"/>
              </a:spcAft>
              <a:buClr>
                <a:schemeClr val="bg1"/>
              </a:buClr>
            </a:pPr>
            <a:r>
              <a:rPr lang="en-US" sz="1400" dirty="0">
                <a:solidFill>
                  <a:schemeClr val="bg2"/>
                </a:solidFill>
                <a:latin typeface="+mn-lt"/>
              </a:rPr>
              <a:t>b = binomial probability</a:t>
            </a:r>
          </a:p>
          <a:p>
            <a:pPr>
              <a:spcBef>
                <a:spcPts val="0"/>
              </a:spcBef>
              <a:spcAft>
                <a:spcPts val="0"/>
              </a:spcAft>
              <a:buClr>
                <a:schemeClr val="bg1"/>
              </a:buClr>
            </a:pPr>
            <a:r>
              <a:rPr lang="en-US" sz="1400" dirty="0">
                <a:solidFill>
                  <a:schemeClr val="bg2"/>
                </a:solidFill>
                <a:latin typeface="+mn-lt"/>
              </a:rPr>
              <a:t>x = total number of “successes” (pass or fail, heads or tails etc.)</a:t>
            </a:r>
          </a:p>
          <a:p>
            <a:pPr>
              <a:spcBef>
                <a:spcPts val="0"/>
              </a:spcBef>
              <a:spcAft>
                <a:spcPts val="0"/>
              </a:spcAft>
              <a:buClr>
                <a:schemeClr val="bg1"/>
              </a:buClr>
            </a:pPr>
            <a:r>
              <a:rPr lang="en-US" sz="1400" dirty="0">
                <a:solidFill>
                  <a:schemeClr val="bg2"/>
                </a:solidFill>
                <a:latin typeface="+mn-lt"/>
              </a:rPr>
              <a:t>P = probability of a success on an individual trial</a:t>
            </a:r>
          </a:p>
          <a:p>
            <a:pPr>
              <a:spcBef>
                <a:spcPts val="0"/>
              </a:spcBef>
              <a:spcAft>
                <a:spcPts val="0"/>
              </a:spcAft>
              <a:buClr>
                <a:schemeClr val="bg1"/>
              </a:buClr>
            </a:pPr>
            <a:r>
              <a:rPr lang="en-US" sz="1400" dirty="0">
                <a:solidFill>
                  <a:schemeClr val="bg2"/>
                </a:solidFill>
                <a:latin typeface="+mn-lt"/>
              </a:rPr>
              <a:t>n = number of trials</a:t>
            </a:r>
          </a:p>
        </p:txBody>
      </p:sp>
      <p:pic>
        <p:nvPicPr>
          <p:cNvPr id="6" name="Picture 5">
            <a:extLst>
              <a:ext uri="{FF2B5EF4-FFF2-40B4-BE49-F238E27FC236}">
                <a16:creationId xmlns:a16="http://schemas.microsoft.com/office/drawing/2014/main" id="{6B8B8DD4-9BC4-43A8-B988-81BBEF1F7F29}"/>
              </a:ext>
            </a:extLst>
          </p:cNvPr>
          <p:cNvPicPr>
            <a:picLocks noChangeAspect="1"/>
          </p:cNvPicPr>
          <p:nvPr/>
        </p:nvPicPr>
        <p:blipFill>
          <a:blip r:embed="rId2"/>
          <a:stretch>
            <a:fillRect/>
          </a:stretch>
        </p:blipFill>
        <p:spPr>
          <a:xfrm>
            <a:off x="2828925" y="4211635"/>
            <a:ext cx="2571750" cy="357188"/>
          </a:xfrm>
          <a:prstGeom prst="rect">
            <a:avLst/>
          </a:prstGeom>
        </p:spPr>
      </p:pic>
      <p:sp>
        <p:nvSpPr>
          <p:cNvPr id="7" name="TextBox 6">
            <a:extLst>
              <a:ext uri="{FF2B5EF4-FFF2-40B4-BE49-F238E27FC236}">
                <a16:creationId xmlns:a16="http://schemas.microsoft.com/office/drawing/2014/main" id="{019982D0-7F6D-40B1-828D-6C8836286068}"/>
              </a:ext>
            </a:extLst>
          </p:cNvPr>
          <p:cNvSpPr txBox="1"/>
          <p:nvPr/>
        </p:nvSpPr>
        <p:spPr>
          <a:xfrm>
            <a:off x="251283" y="3565628"/>
            <a:ext cx="7503667" cy="430887"/>
          </a:xfrm>
          <a:prstGeom prst="rect">
            <a:avLst/>
          </a:prstGeom>
          <a:noFill/>
        </p:spPr>
        <p:txBody>
          <a:bodyPr wrap="square" rtlCol="0">
            <a:spAutoFit/>
          </a:bodyPr>
          <a:lstStyle/>
          <a:p>
            <a:pPr>
              <a:spcBef>
                <a:spcPts val="0"/>
              </a:spcBef>
              <a:spcAft>
                <a:spcPts val="0"/>
              </a:spcAft>
              <a:buClr>
                <a:schemeClr val="bg1"/>
              </a:buClr>
            </a:pPr>
            <a:r>
              <a:rPr lang="en-US" sz="1100" b="1" i="0" dirty="0">
                <a:solidFill>
                  <a:schemeClr val="bg2"/>
                </a:solidFill>
                <a:effectLst/>
                <a:latin typeface="pt sans" panose="020B0503020203020204" pitchFamily="34" charset="0"/>
              </a:rPr>
              <a:t>Note:</a:t>
            </a:r>
            <a:r>
              <a:rPr lang="en-US" sz="1100" b="0" i="0" dirty="0">
                <a:solidFill>
                  <a:schemeClr val="bg2"/>
                </a:solidFill>
                <a:effectLst/>
                <a:latin typeface="pt sans" panose="020B0503020203020204" pitchFamily="34" charset="0"/>
              </a:rPr>
              <a:t> The binomial distribution formula can also be written in a slightly different way, because </a:t>
            </a:r>
            <a:r>
              <a:rPr lang="en-US" sz="1100" b="0" i="0" baseline="-25000" dirty="0" err="1">
                <a:solidFill>
                  <a:schemeClr val="bg2"/>
                </a:solidFill>
                <a:effectLst/>
                <a:latin typeface="pt sans" panose="020B0503020203020204" pitchFamily="34" charset="0"/>
              </a:rPr>
              <a:t>n</a:t>
            </a:r>
            <a:r>
              <a:rPr lang="en-US" sz="1100" b="0" i="0" dirty="0" err="1">
                <a:solidFill>
                  <a:schemeClr val="bg2"/>
                </a:solidFill>
                <a:effectLst/>
                <a:latin typeface="pt sans" panose="020B0503020203020204" pitchFamily="34" charset="0"/>
              </a:rPr>
              <a:t>C</a:t>
            </a:r>
            <a:r>
              <a:rPr lang="en-US" sz="1100" b="0" i="0" baseline="-25000" dirty="0" err="1">
                <a:solidFill>
                  <a:schemeClr val="bg2"/>
                </a:solidFill>
                <a:effectLst/>
                <a:latin typeface="pt sans" panose="020B0503020203020204" pitchFamily="34" charset="0"/>
              </a:rPr>
              <a:t>x</a:t>
            </a:r>
            <a:r>
              <a:rPr lang="en-US" sz="1100" b="0" i="0" dirty="0">
                <a:solidFill>
                  <a:schemeClr val="bg2"/>
                </a:solidFill>
                <a:effectLst/>
                <a:latin typeface="pt sans" panose="020B0503020203020204" pitchFamily="34" charset="0"/>
              </a:rPr>
              <a:t> = n! / x!(n – x)! (this binomial distribution formula uses factorials</a:t>
            </a:r>
            <a:endParaRPr lang="en-US" sz="1400" dirty="0">
              <a:solidFill>
                <a:schemeClr val="bg2"/>
              </a:solidFill>
              <a:latin typeface="+mn-lt"/>
            </a:endParaRPr>
          </a:p>
        </p:txBody>
      </p:sp>
    </p:spTree>
    <p:extLst>
      <p:ext uri="{BB962C8B-B14F-4D97-AF65-F5344CB8AC3E}">
        <p14:creationId xmlns:p14="http://schemas.microsoft.com/office/powerpoint/2010/main" val="4126708613"/>
      </p:ext>
    </p:extLst>
  </p:cSld>
  <p:clrMapOvr>
    <a:masterClrMapping/>
  </p:clrMapOvr>
  <p:transition spd="med">
    <p:wipe dir="r"/>
  </p:transition>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8BC7C-03FA-4BBA-A556-984F16972576}"/>
              </a:ext>
            </a:extLst>
          </p:cNvPr>
          <p:cNvSpPr>
            <a:spLocks noGrp="1"/>
          </p:cNvSpPr>
          <p:nvPr>
            <p:ph type="title"/>
          </p:nvPr>
        </p:nvSpPr>
        <p:spPr>
          <a:xfrm>
            <a:off x="0" y="0"/>
            <a:ext cx="8229600" cy="637794"/>
          </a:xfrm>
        </p:spPr>
        <p:txBody>
          <a:bodyPr/>
          <a:lstStyle/>
          <a:p>
            <a:r>
              <a:rPr lang="en-US" dirty="0"/>
              <a:t>Binomial Distribution – Example 1</a:t>
            </a:r>
          </a:p>
        </p:txBody>
      </p:sp>
      <p:sp>
        <p:nvSpPr>
          <p:cNvPr id="4" name="TextBox 3">
            <a:extLst>
              <a:ext uri="{FF2B5EF4-FFF2-40B4-BE49-F238E27FC236}">
                <a16:creationId xmlns:a16="http://schemas.microsoft.com/office/drawing/2014/main" id="{49BA0432-A877-4150-AD9E-67612C927543}"/>
              </a:ext>
            </a:extLst>
          </p:cNvPr>
          <p:cNvSpPr txBox="1"/>
          <p:nvPr/>
        </p:nvSpPr>
        <p:spPr>
          <a:xfrm>
            <a:off x="118662" y="788758"/>
            <a:ext cx="6938272" cy="261610"/>
          </a:xfrm>
          <a:prstGeom prst="rect">
            <a:avLst/>
          </a:prstGeom>
          <a:noFill/>
        </p:spPr>
        <p:txBody>
          <a:bodyPr wrap="square" rtlCol="0">
            <a:spAutoFit/>
          </a:bodyPr>
          <a:lstStyle/>
          <a:p>
            <a:pPr>
              <a:spcBef>
                <a:spcPts val="0"/>
              </a:spcBef>
              <a:spcAft>
                <a:spcPts val="0"/>
              </a:spcAft>
              <a:buClr>
                <a:schemeClr val="bg1"/>
              </a:buClr>
            </a:pPr>
            <a:r>
              <a:rPr lang="en-US" sz="1100" b="1" i="0" dirty="0">
                <a:solidFill>
                  <a:schemeClr val="bg2"/>
                </a:solidFill>
                <a:effectLst/>
                <a:latin typeface="pt sans" panose="020B0503020203020204" pitchFamily="34" charset="0"/>
              </a:rPr>
              <a:t>Q. A coin is tossed 10 times. What is the probability of getting exactly 6 heads</a:t>
            </a:r>
            <a:endParaRPr lang="en-US" sz="1400" dirty="0">
              <a:solidFill>
                <a:schemeClr val="bg2"/>
              </a:solidFill>
              <a:latin typeface="+mn-lt"/>
            </a:endParaRPr>
          </a:p>
        </p:txBody>
      </p:sp>
    </p:spTree>
    <p:extLst>
      <p:ext uri="{BB962C8B-B14F-4D97-AF65-F5344CB8AC3E}">
        <p14:creationId xmlns:p14="http://schemas.microsoft.com/office/powerpoint/2010/main" val="2575760333"/>
      </p:ext>
    </p:extLst>
  </p:cSld>
  <p:clrMapOvr>
    <a:masterClrMapping/>
  </p:clrMapOvr>
  <p:transition spd="med">
    <p:wipe dir="r"/>
  </p:transition>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65442-7C46-4F43-9779-DCF9A8F2FF53}"/>
              </a:ext>
            </a:extLst>
          </p:cNvPr>
          <p:cNvSpPr>
            <a:spLocks noGrp="1"/>
          </p:cNvSpPr>
          <p:nvPr>
            <p:ph type="title"/>
          </p:nvPr>
        </p:nvSpPr>
        <p:spPr>
          <a:xfrm>
            <a:off x="0" y="0"/>
            <a:ext cx="8229600" cy="637794"/>
          </a:xfrm>
        </p:spPr>
        <p:txBody>
          <a:bodyPr/>
          <a:lstStyle/>
          <a:p>
            <a:r>
              <a:rPr lang="en-US" dirty="0"/>
              <a:t>Binomial Distribution – Example 2</a:t>
            </a:r>
          </a:p>
        </p:txBody>
      </p:sp>
      <p:sp>
        <p:nvSpPr>
          <p:cNvPr id="3" name="TextBox 2">
            <a:extLst>
              <a:ext uri="{FF2B5EF4-FFF2-40B4-BE49-F238E27FC236}">
                <a16:creationId xmlns:a16="http://schemas.microsoft.com/office/drawing/2014/main" id="{A87E3641-1D5A-421C-9FE2-FA69DAABB803}"/>
              </a:ext>
            </a:extLst>
          </p:cNvPr>
          <p:cNvSpPr txBox="1"/>
          <p:nvPr/>
        </p:nvSpPr>
        <p:spPr>
          <a:xfrm>
            <a:off x="174505" y="732916"/>
            <a:ext cx="8229600" cy="430887"/>
          </a:xfrm>
          <a:prstGeom prst="rect">
            <a:avLst/>
          </a:prstGeom>
          <a:noFill/>
        </p:spPr>
        <p:txBody>
          <a:bodyPr wrap="square" rtlCol="0">
            <a:spAutoFit/>
          </a:bodyPr>
          <a:lstStyle/>
          <a:p>
            <a:pPr>
              <a:spcBef>
                <a:spcPts val="0"/>
              </a:spcBef>
              <a:spcAft>
                <a:spcPts val="0"/>
              </a:spcAft>
              <a:buClr>
                <a:schemeClr val="bg1"/>
              </a:buClr>
            </a:pPr>
            <a:r>
              <a:rPr lang="en-US" sz="1100" b="1" i="0" dirty="0">
                <a:solidFill>
                  <a:schemeClr val="bg2"/>
                </a:solidFill>
                <a:effectLst/>
                <a:latin typeface="pt sans" panose="020B0503020203020204" pitchFamily="34" charset="0"/>
              </a:rPr>
              <a:t>80% of people who purchase pet insurance are women.  If 9 pet insurance owners are randomly selected, find the probability that exactly 6 are women.</a:t>
            </a:r>
            <a:endParaRPr lang="en-US" sz="1400" dirty="0">
              <a:solidFill>
                <a:schemeClr val="bg2"/>
              </a:solidFill>
              <a:latin typeface="+mn-lt"/>
            </a:endParaRPr>
          </a:p>
        </p:txBody>
      </p:sp>
    </p:spTree>
    <p:extLst>
      <p:ext uri="{BB962C8B-B14F-4D97-AF65-F5344CB8AC3E}">
        <p14:creationId xmlns:p14="http://schemas.microsoft.com/office/powerpoint/2010/main" val="867001892"/>
      </p:ext>
    </p:extLst>
  </p:cSld>
  <p:clrMapOvr>
    <a:masterClrMapping/>
  </p:clrMapOvr>
  <p:transition spd="med">
    <p:wipe dir="r"/>
  </p:transition>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06BBB-5CB3-43D9-A212-F6CE7AB998C6}"/>
              </a:ext>
            </a:extLst>
          </p:cNvPr>
          <p:cNvSpPr>
            <a:spLocks noGrp="1"/>
          </p:cNvSpPr>
          <p:nvPr>
            <p:ph type="title"/>
          </p:nvPr>
        </p:nvSpPr>
        <p:spPr>
          <a:xfrm>
            <a:off x="0" y="0"/>
            <a:ext cx="8229600" cy="637794"/>
          </a:xfrm>
        </p:spPr>
        <p:txBody>
          <a:bodyPr/>
          <a:lstStyle/>
          <a:p>
            <a:r>
              <a:rPr lang="en-US" dirty="0"/>
              <a:t>Binomial Distribution – Example 3</a:t>
            </a:r>
          </a:p>
        </p:txBody>
      </p:sp>
      <p:sp>
        <p:nvSpPr>
          <p:cNvPr id="3" name="TextBox 2">
            <a:extLst>
              <a:ext uri="{FF2B5EF4-FFF2-40B4-BE49-F238E27FC236}">
                <a16:creationId xmlns:a16="http://schemas.microsoft.com/office/drawing/2014/main" id="{242EC41D-BE26-49CF-A7F3-007E03324477}"/>
              </a:ext>
            </a:extLst>
          </p:cNvPr>
          <p:cNvSpPr txBox="1"/>
          <p:nvPr/>
        </p:nvSpPr>
        <p:spPr>
          <a:xfrm>
            <a:off x="202424" y="753856"/>
            <a:ext cx="8480886" cy="430887"/>
          </a:xfrm>
          <a:prstGeom prst="rect">
            <a:avLst/>
          </a:prstGeom>
          <a:noFill/>
        </p:spPr>
        <p:txBody>
          <a:bodyPr wrap="square" rtlCol="0">
            <a:spAutoFit/>
          </a:bodyPr>
          <a:lstStyle/>
          <a:p>
            <a:pPr>
              <a:spcBef>
                <a:spcPts val="0"/>
              </a:spcBef>
              <a:spcAft>
                <a:spcPts val="0"/>
              </a:spcAft>
              <a:buClr>
                <a:schemeClr val="bg1"/>
              </a:buClr>
            </a:pPr>
            <a:r>
              <a:rPr lang="en-US" sz="1100" b="1" dirty="0">
                <a:solidFill>
                  <a:srgbClr val="777777"/>
                </a:solidFill>
                <a:latin typeface="pt sans" panose="020B0503020203020204" pitchFamily="34" charset="0"/>
              </a:rPr>
              <a:t>60% of people who purchase sports cars are men.  If 10 sports car owners are randomly selected, find the probability</a:t>
            </a:r>
            <a:r>
              <a:rPr lang="en-US" sz="1100" b="1" dirty="0">
                <a:solidFill>
                  <a:srgbClr val="777777"/>
                </a:solidFill>
                <a:latin typeface="pt sans" panose="020B0503020203020204" pitchFamily="34" charset="0"/>
                <a:hlinkClick r:id="rId2">
                  <a:extLst>
                    <a:ext uri="{A12FA001-AC4F-418D-AE19-62706E023703}">
                      <ahyp:hlinkClr xmlns:ahyp="http://schemas.microsoft.com/office/drawing/2018/hyperlinkcolor" val="tx"/>
                    </a:ext>
                  </a:extLst>
                </a:hlinkClick>
              </a:rPr>
              <a:t> </a:t>
            </a:r>
            <a:r>
              <a:rPr lang="en-US" sz="1100" b="1" dirty="0">
                <a:solidFill>
                  <a:srgbClr val="777777"/>
                </a:solidFill>
                <a:latin typeface="pt sans" panose="020B0503020203020204" pitchFamily="34" charset="0"/>
              </a:rPr>
              <a:t>that exactly 7 are men</a:t>
            </a:r>
          </a:p>
        </p:txBody>
      </p:sp>
    </p:spTree>
    <p:extLst>
      <p:ext uri="{BB962C8B-B14F-4D97-AF65-F5344CB8AC3E}">
        <p14:creationId xmlns:p14="http://schemas.microsoft.com/office/powerpoint/2010/main" val="522385917"/>
      </p:ext>
    </p:extLst>
  </p:cSld>
  <p:clrMapOvr>
    <a:masterClrMapping/>
  </p:clrMapOvr>
  <p:transition spd="med">
    <p:wipe dir="r"/>
  </p:transition>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48617-4EA4-4ED9-A1E7-F427CF8F3003}"/>
              </a:ext>
            </a:extLst>
          </p:cNvPr>
          <p:cNvSpPr>
            <a:spLocks noGrp="1"/>
          </p:cNvSpPr>
          <p:nvPr>
            <p:ph type="title"/>
          </p:nvPr>
        </p:nvSpPr>
        <p:spPr>
          <a:xfrm>
            <a:off x="0" y="0"/>
            <a:ext cx="8368379" cy="640080"/>
          </a:xfrm>
        </p:spPr>
        <p:txBody>
          <a:bodyPr/>
          <a:lstStyle/>
          <a:p>
            <a:r>
              <a:rPr lang="en-US" dirty="0"/>
              <a:t>Pearson correlation coefficient</a:t>
            </a:r>
          </a:p>
        </p:txBody>
      </p:sp>
      <p:sp>
        <p:nvSpPr>
          <p:cNvPr id="3" name="Content Placeholder 2">
            <a:extLst>
              <a:ext uri="{FF2B5EF4-FFF2-40B4-BE49-F238E27FC236}">
                <a16:creationId xmlns:a16="http://schemas.microsoft.com/office/drawing/2014/main" id="{D5FE213E-7748-4626-89C1-2D3F49089703}"/>
              </a:ext>
            </a:extLst>
          </p:cNvPr>
          <p:cNvSpPr>
            <a:spLocks noGrp="1"/>
          </p:cNvSpPr>
          <p:nvPr>
            <p:ph sz="half" idx="13"/>
          </p:nvPr>
        </p:nvSpPr>
        <p:spPr>
          <a:xfrm>
            <a:off x="392982" y="1280160"/>
            <a:ext cx="7208404" cy="3200400"/>
          </a:xfrm>
        </p:spPr>
        <p:txBody>
          <a:bodyPr/>
          <a:lstStyle/>
          <a:p>
            <a:endParaRPr lang="en-US"/>
          </a:p>
        </p:txBody>
      </p:sp>
      <p:sp>
        <p:nvSpPr>
          <p:cNvPr id="4" name="Rectangle 3">
            <a:extLst>
              <a:ext uri="{FF2B5EF4-FFF2-40B4-BE49-F238E27FC236}">
                <a16:creationId xmlns:a16="http://schemas.microsoft.com/office/drawing/2014/main" id="{B7C4AC54-704D-484F-BF11-3378C8CC80F2}"/>
              </a:ext>
            </a:extLst>
          </p:cNvPr>
          <p:cNvSpPr/>
          <p:nvPr/>
        </p:nvSpPr>
        <p:spPr>
          <a:xfrm>
            <a:off x="1591475" y="1835780"/>
            <a:ext cx="4683682" cy="1940483"/>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Move to Back up</a:t>
            </a:r>
          </a:p>
        </p:txBody>
      </p:sp>
    </p:spTree>
    <p:extLst>
      <p:ext uri="{BB962C8B-B14F-4D97-AF65-F5344CB8AC3E}">
        <p14:creationId xmlns:p14="http://schemas.microsoft.com/office/powerpoint/2010/main" val="3936757074"/>
      </p:ext>
    </p:extLst>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10BFA-B9A1-46D8-8A38-A0F4A1088A5A}"/>
              </a:ext>
            </a:extLst>
          </p:cNvPr>
          <p:cNvSpPr>
            <a:spLocks noGrp="1"/>
          </p:cNvSpPr>
          <p:nvPr>
            <p:ph type="title"/>
          </p:nvPr>
        </p:nvSpPr>
        <p:spPr>
          <a:xfrm>
            <a:off x="67639" y="109048"/>
            <a:ext cx="7955280" cy="640080"/>
          </a:xfrm>
        </p:spPr>
        <p:txBody>
          <a:bodyPr/>
          <a:lstStyle/>
          <a:p>
            <a:r>
              <a:rPr lang="en-US" dirty="0"/>
              <a:t>Controlled Experiment</a:t>
            </a:r>
          </a:p>
        </p:txBody>
      </p:sp>
      <p:sp>
        <p:nvSpPr>
          <p:cNvPr id="3" name="Content Placeholder 2">
            <a:extLst>
              <a:ext uri="{FF2B5EF4-FFF2-40B4-BE49-F238E27FC236}">
                <a16:creationId xmlns:a16="http://schemas.microsoft.com/office/drawing/2014/main" id="{8DB84CCF-42DD-4079-ADB2-9916B5BABF84}"/>
              </a:ext>
            </a:extLst>
          </p:cNvPr>
          <p:cNvSpPr>
            <a:spLocks noGrp="1"/>
          </p:cNvSpPr>
          <p:nvPr>
            <p:ph sz="half" idx="13"/>
          </p:nvPr>
        </p:nvSpPr>
        <p:spPr>
          <a:xfrm>
            <a:off x="67639" y="879327"/>
            <a:ext cx="8518951" cy="3200400"/>
          </a:xfrm>
        </p:spPr>
        <p:txBody>
          <a:bodyPr/>
          <a:lstStyle/>
          <a:p>
            <a:r>
              <a:rPr lang="en-US" dirty="0">
                <a:solidFill>
                  <a:schemeClr val="bg2">
                    <a:lumMod val="50000"/>
                    <a:lumOff val="50000"/>
                  </a:schemeClr>
                </a:solidFill>
              </a:rPr>
              <a:t>In a controlled experiment, we can be reasonably comfortable inferring that the treatment applied to one group but not to the other caused whatever difference we observe between the two</a:t>
            </a:r>
          </a:p>
          <a:p>
            <a:r>
              <a:rPr lang="en-US" dirty="0">
                <a:solidFill>
                  <a:schemeClr val="bg2">
                    <a:lumMod val="50000"/>
                    <a:lumOff val="50000"/>
                  </a:schemeClr>
                </a:solidFill>
              </a:rPr>
              <a:t>But other we must remember that correlation does not imply causation </a:t>
            </a:r>
          </a:p>
          <a:p>
            <a:r>
              <a:rPr lang="en-US" dirty="0">
                <a:solidFill>
                  <a:schemeClr val="bg2">
                    <a:lumMod val="50000"/>
                    <a:lumOff val="50000"/>
                  </a:schemeClr>
                </a:solidFill>
              </a:rPr>
              <a:t>Variables are correlated if they “move together”, </a:t>
            </a:r>
            <a:r>
              <a:rPr lang="en-US" dirty="0" err="1">
                <a:solidFill>
                  <a:schemeClr val="bg2">
                    <a:lumMod val="50000"/>
                    <a:lumOff val="50000"/>
                  </a:schemeClr>
                </a:solidFill>
              </a:rPr>
              <a:t>i.e</a:t>
            </a:r>
            <a:r>
              <a:rPr lang="en-US" dirty="0">
                <a:solidFill>
                  <a:schemeClr val="bg2">
                    <a:lumMod val="50000"/>
                    <a:lumOff val="50000"/>
                  </a:schemeClr>
                </a:solidFill>
              </a:rPr>
              <a:t> when one variable changes the other one trends to change as well</a:t>
            </a:r>
          </a:p>
          <a:p>
            <a:r>
              <a:rPr lang="en-US" b="1" dirty="0">
                <a:solidFill>
                  <a:schemeClr val="bg2">
                    <a:lumMod val="50000"/>
                    <a:lumOff val="50000"/>
                  </a:schemeClr>
                </a:solidFill>
              </a:rPr>
              <a:t>Ex : </a:t>
            </a:r>
          </a:p>
          <a:p>
            <a:pPr lvl="1"/>
            <a:r>
              <a:rPr lang="en-US" dirty="0">
                <a:solidFill>
                  <a:schemeClr val="bg2">
                    <a:lumMod val="50000"/>
                    <a:lumOff val="50000"/>
                  </a:schemeClr>
                </a:solidFill>
              </a:rPr>
              <a:t>Temp is related to the time of the day</a:t>
            </a:r>
          </a:p>
          <a:p>
            <a:pPr lvl="1"/>
            <a:r>
              <a:rPr lang="en-US" dirty="0">
                <a:solidFill>
                  <a:schemeClr val="bg2">
                    <a:lumMod val="50000"/>
                    <a:lumOff val="50000"/>
                  </a:schemeClr>
                </a:solidFill>
              </a:rPr>
              <a:t>Human height correlated to human weight</a:t>
            </a:r>
          </a:p>
        </p:txBody>
      </p:sp>
      <p:sp>
        <p:nvSpPr>
          <p:cNvPr id="5" name="TextBox 4">
            <a:extLst>
              <a:ext uri="{FF2B5EF4-FFF2-40B4-BE49-F238E27FC236}">
                <a16:creationId xmlns:a16="http://schemas.microsoft.com/office/drawing/2014/main" id="{5CEE9E77-FE13-4C40-8BC2-E1D5843FD82C}"/>
              </a:ext>
            </a:extLst>
          </p:cNvPr>
          <p:cNvSpPr txBox="1"/>
          <p:nvPr/>
        </p:nvSpPr>
        <p:spPr>
          <a:xfrm>
            <a:off x="67639" y="3341063"/>
            <a:ext cx="8832056"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mn-lt"/>
              </a:rPr>
              <a:t>When height increase human weight increase. When one variable change the other variable also changes. It can increase or decrease. Hence, I am using the word changes, this is called as correlation</a:t>
            </a:r>
          </a:p>
        </p:txBody>
      </p:sp>
    </p:spTree>
    <p:extLst>
      <p:ext uri="{BB962C8B-B14F-4D97-AF65-F5344CB8AC3E}">
        <p14:creationId xmlns:p14="http://schemas.microsoft.com/office/powerpoint/2010/main" val="2719943119"/>
      </p:ext>
    </p:extLst>
  </p:cSld>
  <p:clrMapOvr>
    <a:masterClrMapping/>
  </p:clrMapOvr>
  <p:transition spd="med">
    <p:wipe dir="r"/>
  </p:transition>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C5703-E83B-4113-BE59-47939C6C774A}"/>
              </a:ext>
            </a:extLst>
          </p:cNvPr>
          <p:cNvSpPr>
            <a:spLocks noGrp="1"/>
          </p:cNvSpPr>
          <p:nvPr>
            <p:ph type="title"/>
          </p:nvPr>
        </p:nvSpPr>
        <p:spPr>
          <a:xfrm>
            <a:off x="0" y="0"/>
            <a:ext cx="4295219" cy="640080"/>
          </a:xfrm>
        </p:spPr>
        <p:txBody>
          <a:bodyPr/>
          <a:lstStyle/>
          <a:p>
            <a:r>
              <a:rPr lang="en-US" dirty="0"/>
              <a:t>References </a:t>
            </a:r>
          </a:p>
        </p:txBody>
      </p:sp>
      <p:sp>
        <p:nvSpPr>
          <p:cNvPr id="3" name="Content Placeholder 2">
            <a:extLst>
              <a:ext uri="{FF2B5EF4-FFF2-40B4-BE49-F238E27FC236}">
                <a16:creationId xmlns:a16="http://schemas.microsoft.com/office/drawing/2014/main" id="{BDC2E645-FA4A-4A89-9F45-31C668EDEA03}"/>
              </a:ext>
            </a:extLst>
          </p:cNvPr>
          <p:cNvSpPr>
            <a:spLocks noGrp="1"/>
          </p:cNvSpPr>
          <p:nvPr>
            <p:ph sz="half" idx="13"/>
          </p:nvPr>
        </p:nvSpPr>
        <p:spPr>
          <a:xfrm>
            <a:off x="468736" y="451179"/>
            <a:ext cx="6232210" cy="4106860"/>
          </a:xfrm>
        </p:spPr>
        <p:txBody>
          <a:bodyPr>
            <a:normAutofit fontScale="40000" lnSpcReduction="20000"/>
          </a:bodyPr>
          <a:lstStyle/>
          <a:p>
            <a:r>
              <a:rPr lang="en-US" dirty="0"/>
              <a:t>Applied Business Statistics - Ken Black</a:t>
            </a:r>
          </a:p>
          <a:p>
            <a:r>
              <a:rPr lang="en-US" b="0" i="0" dirty="0">
                <a:solidFill>
                  <a:srgbClr val="202124"/>
                </a:solidFill>
                <a:effectLst/>
                <a:latin typeface="arial" panose="020B0604020202020204" pitchFamily="34" charset="0"/>
              </a:rPr>
              <a:t>Naked Statistics: Stripping the Dread from the Data - Charles Wheelan</a:t>
            </a:r>
          </a:p>
          <a:p>
            <a:r>
              <a:rPr lang="en-US" dirty="0"/>
              <a:t>The Art of Statistics: How to Learn from Data - David Spiegel halter</a:t>
            </a:r>
          </a:p>
          <a:p>
            <a:r>
              <a:rPr lang="en-US" u="sng" dirty="0">
                <a:hlinkClick r:id="rId2">
                  <a:extLst>
                    <a:ext uri="{A12FA001-AC4F-418D-AE19-62706E023703}">
                      <ahyp:hlinkClr xmlns:ahyp="http://schemas.microsoft.com/office/drawing/2018/hyperlinkcolor" val="tx"/>
                    </a:ext>
                  </a:extLst>
                </a:hlinkClick>
              </a:rPr>
              <a:t>https://www.statisticshowto.com/</a:t>
            </a:r>
            <a:endParaRPr lang="en-US" u="sng" dirty="0"/>
          </a:p>
          <a:p>
            <a:r>
              <a:rPr lang="en-US" u="sng" dirty="0">
                <a:hlinkClick r:id="rId3"/>
              </a:rPr>
              <a:t>https://datascience.foundation/sciencewhitepaper</a:t>
            </a:r>
            <a:endParaRPr lang="en-US" u="sng" dirty="0"/>
          </a:p>
          <a:p>
            <a:r>
              <a:rPr lang="en-US" u="sng" dirty="0"/>
              <a:t>https://www.bitpipe.com/rlist/term/type/white+paper/Data-Analytics.html</a:t>
            </a:r>
          </a:p>
          <a:p>
            <a:r>
              <a:rPr lang="en-US" u="sng" dirty="0">
                <a:hlinkClick r:id="rId4">
                  <a:extLst>
                    <a:ext uri="{A12FA001-AC4F-418D-AE19-62706E023703}">
                      <ahyp:hlinkClr xmlns:ahyp="http://schemas.microsoft.com/office/drawing/2018/hyperlinkcolor" val="tx"/>
                    </a:ext>
                  </a:extLst>
                </a:hlinkClick>
              </a:rPr>
              <a:t>https://towardsdatascience.com/</a:t>
            </a:r>
            <a:endParaRPr lang="en-US" u="sng" dirty="0"/>
          </a:p>
          <a:p>
            <a:r>
              <a:rPr lang="en-US" u="sng" dirty="0">
                <a:hlinkClick r:id="rId5">
                  <a:extLst>
                    <a:ext uri="{A12FA001-AC4F-418D-AE19-62706E023703}">
                      <ahyp:hlinkClr xmlns:ahyp="http://schemas.microsoft.com/office/drawing/2018/hyperlinkcolor" val="tx"/>
                    </a:ext>
                  </a:extLst>
                </a:hlinkClick>
              </a:rPr>
              <a:t>https://www.mathsisfun.com/</a:t>
            </a:r>
            <a:endParaRPr lang="en-US" u="sng" dirty="0"/>
          </a:p>
          <a:p>
            <a:r>
              <a:rPr lang="en-US" u="sng" dirty="0">
                <a:hlinkClick r:id="rId6">
                  <a:extLst>
                    <a:ext uri="{A12FA001-AC4F-418D-AE19-62706E023703}">
                      <ahyp:hlinkClr xmlns:ahyp="http://schemas.microsoft.com/office/drawing/2018/hyperlinkcolor" val="tx"/>
                    </a:ext>
                  </a:extLst>
                </a:hlinkClick>
              </a:rPr>
              <a:t>https://www.investopedia.com/</a:t>
            </a:r>
            <a:endParaRPr lang="en-US" u="sng" dirty="0"/>
          </a:p>
          <a:p>
            <a:r>
              <a:rPr lang="en-US" u="sng" dirty="0">
                <a:hlinkClick r:id="rId7">
                  <a:extLst>
                    <a:ext uri="{A12FA001-AC4F-418D-AE19-62706E023703}">
                      <ahyp:hlinkClr xmlns:ahyp="http://schemas.microsoft.com/office/drawing/2018/hyperlinkcolor" val="tx"/>
                    </a:ext>
                  </a:extLst>
                </a:hlinkClick>
              </a:rPr>
              <a:t>https://www.scribbr.com/</a:t>
            </a:r>
            <a:endParaRPr lang="en-US" u="sng" dirty="0"/>
          </a:p>
          <a:p>
            <a:r>
              <a:rPr lang="en-US" u="sng" dirty="0">
                <a:hlinkClick r:id="rId8">
                  <a:extLst>
                    <a:ext uri="{A12FA001-AC4F-418D-AE19-62706E023703}">
                      <ahyp:hlinkClr xmlns:ahyp="http://schemas.microsoft.com/office/drawing/2018/hyperlinkcolor" val="tx"/>
                    </a:ext>
                  </a:extLst>
                </a:hlinkClick>
              </a:rPr>
              <a:t>https://365datascience.com/</a:t>
            </a:r>
            <a:endParaRPr lang="en-US" u="sng" dirty="0"/>
          </a:p>
          <a:p>
            <a:r>
              <a:rPr lang="en-US" u="sng" dirty="0"/>
              <a:t>https://www.cuemath.com/</a:t>
            </a:r>
          </a:p>
          <a:p>
            <a:r>
              <a:rPr lang="en-US" u="sng" dirty="0">
                <a:hlinkClick r:id="rId9"/>
              </a:rPr>
              <a:t>https://www.analyticsvidhya.com/</a:t>
            </a:r>
            <a:endParaRPr lang="en-US" u="sng" dirty="0"/>
          </a:p>
          <a:p>
            <a:r>
              <a:rPr lang="en-US" u="sng" dirty="0">
                <a:hlinkClick r:id="rId10"/>
              </a:rPr>
              <a:t>https://www.bluepiit.com/whitepaper/</a:t>
            </a:r>
            <a:endParaRPr lang="en-US" u="sng" dirty="0"/>
          </a:p>
          <a:p>
            <a:r>
              <a:rPr lang="en-US" u="sng" dirty="0">
                <a:hlinkClick r:id="rId11"/>
              </a:rPr>
              <a:t>https://www.montana.edu/rotella/documents/502/BinomDist.html</a:t>
            </a:r>
            <a:endParaRPr lang="en-US" u="sng" dirty="0"/>
          </a:p>
          <a:p>
            <a:r>
              <a:rPr lang="en-US" u="sng" dirty="0">
                <a:hlinkClick r:id="rId12"/>
              </a:rPr>
              <a:t>https://support.minitab.com/</a:t>
            </a:r>
            <a:endParaRPr lang="en-US" u="sng" dirty="0"/>
          </a:p>
          <a:p>
            <a:r>
              <a:rPr lang="en-US" u="sng" dirty="0">
                <a:hlinkClick r:id="rId13"/>
              </a:rPr>
              <a:t>https://probabilityandstatistics.com/white-papers/</a:t>
            </a:r>
            <a:endParaRPr lang="en-US" u="sng" dirty="0"/>
          </a:p>
          <a:p>
            <a:r>
              <a:rPr lang="en-US" u="sng" dirty="0"/>
              <a:t>https://ieeexplore.ieee.org/document/</a:t>
            </a:r>
          </a:p>
          <a:p>
            <a:endParaRPr lang="en-US" u="sng" dirty="0"/>
          </a:p>
        </p:txBody>
      </p:sp>
    </p:spTree>
    <p:extLst>
      <p:ext uri="{BB962C8B-B14F-4D97-AF65-F5344CB8AC3E}">
        <p14:creationId xmlns:p14="http://schemas.microsoft.com/office/powerpoint/2010/main" val="693633984"/>
      </p:ext>
    </p:extLst>
  </p:cSld>
  <p:clrMapOvr>
    <a:masterClrMapping/>
  </p:clrMapOvr>
  <p:transition spd="med">
    <p:wipe dir="r"/>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9225"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CRISP Data</a:t>
            </a:r>
            <a:br>
              <a:rPr lang="en-US" sz="4800" dirty="0">
                <a:solidFill>
                  <a:schemeClr val="tx2"/>
                </a:solidFill>
              </a:rPr>
            </a:br>
            <a:r>
              <a:rPr lang="en-US" sz="4800" dirty="0">
                <a:solidFill>
                  <a:schemeClr val="tx2"/>
                </a:solidFill>
              </a:rPr>
              <a:t>Framework</a:t>
            </a:r>
            <a:r>
              <a:rPr lang="en-US" dirty="0"/>
              <a:t> </a:t>
            </a:r>
          </a:p>
        </p:txBody>
      </p:sp>
    </p:spTree>
    <p:extLst>
      <p:ext uri="{BB962C8B-B14F-4D97-AF65-F5344CB8AC3E}">
        <p14:creationId xmlns:p14="http://schemas.microsoft.com/office/powerpoint/2010/main" val="3464462230"/>
      </p:ext>
    </p:extLst>
  </p:cSld>
  <p:clrMapOvr>
    <a:masterClrMapping/>
  </p:clrMapOvr>
  <p:transition spd="med">
    <p:wipe dir="r"/>
  </p:transition>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203AF-171B-4340-B8BF-E72457F05B1B}"/>
              </a:ext>
            </a:extLst>
          </p:cNvPr>
          <p:cNvSpPr>
            <a:spLocks noGrp="1"/>
          </p:cNvSpPr>
          <p:nvPr>
            <p:ph type="title"/>
          </p:nvPr>
        </p:nvSpPr>
        <p:spPr>
          <a:xfrm>
            <a:off x="0" y="0"/>
            <a:ext cx="8229600" cy="637794"/>
          </a:xfrm>
        </p:spPr>
        <p:txBody>
          <a:bodyPr/>
          <a:lstStyle/>
          <a:p>
            <a:r>
              <a:rPr lang="en-US" dirty="0"/>
              <a:t>CRISP - DM</a:t>
            </a:r>
          </a:p>
        </p:txBody>
      </p:sp>
      <p:pic>
        <p:nvPicPr>
          <p:cNvPr id="4" name="Picture 3">
            <a:extLst>
              <a:ext uri="{FF2B5EF4-FFF2-40B4-BE49-F238E27FC236}">
                <a16:creationId xmlns:a16="http://schemas.microsoft.com/office/drawing/2014/main" id="{3B55EA9F-A510-4CC4-A9AD-93EC934E77BB}"/>
              </a:ext>
            </a:extLst>
          </p:cNvPr>
          <p:cNvPicPr>
            <a:picLocks noChangeAspect="1"/>
          </p:cNvPicPr>
          <p:nvPr/>
        </p:nvPicPr>
        <p:blipFill>
          <a:blip r:embed="rId2"/>
          <a:stretch>
            <a:fillRect/>
          </a:stretch>
        </p:blipFill>
        <p:spPr>
          <a:xfrm>
            <a:off x="2052165" y="790428"/>
            <a:ext cx="3908885" cy="3787679"/>
          </a:xfrm>
          <a:prstGeom prst="rect">
            <a:avLst/>
          </a:prstGeom>
        </p:spPr>
      </p:pic>
    </p:spTree>
    <p:extLst>
      <p:ext uri="{BB962C8B-B14F-4D97-AF65-F5344CB8AC3E}">
        <p14:creationId xmlns:p14="http://schemas.microsoft.com/office/powerpoint/2010/main" val="788649103"/>
      </p:ext>
    </p:extLst>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40426-E2C8-4003-8D16-72F1439DEA50}"/>
              </a:ext>
            </a:extLst>
          </p:cNvPr>
          <p:cNvSpPr>
            <a:spLocks noGrp="1"/>
          </p:cNvSpPr>
          <p:nvPr>
            <p:ph type="title"/>
          </p:nvPr>
        </p:nvSpPr>
        <p:spPr>
          <a:xfrm>
            <a:off x="137160" y="104362"/>
            <a:ext cx="7955280" cy="640080"/>
          </a:xfrm>
        </p:spPr>
        <p:txBody>
          <a:bodyPr/>
          <a:lstStyle/>
          <a:p>
            <a:r>
              <a:rPr lang="en-US" dirty="0"/>
              <a:t>Correlation and Causation</a:t>
            </a:r>
          </a:p>
        </p:txBody>
      </p:sp>
      <p:sp>
        <p:nvSpPr>
          <p:cNvPr id="3" name="Content Placeholder 2">
            <a:extLst>
              <a:ext uri="{FF2B5EF4-FFF2-40B4-BE49-F238E27FC236}">
                <a16:creationId xmlns:a16="http://schemas.microsoft.com/office/drawing/2014/main" id="{56A6245D-E2DD-4B22-B2B2-507AB068A965}"/>
              </a:ext>
            </a:extLst>
          </p:cNvPr>
          <p:cNvSpPr>
            <a:spLocks noGrp="1"/>
          </p:cNvSpPr>
          <p:nvPr>
            <p:ph sz="half" idx="13"/>
          </p:nvPr>
        </p:nvSpPr>
        <p:spPr>
          <a:xfrm>
            <a:off x="137160" y="811006"/>
            <a:ext cx="8234486" cy="3200400"/>
          </a:xfrm>
        </p:spPr>
        <p:txBody>
          <a:bodyPr/>
          <a:lstStyle/>
          <a:p>
            <a:r>
              <a:rPr lang="en-US" dirty="0">
                <a:solidFill>
                  <a:schemeClr val="bg2">
                    <a:lumMod val="50000"/>
                    <a:lumOff val="50000"/>
                  </a:schemeClr>
                </a:solidFill>
              </a:rPr>
              <a:t>If changing one variable caused a change in another, they will be correlated. But the converse is not necessarily true</a:t>
            </a:r>
          </a:p>
          <a:p>
            <a:r>
              <a:rPr lang="en-US" dirty="0">
                <a:solidFill>
                  <a:schemeClr val="bg2">
                    <a:lumMod val="50000"/>
                    <a:lumOff val="50000"/>
                  </a:schemeClr>
                </a:solidFill>
              </a:rPr>
              <a:t>If two variable are correlated, it is not necessarily the case that one has caused the other to change</a:t>
            </a:r>
          </a:p>
          <a:p>
            <a:r>
              <a:rPr lang="en-US" dirty="0">
                <a:solidFill>
                  <a:schemeClr val="bg2">
                    <a:lumMod val="50000"/>
                    <a:lumOff val="50000"/>
                  </a:schemeClr>
                </a:solidFill>
              </a:rPr>
              <a:t>For instance, Marriage &amp; Income</a:t>
            </a:r>
          </a:p>
          <a:p>
            <a:pPr lvl="1"/>
            <a:r>
              <a:rPr lang="en-US" dirty="0">
                <a:solidFill>
                  <a:schemeClr val="bg2">
                    <a:lumMod val="50000"/>
                    <a:lumOff val="50000"/>
                  </a:schemeClr>
                </a:solidFill>
              </a:rPr>
              <a:t>It is said that people who are married make more money, But is it not true that more money can get people married </a:t>
            </a:r>
          </a:p>
        </p:txBody>
      </p:sp>
    </p:spTree>
    <p:extLst>
      <p:ext uri="{BB962C8B-B14F-4D97-AF65-F5344CB8AC3E}">
        <p14:creationId xmlns:p14="http://schemas.microsoft.com/office/powerpoint/2010/main" val="3561234959"/>
      </p:ext>
    </p:extLst>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C837C-ACCC-4FC8-BB8D-6A764353E397}"/>
              </a:ext>
            </a:extLst>
          </p:cNvPr>
          <p:cNvSpPr>
            <a:spLocks noGrp="1"/>
          </p:cNvSpPr>
          <p:nvPr>
            <p:ph type="title"/>
          </p:nvPr>
        </p:nvSpPr>
        <p:spPr>
          <a:xfrm>
            <a:off x="0" y="0"/>
            <a:ext cx="7955280" cy="640080"/>
          </a:xfrm>
        </p:spPr>
        <p:txBody>
          <a:bodyPr/>
          <a:lstStyle/>
          <a:p>
            <a:r>
              <a:rPr lang="en-US" dirty="0"/>
              <a:t>Confounding Variable</a:t>
            </a:r>
          </a:p>
        </p:txBody>
      </p:sp>
      <p:sp>
        <p:nvSpPr>
          <p:cNvPr id="3" name="Content Placeholder 2">
            <a:extLst>
              <a:ext uri="{FF2B5EF4-FFF2-40B4-BE49-F238E27FC236}">
                <a16:creationId xmlns:a16="http://schemas.microsoft.com/office/drawing/2014/main" id="{3E01CF73-0B6D-4BB3-8A14-4D46D9C0DF3D}"/>
              </a:ext>
            </a:extLst>
          </p:cNvPr>
          <p:cNvSpPr>
            <a:spLocks noGrp="1"/>
          </p:cNvSpPr>
          <p:nvPr>
            <p:ph sz="half" idx="13"/>
          </p:nvPr>
        </p:nvSpPr>
        <p:spPr>
          <a:xfrm>
            <a:off x="137160" y="640080"/>
            <a:ext cx="8418064" cy="1600549"/>
          </a:xfrm>
        </p:spPr>
        <p:txBody>
          <a:bodyPr>
            <a:normAutofit/>
          </a:bodyPr>
          <a:lstStyle/>
          <a:p>
            <a:r>
              <a:rPr lang="en-US" sz="1200" kern="1200" dirty="0">
                <a:solidFill>
                  <a:schemeClr val="bg2">
                    <a:lumMod val="50000"/>
                    <a:lumOff val="50000"/>
                  </a:schemeClr>
                </a:solidFill>
                <a:latin typeface="+mn-lt"/>
                <a:ea typeface="+mn-ea"/>
                <a:cs typeface="+mn-cs"/>
              </a:rPr>
              <a:t>Confounding variables (a.k.a. confounders or confounding factors) are a type of extraneous variable that are related to a study’s independent and dependent variables. A variable must meet two conditions to be a confounder:</a:t>
            </a:r>
          </a:p>
          <a:p>
            <a:pPr lvl="1"/>
            <a:r>
              <a:rPr lang="en-US" kern="1200" dirty="0">
                <a:solidFill>
                  <a:schemeClr val="bg2">
                    <a:lumMod val="50000"/>
                    <a:lumOff val="50000"/>
                  </a:schemeClr>
                </a:solidFill>
                <a:latin typeface="+mn-lt"/>
                <a:ea typeface="+mn-ea"/>
                <a:cs typeface="+mn-cs"/>
              </a:rPr>
              <a:t>It must be correlated with the independent variable. This may be a causal relationship, but it does not have to be.</a:t>
            </a:r>
          </a:p>
          <a:p>
            <a:pPr lvl="1"/>
            <a:r>
              <a:rPr lang="en-US" kern="1200" dirty="0">
                <a:solidFill>
                  <a:schemeClr val="bg2">
                    <a:lumMod val="50000"/>
                    <a:lumOff val="50000"/>
                  </a:schemeClr>
                </a:solidFill>
                <a:latin typeface="+mn-lt"/>
                <a:ea typeface="+mn-ea"/>
                <a:cs typeface="+mn-cs"/>
              </a:rPr>
              <a:t>It must be causally related to the dependent variable.</a:t>
            </a:r>
          </a:p>
          <a:p>
            <a:r>
              <a:rPr lang="en-US" sz="1200" kern="1200" dirty="0">
                <a:solidFill>
                  <a:schemeClr val="bg2">
                    <a:lumMod val="50000"/>
                    <a:lumOff val="50000"/>
                  </a:schemeClr>
                </a:solidFill>
                <a:latin typeface="+mn-lt"/>
                <a:ea typeface="+mn-ea"/>
                <a:cs typeface="+mn-cs"/>
              </a:rPr>
              <a:t>A variable that hides the true effect of another variable in your experiment. This can happen when another variable is closely related to a variable you are interested in, but you haven’t controlled it in your experiment.</a:t>
            </a:r>
          </a:p>
        </p:txBody>
      </p:sp>
      <p:sp>
        <p:nvSpPr>
          <p:cNvPr id="5" name="Rectangle 4">
            <a:extLst>
              <a:ext uri="{FF2B5EF4-FFF2-40B4-BE49-F238E27FC236}">
                <a16:creationId xmlns:a16="http://schemas.microsoft.com/office/drawing/2014/main" id="{05419016-60B7-41A0-8339-FA52456F977A}"/>
              </a:ext>
            </a:extLst>
          </p:cNvPr>
          <p:cNvSpPr/>
          <p:nvPr/>
        </p:nvSpPr>
        <p:spPr>
          <a:xfrm>
            <a:off x="137160" y="2135055"/>
            <a:ext cx="8418064"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You collect data on sunburns and ice cream consumption. You find that higher ice cream consumption is associated with a higher probability of sunburn. Does that mean ice cream consumption causes sunburn?</a:t>
            </a:r>
          </a:p>
          <a:p>
            <a:pPr>
              <a:lnSpc>
                <a:spcPct val="90000"/>
              </a:lnSpc>
              <a:spcBef>
                <a:spcPts val="600"/>
              </a:spcBef>
              <a:spcAft>
                <a:spcPts val="0"/>
              </a:spcAft>
            </a:pPr>
            <a:r>
              <a:rPr lang="en-US" sz="1200" dirty="0">
                <a:latin typeface="+mn-lt"/>
              </a:rPr>
              <a:t>Here, the confounding variable is temperature: hot temperatures cause people to both eat more ice cream and spend more time outdoors under the sun, resulting in more sunburns.</a:t>
            </a:r>
          </a:p>
        </p:txBody>
      </p:sp>
      <p:sp>
        <p:nvSpPr>
          <p:cNvPr id="6" name="Rectangle 5">
            <a:extLst>
              <a:ext uri="{FF2B5EF4-FFF2-40B4-BE49-F238E27FC236}">
                <a16:creationId xmlns:a16="http://schemas.microsoft.com/office/drawing/2014/main" id="{3D92DDC2-8FCD-45ED-B27B-D1857B405C77}"/>
              </a:ext>
            </a:extLst>
          </p:cNvPr>
          <p:cNvSpPr/>
          <p:nvPr/>
        </p:nvSpPr>
        <p:spPr>
          <a:xfrm>
            <a:off x="137160" y="2135056"/>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8" name="Picture 7">
            <a:extLst>
              <a:ext uri="{FF2B5EF4-FFF2-40B4-BE49-F238E27FC236}">
                <a16:creationId xmlns:a16="http://schemas.microsoft.com/office/drawing/2014/main" id="{E6C9A3F4-824D-4ACA-A39D-E5D996A7F2E9}"/>
              </a:ext>
            </a:extLst>
          </p:cNvPr>
          <p:cNvPicPr>
            <a:picLocks noChangeAspect="1"/>
          </p:cNvPicPr>
          <p:nvPr/>
        </p:nvPicPr>
        <p:blipFill>
          <a:blip r:embed="rId2"/>
          <a:stretch>
            <a:fillRect/>
          </a:stretch>
        </p:blipFill>
        <p:spPr>
          <a:xfrm>
            <a:off x="1948225" y="2902872"/>
            <a:ext cx="4508415" cy="2235080"/>
          </a:xfrm>
          <a:prstGeom prst="rect">
            <a:avLst/>
          </a:prstGeom>
        </p:spPr>
      </p:pic>
    </p:spTree>
    <p:extLst>
      <p:ext uri="{BB962C8B-B14F-4D97-AF65-F5344CB8AC3E}">
        <p14:creationId xmlns:p14="http://schemas.microsoft.com/office/powerpoint/2010/main" val="1334523387"/>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E2CF5-7F0B-4C91-B3F0-3D73FE55E935}"/>
              </a:ext>
            </a:extLst>
          </p:cNvPr>
          <p:cNvSpPr>
            <a:spLocks noGrp="1"/>
          </p:cNvSpPr>
          <p:nvPr>
            <p:ph type="title"/>
          </p:nvPr>
        </p:nvSpPr>
        <p:spPr/>
        <p:txBody>
          <a:bodyPr/>
          <a:lstStyle/>
          <a:p>
            <a:r>
              <a:rPr lang="en-US" dirty="0"/>
              <a:t>Some examples of how statistics shape our life</a:t>
            </a:r>
          </a:p>
        </p:txBody>
      </p:sp>
      <p:sp>
        <p:nvSpPr>
          <p:cNvPr id="3" name="Content Placeholder 2">
            <a:extLst>
              <a:ext uri="{FF2B5EF4-FFF2-40B4-BE49-F238E27FC236}">
                <a16:creationId xmlns:a16="http://schemas.microsoft.com/office/drawing/2014/main" id="{0E6F2195-EBAF-4B7F-9882-86101EF6A643}"/>
              </a:ext>
            </a:extLst>
          </p:cNvPr>
          <p:cNvSpPr>
            <a:spLocks noGrp="1"/>
          </p:cNvSpPr>
          <p:nvPr>
            <p:ph sz="half" idx="1"/>
          </p:nvPr>
        </p:nvSpPr>
        <p:spPr>
          <a:xfrm>
            <a:off x="274319" y="1067217"/>
            <a:ext cx="7924386" cy="3200400"/>
          </a:xfrm>
        </p:spPr>
        <p:txBody>
          <a:bodyPr/>
          <a:lstStyle/>
          <a:p>
            <a:r>
              <a:rPr lang="en-US" dirty="0">
                <a:solidFill>
                  <a:schemeClr val="bg2">
                    <a:lumMod val="50000"/>
                    <a:lumOff val="50000"/>
                  </a:schemeClr>
                </a:solidFill>
              </a:rPr>
              <a:t>Weather Forecast</a:t>
            </a:r>
          </a:p>
          <a:p>
            <a:r>
              <a:rPr lang="en-US" dirty="0">
                <a:solidFill>
                  <a:schemeClr val="bg2">
                    <a:lumMod val="50000"/>
                    <a:lumOff val="50000"/>
                  </a:schemeClr>
                </a:solidFill>
              </a:rPr>
              <a:t>Stock Markets</a:t>
            </a:r>
          </a:p>
          <a:p>
            <a:r>
              <a:rPr lang="en-US" dirty="0">
                <a:solidFill>
                  <a:schemeClr val="bg2">
                    <a:lumMod val="50000"/>
                    <a:lumOff val="50000"/>
                  </a:schemeClr>
                </a:solidFill>
              </a:rPr>
              <a:t>Predicting emergencies</a:t>
            </a:r>
          </a:p>
          <a:p>
            <a:r>
              <a:rPr lang="en-US" dirty="0">
                <a:solidFill>
                  <a:schemeClr val="bg2">
                    <a:lumMod val="50000"/>
                    <a:lumOff val="50000"/>
                  </a:schemeClr>
                </a:solidFill>
              </a:rPr>
              <a:t>Political Campaigns</a:t>
            </a:r>
          </a:p>
          <a:p>
            <a:r>
              <a:rPr lang="en-US" dirty="0">
                <a:solidFill>
                  <a:schemeClr val="bg2">
                    <a:lumMod val="50000"/>
                    <a:lumOff val="50000"/>
                  </a:schemeClr>
                </a:solidFill>
              </a:rPr>
              <a:t>Insurance</a:t>
            </a:r>
          </a:p>
          <a:p>
            <a:r>
              <a:rPr lang="en-US" dirty="0">
                <a:solidFill>
                  <a:schemeClr val="bg2">
                    <a:lumMod val="50000"/>
                    <a:lumOff val="50000"/>
                  </a:schemeClr>
                </a:solidFill>
              </a:rPr>
              <a:t>Medical Studies</a:t>
            </a:r>
          </a:p>
          <a:p>
            <a:r>
              <a:rPr lang="en-US" dirty="0">
                <a:solidFill>
                  <a:schemeClr val="bg2">
                    <a:lumMod val="50000"/>
                    <a:lumOff val="50000"/>
                  </a:schemeClr>
                </a:solidFill>
              </a:rPr>
              <a:t>Genetics</a:t>
            </a:r>
          </a:p>
          <a:p>
            <a:endParaRPr lang="en-US" dirty="0"/>
          </a:p>
          <a:p>
            <a:endParaRPr lang="en-US" dirty="0"/>
          </a:p>
        </p:txBody>
      </p:sp>
      <p:pic>
        <p:nvPicPr>
          <p:cNvPr id="5" name="Picture 4" descr="A picture containing outdoor, wave, water, nature&#10;&#10;Description automatically generated">
            <a:extLst>
              <a:ext uri="{FF2B5EF4-FFF2-40B4-BE49-F238E27FC236}">
                <a16:creationId xmlns:a16="http://schemas.microsoft.com/office/drawing/2014/main" id="{037C017C-AD27-419E-8BA5-40FE9B8B164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783110" y="1050665"/>
            <a:ext cx="1838977" cy="1838977"/>
          </a:xfrm>
          <a:prstGeom prst="rect">
            <a:avLst/>
          </a:prstGeom>
        </p:spPr>
      </p:pic>
      <p:pic>
        <p:nvPicPr>
          <p:cNvPr id="7" name="Picture 6" descr="A picture containing text, sign&#10;&#10;Description automatically generated">
            <a:extLst>
              <a:ext uri="{FF2B5EF4-FFF2-40B4-BE49-F238E27FC236}">
                <a16:creationId xmlns:a16="http://schemas.microsoft.com/office/drawing/2014/main" id="{FC3D719A-FC4D-4456-B226-363C83621C3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6622087" y="2392516"/>
            <a:ext cx="2248422" cy="1143533"/>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742977D8-6CEA-45C9-9BFF-C1A34B9D06F2}"/>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6723414" y="1050665"/>
            <a:ext cx="2012777" cy="1341851"/>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98D16ED9-0F12-4F5A-8975-608CF107F8E1}"/>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4783110" y="3044893"/>
            <a:ext cx="1485677" cy="1684240"/>
          </a:xfrm>
          <a:prstGeom prst="rect">
            <a:avLst/>
          </a:prstGeom>
        </p:spPr>
      </p:pic>
      <p:pic>
        <p:nvPicPr>
          <p:cNvPr id="16" name="Picture 15" descr="A picture containing sky, outdoor, people, tarmac&#10;&#10;Description automatically generated">
            <a:extLst>
              <a:ext uri="{FF2B5EF4-FFF2-40B4-BE49-F238E27FC236}">
                <a16:creationId xmlns:a16="http://schemas.microsoft.com/office/drawing/2014/main" id="{C1AA6E6E-6CBC-428E-8B65-5E4D26ECFE59}"/>
              </a:ext>
            </a:extLst>
          </p:cNvPr>
          <p:cNvPicPr>
            <a:picLocks noChangeAspect="1"/>
          </p:cNvPicPr>
          <p:nvPr/>
        </p:nvPicPr>
        <p:blipFill>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6357532" y="3536049"/>
            <a:ext cx="1750231" cy="1168532"/>
          </a:xfrm>
          <a:prstGeom prst="rect">
            <a:avLst/>
          </a:prstGeom>
        </p:spPr>
      </p:pic>
    </p:spTree>
    <p:extLst>
      <p:ext uri="{BB962C8B-B14F-4D97-AF65-F5344CB8AC3E}">
        <p14:creationId xmlns:p14="http://schemas.microsoft.com/office/powerpoint/2010/main" val="2470375232"/>
      </p:ext>
    </p:extLst>
  </p:cSld>
  <p:clrMapOvr>
    <a:masterClrMapping/>
  </p:clrMapOvr>
  <p:transition spd="med">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D70DB-7CD4-42FE-987B-CA260299C227}"/>
              </a:ext>
            </a:extLst>
          </p:cNvPr>
          <p:cNvSpPr>
            <a:spLocks noGrp="1"/>
          </p:cNvSpPr>
          <p:nvPr>
            <p:ph type="title"/>
          </p:nvPr>
        </p:nvSpPr>
        <p:spPr>
          <a:xfrm>
            <a:off x="0" y="0"/>
            <a:ext cx="7955280" cy="640080"/>
          </a:xfrm>
        </p:spPr>
        <p:txBody>
          <a:bodyPr/>
          <a:lstStyle/>
          <a:p>
            <a:r>
              <a:rPr lang="en-US" dirty="0"/>
              <a:t>Confounding variable – another example</a:t>
            </a:r>
          </a:p>
        </p:txBody>
      </p:sp>
      <p:pic>
        <p:nvPicPr>
          <p:cNvPr id="6" name="Picture 5">
            <a:extLst>
              <a:ext uri="{FF2B5EF4-FFF2-40B4-BE49-F238E27FC236}">
                <a16:creationId xmlns:a16="http://schemas.microsoft.com/office/drawing/2014/main" id="{9FEF74AE-492F-4044-AB48-F898E20FD7C4}"/>
              </a:ext>
            </a:extLst>
          </p:cNvPr>
          <p:cNvPicPr>
            <a:picLocks noChangeAspect="1"/>
          </p:cNvPicPr>
          <p:nvPr/>
        </p:nvPicPr>
        <p:blipFill>
          <a:blip r:embed="rId2"/>
          <a:stretch>
            <a:fillRect/>
          </a:stretch>
        </p:blipFill>
        <p:spPr>
          <a:xfrm>
            <a:off x="1778048" y="2621078"/>
            <a:ext cx="4483149" cy="2390490"/>
          </a:xfrm>
          <a:prstGeom prst="rect">
            <a:avLst/>
          </a:prstGeom>
        </p:spPr>
      </p:pic>
      <p:pic>
        <p:nvPicPr>
          <p:cNvPr id="8" name="Picture 7">
            <a:extLst>
              <a:ext uri="{FF2B5EF4-FFF2-40B4-BE49-F238E27FC236}">
                <a16:creationId xmlns:a16="http://schemas.microsoft.com/office/drawing/2014/main" id="{9CB35E85-EAE6-4AF3-81B5-25A0F95A4565}"/>
              </a:ext>
            </a:extLst>
          </p:cNvPr>
          <p:cNvPicPr>
            <a:picLocks noChangeAspect="1"/>
          </p:cNvPicPr>
          <p:nvPr/>
        </p:nvPicPr>
        <p:blipFill>
          <a:blip r:embed="rId3"/>
          <a:stretch>
            <a:fillRect/>
          </a:stretch>
        </p:blipFill>
        <p:spPr>
          <a:xfrm>
            <a:off x="1305288" y="637701"/>
            <a:ext cx="5572125" cy="685800"/>
          </a:xfrm>
          <a:prstGeom prst="rect">
            <a:avLst/>
          </a:prstGeom>
        </p:spPr>
      </p:pic>
      <p:sp>
        <p:nvSpPr>
          <p:cNvPr id="9" name="TextBox 8">
            <a:extLst>
              <a:ext uri="{FF2B5EF4-FFF2-40B4-BE49-F238E27FC236}">
                <a16:creationId xmlns:a16="http://schemas.microsoft.com/office/drawing/2014/main" id="{F454474E-454D-495E-BF3A-33238FDCC41B}"/>
              </a:ext>
            </a:extLst>
          </p:cNvPr>
          <p:cNvSpPr txBox="1"/>
          <p:nvPr/>
        </p:nvSpPr>
        <p:spPr>
          <a:xfrm>
            <a:off x="0" y="1321122"/>
            <a:ext cx="9095139" cy="1061829"/>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If you find that people who consume more alcohol are more likely to die, it might seem intuitive to conclude that alcohol use increases the risk of death. However, the situation might be more complex. It is possible that alcohol use is not the only mortality-affecting factor that differs between the two groups.</a:t>
            </a:r>
          </a:p>
          <a:p>
            <a:pPr>
              <a:spcBef>
                <a:spcPts val="0"/>
              </a:spcBef>
              <a:spcAft>
                <a:spcPts val="0"/>
              </a:spcAft>
              <a:buClr>
                <a:schemeClr val="bg1"/>
              </a:buClr>
            </a:pPr>
            <a:endParaRPr lang="en-US" sz="1050" dirty="0">
              <a:solidFill>
                <a:schemeClr val="bg2">
                  <a:lumMod val="50000"/>
                  <a:lumOff val="50000"/>
                </a:schemeClr>
              </a:solidFill>
              <a:latin typeface="+mn-lt"/>
            </a:endParaRPr>
          </a:p>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People who consume less alcohol might be more likely to eat a healthier diet or less likely to smoke, for example. Eating a healthy diet or smoking might in turn affect mortality. These other influencing factors are called </a:t>
            </a:r>
            <a:r>
              <a:rPr lang="en-US" sz="1050" b="1" dirty="0">
                <a:solidFill>
                  <a:schemeClr val="bg2">
                    <a:lumMod val="50000"/>
                    <a:lumOff val="50000"/>
                  </a:schemeClr>
                </a:solidFill>
                <a:latin typeface="+mn-lt"/>
              </a:rPr>
              <a:t>confounding variables.</a:t>
            </a:r>
          </a:p>
        </p:txBody>
      </p:sp>
    </p:spTree>
    <p:extLst>
      <p:ext uri="{BB962C8B-B14F-4D97-AF65-F5344CB8AC3E}">
        <p14:creationId xmlns:p14="http://schemas.microsoft.com/office/powerpoint/2010/main" val="1826951538"/>
      </p:ext>
    </p:extLst>
  </p:cSld>
  <p:clrMapOvr>
    <a:masterClrMapping/>
  </p:clrMapOvr>
  <p:transition spd="med">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7D1EA-7DF3-48CC-B31A-49D4AA1AAF47}"/>
              </a:ext>
            </a:extLst>
          </p:cNvPr>
          <p:cNvSpPr>
            <a:spLocks noGrp="1"/>
          </p:cNvSpPr>
          <p:nvPr>
            <p:ph type="title"/>
          </p:nvPr>
        </p:nvSpPr>
        <p:spPr>
          <a:xfrm>
            <a:off x="0" y="22860"/>
            <a:ext cx="7955280" cy="640080"/>
          </a:xfrm>
        </p:spPr>
        <p:txBody>
          <a:bodyPr/>
          <a:lstStyle/>
          <a:p>
            <a:r>
              <a:rPr lang="en-US" dirty="0"/>
              <a:t>What is hypothesis ? </a:t>
            </a:r>
          </a:p>
        </p:txBody>
      </p:sp>
      <p:sp>
        <p:nvSpPr>
          <p:cNvPr id="3" name="Content Placeholder 2">
            <a:extLst>
              <a:ext uri="{FF2B5EF4-FFF2-40B4-BE49-F238E27FC236}">
                <a16:creationId xmlns:a16="http://schemas.microsoft.com/office/drawing/2014/main" id="{752E4901-1085-409B-A059-026B6D6F6B60}"/>
              </a:ext>
            </a:extLst>
          </p:cNvPr>
          <p:cNvSpPr>
            <a:spLocks noGrp="1"/>
          </p:cNvSpPr>
          <p:nvPr>
            <p:ph sz="half" idx="13"/>
          </p:nvPr>
        </p:nvSpPr>
        <p:spPr>
          <a:xfrm>
            <a:off x="120755" y="662939"/>
            <a:ext cx="8918543" cy="3615895"/>
          </a:xfrm>
        </p:spPr>
        <p:txBody>
          <a:bodyPr>
            <a:normAutofit fontScale="92500" lnSpcReduction="20000"/>
          </a:bodyPr>
          <a:lstStyle/>
          <a:p>
            <a:pPr marL="0" indent="0">
              <a:buNone/>
            </a:pPr>
            <a:r>
              <a:rPr lang="en-US" sz="2000" kern="1200" dirty="0">
                <a:solidFill>
                  <a:schemeClr val="bg2">
                    <a:lumMod val="50000"/>
                    <a:lumOff val="50000"/>
                  </a:schemeClr>
                </a:solidFill>
                <a:latin typeface="+mn-lt"/>
                <a:ea typeface="+mn-ea"/>
                <a:cs typeface="+mn-cs"/>
              </a:rPr>
              <a:t>A hypothesis is a </a:t>
            </a:r>
            <a:r>
              <a:rPr lang="en-US" sz="2000" b="1" kern="1200" dirty="0">
                <a:solidFill>
                  <a:schemeClr val="bg2">
                    <a:lumMod val="50000"/>
                    <a:lumOff val="50000"/>
                  </a:schemeClr>
                </a:solidFill>
                <a:latin typeface="+mn-lt"/>
                <a:ea typeface="+mn-ea"/>
                <a:cs typeface="+mn-cs"/>
              </a:rPr>
              <a:t>tentative statement </a:t>
            </a:r>
            <a:r>
              <a:rPr lang="en-US" sz="2000" kern="1200" dirty="0">
                <a:solidFill>
                  <a:schemeClr val="bg2">
                    <a:lumMod val="50000"/>
                    <a:lumOff val="50000"/>
                  </a:schemeClr>
                </a:solidFill>
                <a:latin typeface="+mn-lt"/>
                <a:ea typeface="+mn-ea"/>
                <a:cs typeface="+mn-cs"/>
              </a:rPr>
              <a:t>about the relationship between </a:t>
            </a:r>
            <a:r>
              <a:rPr lang="en-US" sz="2000" b="1" kern="1200" dirty="0">
                <a:solidFill>
                  <a:schemeClr val="bg2">
                    <a:lumMod val="50000"/>
                    <a:lumOff val="50000"/>
                  </a:schemeClr>
                </a:solidFill>
                <a:latin typeface="+mn-lt"/>
                <a:ea typeface="+mn-ea"/>
                <a:cs typeface="+mn-cs"/>
              </a:rPr>
              <a:t>two or more variables</a:t>
            </a:r>
            <a:r>
              <a:rPr lang="en-US" sz="2000" kern="1200" dirty="0">
                <a:solidFill>
                  <a:schemeClr val="bg2">
                    <a:lumMod val="50000"/>
                    <a:lumOff val="50000"/>
                  </a:schemeClr>
                </a:solidFill>
                <a:latin typeface="+mn-lt"/>
                <a:ea typeface="+mn-ea"/>
                <a:cs typeface="+mn-cs"/>
              </a:rPr>
              <a:t>. It is a specific, testable prediction about what you expect to happen in a study.</a:t>
            </a:r>
          </a:p>
          <a:p>
            <a:pPr marL="0" indent="0">
              <a:buNone/>
            </a:pPr>
            <a:endParaRPr lang="en-US" sz="2000" kern="1200" dirty="0">
              <a:solidFill>
                <a:schemeClr val="bg2">
                  <a:lumMod val="50000"/>
                  <a:lumOff val="50000"/>
                </a:schemeClr>
              </a:solidFill>
              <a:latin typeface="+mn-lt"/>
              <a:ea typeface="+mn-ea"/>
              <a:cs typeface="+mn-cs"/>
            </a:endParaRPr>
          </a:p>
          <a:p>
            <a:pPr marL="0" indent="0" algn="l" fontAlgn="base">
              <a:buNone/>
            </a:pPr>
            <a:r>
              <a:rPr lang="en-US" sz="2000" b="1" kern="1200" dirty="0">
                <a:solidFill>
                  <a:schemeClr val="accent1"/>
                </a:solidFill>
                <a:latin typeface="+mn-lt"/>
                <a:ea typeface="+mn-ea"/>
                <a:cs typeface="+mn-cs"/>
              </a:rPr>
              <a:t>A few examples:</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at breakfast will perform better on a math exam than students who do not eat breakfast."</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xperience test anxiety prior to an English exam will get higher scores than students who do not experience test anxiety."​</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Motorists who talk on the phone while driving will be more likely to make errors on a driving course than those who do not talk on the phone."</a:t>
            </a:r>
          </a:p>
          <a:p>
            <a:endParaRPr lang="en-US" dirty="0"/>
          </a:p>
        </p:txBody>
      </p:sp>
    </p:spTree>
    <p:extLst>
      <p:ext uri="{BB962C8B-B14F-4D97-AF65-F5344CB8AC3E}">
        <p14:creationId xmlns:p14="http://schemas.microsoft.com/office/powerpoint/2010/main" val="864598898"/>
      </p:ext>
    </p:extLst>
  </p:cSld>
  <p:clrMapOvr>
    <a:masterClrMapping/>
  </p:clrMapOvr>
  <p:transition spd="med">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1A2DF-C782-43C3-85DD-ED0625E18554}"/>
              </a:ext>
            </a:extLst>
          </p:cNvPr>
          <p:cNvSpPr>
            <a:spLocks noGrp="1"/>
          </p:cNvSpPr>
          <p:nvPr>
            <p:ph type="title"/>
          </p:nvPr>
        </p:nvSpPr>
        <p:spPr>
          <a:xfrm>
            <a:off x="104702" y="179389"/>
            <a:ext cx="7955280" cy="640080"/>
          </a:xfrm>
        </p:spPr>
        <p:txBody>
          <a:bodyPr/>
          <a:lstStyle/>
          <a:p>
            <a:r>
              <a:rPr lang="en-US" dirty="0"/>
              <a:t>Blinding</a:t>
            </a:r>
          </a:p>
        </p:txBody>
      </p:sp>
      <p:sp>
        <p:nvSpPr>
          <p:cNvPr id="3" name="Content Placeholder 2">
            <a:extLst>
              <a:ext uri="{FF2B5EF4-FFF2-40B4-BE49-F238E27FC236}">
                <a16:creationId xmlns:a16="http://schemas.microsoft.com/office/drawing/2014/main" id="{CA9BD4F2-0478-4661-9007-E1477BAC0E01}"/>
              </a:ext>
            </a:extLst>
          </p:cNvPr>
          <p:cNvSpPr>
            <a:spLocks noGrp="1"/>
          </p:cNvSpPr>
          <p:nvPr>
            <p:ph sz="half" idx="13"/>
          </p:nvPr>
        </p:nvSpPr>
        <p:spPr>
          <a:xfrm>
            <a:off x="146583" y="819469"/>
            <a:ext cx="8606528" cy="3200400"/>
          </a:xfrm>
        </p:spPr>
        <p:txBody>
          <a:bodyPr/>
          <a:lstStyle/>
          <a:p>
            <a:pPr marL="0" indent="0">
              <a:buNone/>
            </a:pPr>
            <a:r>
              <a:rPr lang="en-US" sz="1900" kern="1200" dirty="0">
                <a:solidFill>
                  <a:schemeClr val="bg2">
                    <a:lumMod val="50000"/>
                    <a:lumOff val="50000"/>
                  </a:schemeClr>
                </a:solidFill>
                <a:latin typeface="+mn-lt"/>
                <a:ea typeface="+mn-ea"/>
                <a:cs typeface="+mn-cs"/>
              </a:rPr>
              <a:t>In medical trials, the term blinding, or double-blind, usually refers to the practice of keeping patients in the dark as to whether they are receiving a placebo or not. It can also refer to allocation concealment, which is used to avoid selection bias.</a:t>
            </a:r>
          </a:p>
          <a:p>
            <a:endParaRPr lang="en-US" dirty="0"/>
          </a:p>
        </p:txBody>
      </p:sp>
      <p:sp>
        <p:nvSpPr>
          <p:cNvPr id="7" name="TextBox 6">
            <a:extLst>
              <a:ext uri="{FF2B5EF4-FFF2-40B4-BE49-F238E27FC236}">
                <a16:creationId xmlns:a16="http://schemas.microsoft.com/office/drawing/2014/main" id="{57A9F8A8-4B62-43A5-827C-02314C36DAE8}"/>
              </a:ext>
            </a:extLst>
          </p:cNvPr>
          <p:cNvSpPr txBox="1"/>
          <p:nvPr/>
        </p:nvSpPr>
        <p:spPr>
          <a:xfrm>
            <a:off x="104702" y="2052165"/>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pic>
        <p:nvPicPr>
          <p:cNvPr id="12" name="Picture 11">
            <a:extLst>
              <a:ext uri="{FF2B5EF4-FFF2-40B4-BE49-F238E27FC236}">
                <a16:creationId xmlns:a16="http://schemas.microsoft.com/office/drawing/2014/main" id="{FA7E0177-D7DE-4E84-A38C-4853407DF3DE}"/>
              </a:ext>
            </a:extLst>
          </p:cNvPr>
          <p:cNvPicPr>
            <a:picLocks noChangeAspect="1"/>
          </p:cNvPicPr>
          <p:nvPr/>
        </p:nvPicPr>
        <p:blipFill>
          <a:blip r:embed="rId2"/>
          <a:stretch>
            <a:fillRect/>
          </a:stretch>
        </p:blipFill>
        <p:spPr>
          <a:xfrm>
            <a:off x="7203518" y="1848169"/>
            <a:ext cx="1828800" cy="2171700"/>
          </a:xfrm>
          <a:prstGeom prst="rect">
            <a:avLst/>
          </a:prstGeom>
        </p:spPr>
      </p:pic>
    </p:spTree>
    <p:extLst>
      <p:ext uri="{BB962C8B-B14F-4D97-AF65-F5344CB8AC3E}">
        <p14:creationId xmlns:p14="http://schemas.microsoft.com/office/powerpoint/2010/main" val="339969583"/>
      </p:ext>
    </p:extLst>
  </p:cSld>
  <p:clrMapOvr>
    <a:masterClrMapping/>
  </p:clrMapOvr>
  <p:transition spd="med">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B2BFF-8604-46B0-8FE4-7231BB82B7EE}"/>
              </a:ext>
            </a:extLst>
          </p:cNvPr>
          <p:cNvSpPr>
            <a:spLocks noGrp="1"/>
          </p:cNvSpPr>
          <p:nvPr>
            <p:ph type="title"/>
          </p:nvPr>
        </p:nvSpPr>
        <p:spPr>
          <a:xfrm>
            <a:off x="137160" y="174163"/>
            <a:ext cx="7955280" cy="640080"/>
          </a:xfrm>
        </p:spPr>
        <p:txBody>
          <a:bodyPr/>
          <a:lstStyle/>
          <a:p>
            <a:r>
              <a:rPr lang="en-US" dirty="0"/>
              <a:t>Double Blinding</a:t>
            </a:r>
          </a:p>
        </p:txBody>
      </p:sp>
      <p:sp>
        <p:nvSpPr>
          <p:cNvPr id="3" name="Content Placeholder 2">
            <a:extLst>
              <a:ext uri="{FF2B5EF4-FFF2-40B4-BE49-F238E27FC236}">
                <a16:creationId xmlns:a16="http://schemas.microsoft.com/office/drawing/2014/main" id="{7D960FF3-9A2A-4E15-829A-89A59910B291}"/>
              </a:ext>
            </a:extLst>
          </p:cNvPr>
          <p:cNvSpPr>
            <a:spLocks noGrp="1"/>
          </p:cNvSpPr>
          <p:nvPr>
            <p:ph sz="half" idx="13"/>
          </p:nvPr>
        </p:nvSpPr>
        <p:spPr>
          <a:xfrm>
            <a:off x="204694" y="767197"/>
            <a:ext cx="8681040" cy="3200400"/>
          </a:xfrm>
        </p:spPr>
        <p:txBody>
          <a:bodyPr/>
          <a:lstStyle/>
          <a:p>
            <a:r>
              <a:rPr lang="en-US" sz="1900" kern="1200" dirty="0">
                <a:solidFill>
                  <a:schemeClr val="bg2">
                    <a:lumMod val="50000"/>
                    <a:lumOff val="50000"/>
                  </a:schemeClr>
                </a:solidFill>
                <a:latin typeface="+mn-lt"/>
                <a:ea typeface="+mn-ea"/>
                <a:cs typeface="+mn-cs"/>
              </a:rPr>
              <a:t>A double-blind study is one in which neither the participants nor the experimenters know who is receiving a particular treatment. </a:t>
            </a:r>
          </a:p>
        </p:txBody>
      </p:sp>
      <p:sp>
        <p:nvSpPr>
          <p:cNvPr id="5" name="Rectangle 4">
            <a:extLst>
              <a:ext uri="{FF2B5EF4-FFF2-40B4-BE49-F238E27FC236}">
                <a16:creationId xmlns:a16="http://schemas.microsoft.com/office/drawing/2014/main" id="{467F6821-631D-4CAA-A896-3A96D96D480A}"/>
              </a:ext>
            </a:extLst>
          </p:cNvPr>
          <p:cNvSpPr/>
          <p:nvPr/>
        </p:nvSpPr>
        <p:spPr>
          <a:xfrm>
            <a:off x="137160" y="3561440"/>
            <a:ext cx="8606527"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Blinding and double blinding are methods that are used to try and eliminate bias that occurs when researchers and the subject are aware of which group is in which study </a:t>
            </a:r>
          </a:p>
        </p:txBody>
      </p:sp>
      <p:sp>
        <p:nvSpPr>
          <p:cNvPr id="6" name="Rectangle 5">
            <a:extLst>
              <a:ext uri="{FF2B5EF4-FFF2-40B4-BE49-F238E27FC236}">
                <a16:creationId xmlns:a16="http://schemas.microsoft.com/office/drawing/2014/main" id="{CB4C82C2-5050-4599-A646-370098578078}"/>
              </a:ext>
            </a:extLst>
          </p:cNvPr>
          <p:cNvSpPr/>
          <p:nvPr/>
        </p:nvSpPr>
        <p:spPr>
          <a:xfrm>
            <a:off x="137161" y="3561441"/>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7" name="TextBox 6">
            <a:extLst>
              <a:ext uri="{FF2B5EF4-FFF2-40B4-BE49-F238E27FC236}">
                <a16:creationId xmlns:a16="http://schemas.microsoft.com/office/drawing/2014/main" id="{951382A6-2BCC-493A-B623-979398C5254C}"/>
              </a:ext>
            </a:extLst>
          </p:cNvPr>
          <p:cNvSpPr txBox="1"/>
          <p:nvPr/>
        </p:nvSpPr>
        <p:spPr>
          <a:xfrm>
            <a:off x="137160" y="1702653"/>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pic>
        <p:nvPicPr>
          <p:cNvPr id="8" name="Picture 7" descr="Icon&#10;&#10;Description automatically generated">
            <a:extLst>
              <a:ext uri="{FF2B5EF4-FFF2-40B4-BE49-F238E27FC236}">
                <a16:creationId xmlns:a16="http://schemas.microsoft.com/office/drawing/2014/main" id="{60E230BE-A23E-4204-8EAF-66940F443B7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327980" y="1606424"/>
            <a:ext cx="2678860" cy="1607316"/>
          </a:xfrm>
          <a:prstGeom prst="rect">
            <a:avLst/>
          </a:prstGeom>
        </p:spPr>
      </p:pic>
    </p:spTree>
    <p:extLst>
      <p:ext uri="{BB962C8B-B14F-4D97-AF65-F5344CB8AC3E}">
        <p14:creationId xmlns:p14="http://schemas.microsoft.com/office/powerpoint/2010/main" val="643188253"/>
      </p:ext>
    </p:extLst>
  </p:cSld>
  <p:clrMapOvr>
    <a:masterClrMapping/>
  </p:clrMapOvr>
  <p:transition spd="med">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A2F82-C58B-485C-BE38-1016ABFCB027}"/>
              </a:ext>
            </a:extLst>
          </p:cNvPr>
          <p:cNvSpPr>
            <a:spLocks noGrp="1"/>
          </p:cNvSpPr>
          <p:nvPr>
            <p:ph type="title"/>
          </p:nvPr>
        </p:nvSpPr>
        <p:spPr>
          <a:xfrm>
            <a:off x="50954" y="118322"/>
            <a:ext cx="7955280" cy="640080"/>
          </a:xfrm>
        </p:spPr>
        <p:txBody>
          <a:bodyPr/>
          <a:lstStyle/>
          <a:p>
            <a:r>
              <a:rPr lang="en-US" dirty="0"/>
              <a:t>Why blinding is important in Statistics?</a:t>
            </a:r>
          </a:p>
        </p:txBody>
      </p:sp>
      <p:sp>
        <p:nvSpPr>
          <p:cNvPr id="3" name="Content Placeholder 2">
            <a:extLst>
              <a:ext uri="{FF2B5EF4-FFF2-40B4-BE49-F238E27FC236}">
                <a16:creationId xmlns:a16="http://schemas.microsoft.com/office/drawing/2014/main" id="{2FB9D893-65BA-48E9-9032-45983A01F364}"/>
              </a:ext>
            </a:extLst>
          </p:cNvPr>
          <p:cNvSpPr>
            <a:spLocks noGrp="1"/>
          </p:cNvSpPr>
          <p:nvPr>
            <p:ph sz="half" idx="13"/>
          </p:nvPr>
        </p:nvSpPr>
        <p:spPr>
          <a:xfrm>
            <a:off x="169617" y="971550"/>
            <a:ext cx="7836617" cy="3200400"/>
          </a:xfrm>
        </p:spPr>
        <p:txBody>
          <a:bodyPr/>
          <a:lstStyle/>
          <a:p>
            <a:r>
              <a:rPr lang="en-US" sz="1900" kern="1200" dirty="0">
                <a:solidFill>
                  <a:schemeClr val="bg2">
                    <a:lumMod val="50000"/>
                    <a:lumOff val="50000"/>
                  </a:schemeClr>
                </a:solidFill>
                <a:latin typeface="+mn-lt"/>
                <a:ea typeface="+mn-ea"/>
                <a:cs typeface="+mn-cs"/>
              </a:rPr>
              <a:t>Blinding is especially important in subjective trials to avoid skewed results</a:t>
            </a:r>
            <a:r>
              <a:rPr lang="en-US" sz="1800" kern="12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t>
            </a:r>
            <a:r>
              <a:rPr lang="en-US" sz="1800" dirty="0">
                <a:effectLst/>
                <a:latin typeface="Calibri" panose="020F0502020204030204" pitchFamily="34" charset="0"/>
                <a:ea typeface="DengXian" panose="02010600030101010101" pitchFamily="2" charset="-122"/>
                <a:cs typeface="Times New Roman" panose="02020603050405020304" pitchFamily="18" charset="0"/>
              </a:rPr>
              <a:t> </a:t>
            </a:r>
            <a:endParaRPr lang="en-US" dirty="0"/>
          </a:p>
        </p:txBody>
      </p:sp>
      <p:sp>
        <p:nvSpPr>
          <p:cNvPr id="5" name="TextBox 4">
            <a:extLst>
              <a:ext uri="{FF2B5EF4-FFF2-40B4-BE49-F238E27FC236}">
                <a16:creationId xmlns:a16="http://schemas.microsoft.com/office/drawing/2014/main" id="{5918F907-DDBC-4B77-AF68-08312351098E}"/>
              </a:ext>
            </a:extLst>
          </p:cNvPr>
          <p:cNvSpPr txBox="1"/>
          <p:nvPr/>
        </p:nvSpPr>
        <p:spPr>
          <a:xfrm>
            <a:off x="169617" y="1793395"/>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spTree>
    <p:extLst>
      <p:ext uri="{BB962C8B-B14F-4D97-AF65-F5344CB8AC3E}">
        <p14:creationId xmlns:p14="http://schemas.microsoft.com/office/powerpoint/2010/main" val="2582633460"/>
      </p:ext>
    </p:extLst>
  </p:cSld>
  <p:clrMapOvr>
    <a:masterClrMapping/>
  </p:clrMapOvr>
  <p:transition spd="med">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2204"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3035543"/>
          </a:xfrm>
        </p:spPr>
        <p:txBody>
          <a:bodyPr/>
          <a:lstStyle/>
          <a:p>
            <a:r>
              <a:rPr lang="en-US" sz="4800" dirty="0">
                <a:solidFill>
                  <a:schemeClr val="tx2"/>
                </a:solidFill>
              </a:rPr>
              <a:t>Describing Data through Statistics</a:t>
            </a:r>
            <a:br>
              <a:rPr lang="en-US" dirty="0"/>
            </a:br>
            <a:br>
              <a:rPr lang="en-US" dirty="0"/>
            </a:br>
            <a:r>
              <a:rPr lang="en-US" dirty="0"/>
              <a:t> </a:t>
            </a:r>
          </a:p>
        </p:txBody>
      </p:sp>
    </p:spTree>
    <p:extLst>
      <p:ext uri="{BB962C8B-B14F-4D97-AF65-F5344CB8AC3E}">
        <p14:creationId xmlns:p14="http://schemas.microsoft.com/office/powerpoint/2010/main" val="850901763"/>
      </p:ext>
    </p:extLst>
  </p:cSld>
  <p:clrMapOvr>
    <a:masterClrMapping/>
  </p:clrMapOvr>
  <p:transition spd="med">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3211"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Central Tendency</a:t>
            </a:r>
            <a:br>
              <a:rPr lang="en-US" dirty="0"/>
            </a:br>
            <a:br>
              <a:rPr lang="en-US" dirty="0"/>
            </a:br>
            <a:r>
              <a:rPr lang="en-US" dirty="0"/>
              <a:t> </a:t>
            </a:r>
          </a:p>
        </p:txBody>
      </p:sp>
    </p:spTree>
    <p:extLst>
      <p:ext uri="{BB962C8B-B14F-4D97-AF65-F5344CB8AC3E}">
        <p14:creationId xmlns:p14="http://schemas.microsoft.com/office/powerpoint/2010/main" val="665294110"/>
      </p:ext>
    </p:extLst>
  </p:cSld>
  <p:clrMapOvr>
    <a:masterClrMapping/>
  </p:clrMapOvr>
  <p:transition spd="med">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B17AC-8C6F-4E8F-927B-93ABAEA6606B}"/>
              </a:ext>
            </a:extLst>
          </p:cNvPr>
          <p:cNvSpPr>
            <a:spLocks noGrp="1"/>
          </p:cNvSpPr>
          <p:nvPr>
            <p:ph type="title"/>
          </p:nvPr>
        </p:nvSpPr>
        <p:spPr>
          <a:xfrm>
            <a:off x="261756" y="147311"/>
            <a:ext cx="8229600" cy="637794"/>
          </a:xfrm>
        </p:spPr>
        <p:txBody>
          <a:bodyPr/>
          <a:lstStyle/>
          <a:p>
            <a:r>
              <a:rPr lang="en-US" dirty="0"/>
              <a:t>Finding Central Value</a:t>
            </a:r>
          </a:p>
        </p:txBody>
      </p:sp>
      <p:sp>
        <p:nvSpPr>
          <p:cNvPr id="3" name="TextBox 2">
            <a:extLst>
              <a:ext uri="{FF2B5EF4-FFF2-40B4-BE49-F238E27FC236}">
                <a16:creationId xmlns:a16="http://schemas.microsoft.com/office/drawing/2014/main" id="{338B153F-82EC-4EC3-A01C-319C19798D05}"/>
              </a:ext>
            </a:extLst>
          </p:cNvPr>
          <p:cNvSpPr txBox="1"/>
          <p:nvPr/>
        </p:nvSpPr>
        <p:spPr>
          <a:xfrm>
            <a:off x="349008" y="1088904"/>
            <a:ext cx="6421740"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For Two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and 7 </a:t>
            </a:r>
          </a:p>
          <a:p>
            <a:pPr>
              <a:spcBef>
                <a:spcPts val="0"/>
              </a:spcBef>
              <a:spcAft>
                <a:spcPts val="0"/>
              </a:spcAft>
              <a:buClr>
                <a:schemeClr val="bg1"/>
              </a:buClr>
            </a:pPr>
            <a:r>
              <a:rPr lang="en-US" sz="1400" dirty="0">
                <a:solidFill>
                  <a:schemeClr val="bg2">
                    <a:lumMod val="50000"/>
                    <a:lumOff val="50000"/>
                  </a:schemeClr>
                </a:solidFill>
                <a:latin typeface="+mn-lt"/>
              </a:rPr>
              <a:t>	</a:t>
            </a: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 </a:t>
            </a:r>
            <a:r>
              <a:rPr lang="en-US" sz="1400" dirty="0">
                <a:solidFill>
                  <a:schemeClr val="bg2">
                    <a:lumMod val="50000"/>
                    <a:lumOff val="50000"/>
                  </a:schemeClr>
                </a:solidFill>
                <a:latin typeface="+mn-lt"/>
              </a:rPr>
              <a:t>+ 7) / 2 = </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b="1" dirty="0">
                <a:solidFill>
                  <a:schemeClr val="bg2">
                    <a:lumMod val="50000"/>
                    <a:lumOff val="50000"/>
                  </a:schemeClr>
                </a:solidFill>
                <a:latin typeface="+mn-lt"/>
              </a:rPr>
              <a:t>For three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7, 8</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7+8</a:t>
            </a:r>
            <a:r>
              <a:rPr lang="en-US" sz="1400" dirty="0">
                <a:solidFill>
                  <a:schemeClr val="bg2">
                    <a:lumMod val="50000"/>
                    <a:lumOff val="50000"/>
                  </a:schemeClr>
                </a:solidFill>
                <a:latin typeface="+mn-lt"/>
              </a:rPr>
              <a:t>) / 2 = </a:t>
            </a:r>
          </a:p>
        </p:txBody>
      </p:sp>
    </p:spTree>
    <p:extLst>
      <p:ext uri="{BB962C8B-B14F-4D97-AF65-F5344CB8AC3E}">
        <p14:creationId xmlns:p14="http://schemas.microsoft.com/office/powerpoint/2010/main" val="3501129861"/>
      </p:ext>
    </p:extLst>
  </p:cSld>
  <p:clrMapOvr>
    <a:masterClrMapping/>
  </p:clrMapOvr>
  <p:transition spd="med">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3019A-8969-4E41-917D-0CD27630D77D}"/>
              </a:ext>
            </a:extLst>
          </p:cNvPr>
          <p:cNvSpPr>
            <a:spLocks noGrp="1"/>
          </p:cNvSpPr>
          <p:nvPr>
            <p:ph type="title"/>
          </p:nvPr>
        </p:nvSpPr>
        <p:spPr>
          <a:xfrm>
            <a:off x="0" y="0"/>
            <a:ext cx="8229600" cy="637794"/>
          </a:xfrm>
        </p:spPr>
        <p:txBody>
          <a:bodyPr/>
          <a:lstStyle/>
          <a:p>
            <a:r>
              <a:rPr lang="en-US" dirty="0"/>
              <a:t>Measure of Central Tendency</a:t>
            </a:r>
          </a:p>
        </p:txBody>
      </p:sp>
      <p:sp>
        <p:nvSpPr>
          <p:cNvPr id="4" name="Content Placeholder 2">
            <a:extLst>
              <a:ext uri="{FF2B5EF4-FFF2-40B4-BE49-F238E27FC236}">
                <a16:creationId xmlns:a16="http://schemas.microsoft.com/office/drawing/2014/main" id="{39E72A63-31AC-4F6E-9D77-DF5F16FB8C2D}"/>
              </a:ext>
            </a:extLst>
          </p:cNvPr>
          <p:cNvSpPr txBox="1">
            <a:spLocks/>
          </p:cNvSpPr>
          <p:nvPr/>
        </p:nvSpPr>
        <p:spPr>
          <a:xfrm>
            <a:off x="196491" y="637794"/>
            <a:ext cx="7836617" cy="3200400"/>
          </a:xfrm>
          <a:prstGeom prst="rect">
            <a:avLst/>
          </a:prstGeom>
        </p:spPr>
        <p:txBody>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r>
              <a:rPr lang="en-US" sz="1900" b="1" kern="1200" dirty="0">
                <a:solidFill>
                  <a:schemeClr val="bg2">
                    <a:lumMod val="50000"/>
                    <a:lumOff val="50000"/>
                  </a:schemeClr>
                </a:solidFill>
                <a:latin typeface="+mn-lt"/>
                <a:ea typeface="+mn-ea"/>
              </a:rPr>
              <a:t>Measure of central tendency </a:t>
            </a:r>
            <a:r>
              <a:rPr lang="en-US" sz="1900" i="1" kern="1200" dirty="0">
                <a:solidFill>
                  <a:schemeClr val="bg2">
                    <a:lumMod val="50000"/>
                    <a:lumOff val="50000"/>
                  </a:schemeClr>
                </a:solidFill>
                <a:latin typeface="+mn-lt"/>
                <a:ea typeface="+mn-ea"/>
              </a:rPr>
              <a:t>yield information about the center, or middle part,</a:t>
            </a:r>
            <a:r>
              <a:rPr lang="en-US" sz="1900" kern="1200" dirty="0">
                <a:solidFill>
                  <a:schemeClr val="bg2">
                    <a:lumMod val="50000"/>
                    <a:lumOff val="50000"/>
                  </a:schemeClr>
                </a:solidFill>
                <a:latin typeface="+mn-lt"/>
                <a:ea typeface="+mn-ea"/>
              </a:rPr>
              <a:t> </a:t>
            </a:r>
            <a:r>
              <a:rPr lang="en-US" sz="1900" i="1" kern="1200" dirty="0">
                <a:solidFill>
                  <a:schemeClr val="bg2">
                    <a:lumMod val="50000"/>
                    <a:lumOff val="50000"/>
                  </a:schemeClr>
                </a:solidFill>
                <a:latin typeface="+mn-lt"/>
                <a:ea typeface="+mn-ea"/>
              </a:rPr>
              <a:t>of a group of numbers</a:t>
            </a:r>
            <a:endParaRPr lang="en-US" i="1" kern="0" dirty="0"/>
          </a:p>
        </p:txBody>
      </p:sp>
      <p:sp>
        <p:nvSpPr>
          <p:cNvPr id="5" name="Rectangle 4">
            <a:extLst>
              <a:ext uri="{FF2B5EF4-FFF2-40B4-BE49-F238E27FC236}">
                <a16:creationId xmlns:a16="http://schemas.microsoft.com/office/drawing/2014/main" id="{A43048EA-074A-4CE3-A9B1-938902706637}"/>
              </a:ext>
            </a:extLst>
          </p:cNvPr>
          <p:cNvSpPr/>
          <p:nvPr/>
        </p:nvSpPr>
        <p:spPr>
          <a:xfrm>
            <a:off x="320041"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6" name="TextBox 5">
            <a:extLst>
              <a:ext uri="{FF2B5EF4-FFF2-40B4-BE49-F238E27FC236}">
                <a16:creationId xmlns:a16="http://schemas.microsoft.com/office/drawing/2014/main" id="{700023B3-6EF9-4F3A-8FD6-79F54B337413}"/>
              </a:ext>
            </a:extLst>
          </p:cNvPr>
          <p:cNvSpPr txBox="1"/>
          <p:nvPr/>
        </p:nvSpPr>
        <p:spPr>
          <a:xfrm>
            <a:off x="390889" y="1745038"/>
            <a:ext cx="1961422" cy="1631216"/>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AN :</a:t>
            </a:r>
          </a:p>
          <a:p>
            <a:pPr>
              <a:spcBef>
                <a:spcPts val="0"/>
              </a:spcBef>
              <a:spcAft>
                <a:spcPts val="0"/>
              </a:spcAft>
              <a:buClr>
                <a:schemeClr val="bg1"/>
              </a:buClr>
            </a:pPr>
            <a:endParaRPr lang="en-US" sz="14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a:t>
            </a:r>
            <a:r>
              <a:rPr lang="en-US" sz="1800" b="0" i="0" dirty="0">
                <a:solidFill>
                  <a:schemeClr val="bg2">
                    <a:lumMod val="50000"/>
                    <a:lumOff val="50000"/>
                  </a:schemeClr>
                </a:solidFill>
                <a:effectLst/>
                <a:latin typeface="Inter"/>
              </a:rPr>
              <a:t>he sum of all values divided by the total number of values</a:t>
            </a:r>
            <a:endParaRPr lang="en-US" b="1" dirty="0">
              <a:solidFill>
                <a:schemeClr val="bg2">
                  <a:lumMod val="50000"/>
                  <a:lumOff val="50000"/>
                </a:schemeClr>
              </a:solidFill>
              <a:latin typeface="+mn-lt"/>
            </a:endParaRPr>
          </a:p>
        </p:txBody>
      </p:sp>
      <p:sp>
        <p:nvSpPr>
          <p:cNvPr id="7" name="Rectangle 6">
            <a:extLst>
              <a:ext uri="{FF2B5EF4-FFF2-40B4-BE49-F238E27FC236}">
                <a16:creationId xmlns:a16="http://schemas.microsoft.com/office/drawing/2014/main" id="{1A7A125E-8E88-4D2C-B02B-C3AD10A4C40F}"/>
              </a:ext>
            </a:extLst>
          </p:cNvPr>
          <p:cNvSpPr/>
          <p:nvPr/>
        </p:nvSpPr>
        <p:spPr>
          <a:xfrm>
            <a:off x="3306964"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8" name="TextBox 7">
            <a:extLst>
              <a:ext uri="{FF2B5EF4-FFF2-40B4-BE49-F238E27FC236}">
                <a16:creationId xmlns:a16="http://schemas.microsoft.com/office/drawing/2014/main" id="{89DAB812-C601-44F9-A00D-018D6B1E0839}"/>
              </a:ext>
            </a:extLst>
          </p:cNvPr>
          <p:cNvSpPr txBox="1"/>
          <p:nvPr/>
        </p:nvSpPr>
        <p:spPr>
          <a:xfrm>
            <a:off x="3377812" y="1745038"/>
            <a:ext cx="1961422" cy="130805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DIAN :</a:t>
            </a:r>
            <a:endParaRPr lang="en-US" sz="1100" b="1" dirty="0">
              <a:solidFill>
                <a:schemeClr val="accent1"/>
              </a:solidFill>
              <a:latin typeface="+mn-lt"/>
            </a:endParaRPr>
          </a:p>
          <a:p>
            <a:pPr>
              <a:spcBef>
                <a:spcPts val="0"/>
              </a:spcBef>
              <a:spcAft>
                <a:spcPts val="0"/>
              </a:spcAft>
              <a:buClr>
                <a:schemeClr val="bg1"/>
              </a:buClr>
            </a:pPr>
            <a:endParaRPr lang="en-US" sz="11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he middle number in an ordered data set</a:t>
            </a:r>
          </a:p>
        </p:txBody>
      </p:sp>
      <p:sp>
        <p:nvSpPr>
          <p:cNvPr id="9" name="Rectangle 8">
            <a:extLst>
              <a:ext uri="{FF2B5EF4-FFF2-40B4-BE49-F238E27FC236}">
                <a16:creationId xmlns:a16="http://schemas.microsoft.com/office/drawing/2014/main" id="{905A28FF-286E-472E-85BF-8CEB657F1CF3}"/>
              </a:ext>
            </a:extLst>
          </p:cNvPr>
          <p:cNvSpPr/>
          <p:nvPr/>
        </p:nvSpPr>
        <p:spPr>
          <a:xfrm>
            <a:off x="6293888"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67FCE0DA-E98D-49E1-B9C2-4C30AF458A0C}"/>
              </a:ext>
            </a:extLst>
          </p:cNvPr>
          <p:cNvSpPr txBox="1"/>
          <p:nvPr/>
        </p:nvSpPr>
        <p:spPr>
          <a:xfrm>
            <a:off x="6364736" y="1745038"/>
            <a:ext cx="1961422" cy="89255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ODE :</a:t>
            </a:r>
            <a:endParaRPr lang="en-US" sz="1000" b="1" dirty="0">
              <a:solidFill>
                <a:schemeClr val="accent1"/>
              </a:solidFill>
              <a:latin typeface="+mn-lt"/>
            </a:endParaRPr>
          </a:p>
          <a:p>
            <a:pPr>
              <a:spcBef>
                <a:spcPts val="0"/>
              </a:spcBef>
              <a:spcAft>
                <a:spcPts val="0"/>
              </a:spcAft>
              <a:buClr>
                <a:schemeClr val="bg1"/>
              </a:buClr>
            </a:pPr>
            <a:endParaRPr lang="en-US" sz="1000" b="1" dirty="0">
              <a:solidFill>
                <a:schemeClr val="accent1"/>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Inter"/>
              </a:rPr>
              <a:t>The most frequent value</a:t>
            </a:r>
          </a:p>
          <a:p>
            <a:pPr>
              <a:spcBef>
                <a:spcPts val="0"/>
              </a:spcBef>
              <a:spcAft>
                <a:spcPts val="0"/>
              </a:spcAft>
              <a:buClr>
                <a:schemeClr val="bg1"/>
              </a:buClr>
            </a:pPr>
            <a:endParaRPr lang="en-US" sz="1400" b="1" dirty="0">
              <a:solidFill>
                <a:schemeClr val="accent1"/>
              </a:solidFill>
              <a:latin typeface="+mn-lt"/>
            </a:endParaRPr>
          </a:p>
        </p:txBody>
      </p:sp>
    </p:spTree>
    <p:extLst>
      <p:ext uri="{BB962C8B-B14F-4D97-AF65-F5344CB8AC3E}">
        <p14:creationId xmlns:p14="http://schemas.microsoft.com/office/powerpoint/2010/main" val="4068607360"/>
      </p:ext>
    </p:extLst>
  </p:cSld>
  <p:clrMapOvr>
    <a:masterClrMapping/>
  </p:clrMapOvr>
  <p:transition spd="med">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58C326E3-E793-4419-9749-AAB5C1FA8435}"/>
              </a:ext>
            </a:extLst>
          </p:cNvPr>
          <p:cNvSpPr>
            <a:spLocks noGrp="1"/>
          </p:cNvSpPr>
          <p:nvPr>
            <p:ph type="body" sz="quarter" idx="10"/>
          </p:nvPr>
        </p:nvSpPr>
        <p:spPr>
          <a:xfrm>
            <a:off x="274318" y="659921"/>
            <a:ext cx="7955280" cy="238842"/>
          </a:xfrm>
        </p:spPr>
        <p:txBody>
          <a:bodyPr/>
          <a:lstStyle/>
          <a:p>
            <a:pPr marL="0" indent="0">
              <a:buNone/>
            </a:pPr>
            <a:r>
              <a:rPr lang="en-US" dirty="0"/>
              <a:t>Let’s </a:t>
            </a:r>
            <a:r>
              <a:rPr lang="en-US" dirty="0" err="1"/>
              <a:t>Gooooooooooo</a:t>
            </a:r>
            <a:r>
              <a:rPr lang="en-US" dirty="0"/>
              <a:t>… </a:t>
            </a:r>
          </a:p>
        </p:txBody>
      </p:sp>
      <p:sp>
        <p:nvSpPr>
          <p:cNvPr id="2" name="Title 1">
            <a:extLst>
              <a:ext uri="{FF2B5EF4-FFF2-40B4-BE49-F238E27FC236}">
                <a16:creationId xmlns:a16="http://schemas.microsoft.com/office/drawing/2014/main" id="{4643F953-1C23-46FD-AAAE-48D1EF3239AA}"/>
              </a:ext>
            </a:extLst>
          </p:cNvPr>
          <p:cNvSpPr>
            <a:spLocks noGrp="1"/>
          </p:cNvSpPr>
          <p:nvPr>
            <p:ph type="title"/>
          </p:nvPr>
        </p:nvSpPr>
        <p:spPr>
          <a:xfrm>
            <a:off x="176597" y="73388"/>
            <a:ext cx="7955280" cy="640080"/>
          </a:xfrm>
        </p:spPr>
        <p:txBody>
          <a:bodyPr>
            <a:normAutofit/>
          </a:bodyPr>
          <a:lstStyle/>
          <a:p>
            <a:r>
              <a:rPr lang="en-US" sz="3200" dirty="0"/>
              <a:t>Ready ??????????????</a:t>
            </a:r>
            <a:endParaRPr lang="en-US" dirty="0"/>
          </a:p>
        </p:txBody>
      </p:sp>
      <p:pic>
        <p:nvPicPr>
          <p:cNvPr id="6" name="Picture 5" descr="A red car driving on a road&#10;&#10;Description automatically generated with medium confidence">
            <a:extLst>
              <a:ext uri="{FF2B5EF4-FFF2-40B4-BE49-F238E27FC236}">
                <a16:creationId xmlns:a16="http://schemas.microsoft.com/office/drawing/2014/main" id="{24B9B8C4-AA54-41BC-B108-D9677BC8109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74318" y="1189538"/>
            <a:ext cx="6908259" cy="3570926"/>
          </a:xfrm>
          <a:prstGeom prst="rect">
            <a:avLst/>
          </a:prstGeom>
        </p:spPr>
      </p:pic>
    </p:spTree>
    <p:extLst>
      <p:ext uri="{BB962C8B-B14F-4D97-AF65-F5344CB8AC3E}">
        <p14:creationId xmlns:p14="http://schemas.microsoft.com/office/powerpoint/2010/main" val="3790379752"/>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602528787"/>
      </p:ext>
    </p:extLst>
  </p:cSld>
  <p:clrMapOvr>
    <a:masterClrMapping/>
  </p:clrMapOvr>
  <p:transition spd="med">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6C7DD8-E1BC-4EBD-BFD4-E6A6AF47F2E0}"/>
              </a:ext>
            </a:extLst>
          </p:cNvPr>
          <p:cNvSpPr>
            <a:spLocks noGrp="1"/>
          </p:cNvSpPr>
          <p:nvPr>
            <p:ph type="title"/>
          </p:nvPr>
        </p:nvSpPr>
        <p:spPr>
          <a:xfrm>
            <a:off x="113776" y="118322"/>
            <a:ext cx="7955280" cy="640080"/>
          </a:xfrm>
        </p:spPr>
        <p:txBody>
          <a:bodyPr/>
          <a:lstStyle/>
          <a:p>
            <a:r>
              <a:rPr lang="en-US" dirty="0"/>
              <a:t>Mean </a:t>
            </a:r>
          </a:p>
        </p:txBody>
      </p:sp>
      <p:sp>
        <p:nvSpPr>
          <p:cNvPr id="4" name="Content Placeholder 3">
            <a:extLst>
              <a:ext uri="{FF2B5EF4-FFF2-40B4-BE49-F238E27FC236}">
                <a16:creationId xmlns:a16="http://schemas.microsoft.com/office/drawing/2014/main" id="{76ABAD4C-07E6-4B48-A259-F8E361E4AAD0}"/>
              </a:ext>
            </a:extLst>
          </p:cNvPr>
          <p:cNvSpPr>
            <a:spLocks noGrp="1"/>
          </p:cNvSpPr>
          <p:nvPr>
            <p:ph sz="half" idx="1"/>
          </p:nvPr>
        </p:nvSpPr>
        <p:spPr>
          <a:xfrm>
            <a:off x="113776" y="828544"/>
            <a:ext cx="7955280" cy="3017520"/>
          </a:xfrm>
        </p:spPr>
        <p:txBody>
          <a:bodyPr/>
          <a:lstStyle/>
          <a:p>
            <a:r>
              <a:rPr lang="en-US" dirty="0"/>
              <a:t>The mean is the average of a group of number and is computed by summing all numbers and dividing by the number of numbers.</a:t>
            </a:r>
          </a:p>
          <a:p>
            <a:endParaRPr lang="en-US" dirty="0"/>
          </a:p>
          <a:p>
            <a:pPr marL="0" indent="0">
              <a:buNone/>
            </a:pPr>
            <a:r>
              <a:rPr lang="en-US" b="1" dirty="0"/>
              <a:t>Ex: </a:t>
            </a:r>
            <a:r>
              <a:rPr lang="en-US" dirty="0"/>
              <a:t>of a Jumping castle</a:t>
            </a:r>
          </a:p>
          <a:p>
            <a:endParaRPr lang="en-US" dirty="0"/>
          </a:p>
          <a:p>
            <a:pPr marL="0" indent="0">
              <a:buNone/>
            </a:pPr>
            <a:endParaRPr lang="en-US" dirty="0"/>
          </a:p>
        </p:txBody>
      </p:sp>
      <p:pic>
        <p:nvPicPr>
          <p:cNvPr id="8" name="Picture 7" descr="A picture containing tree, outdoor, colorful&#10;&#10;Description automatically generated">
            <a:extLst>
              <a:ext uri="{FF2B5EF4-FFF2-40B4-BE49-F238E27FC236}">
                <a16:creationId xmlns:a16="http://schemas.microsoft.com/office/drawing/2014/main" id="{431D9C13-880E-4616-A698-2D43B2DD595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40741" y="1898600"/>
            <a:ext cx="2919771" cy="1947464"/>
          </a:xfrm>
          <a:prstGeom prst="rect">
            <a:avLst/>
          </a:prstGeom>
        </p:spPr>
      </p:pic>
      <p:sp>
        <p:nvSpPr>
          <p:cNvPr id="10" name="TextBox 9">
            <a:extLst>
              <a:ext uri="{FF2B5EF4-FFF2-40B4-BE49-F238E27FC236}">
                <a16:creationId xmlns:a16="http://schemas.microsoft.com/office/drawing/2014/main" id="{9527B901-F112-4CF6-B0AB-5B0206A695F7}"/>
              </a:ext>
            </a:extLst>
          </p:cNvPr>
          <p:cNvSpPr txBox="1"/>
          <p:nvPr/>
        </p:nvSpPr>
        <p:spPr>
          <a:xfrm>
            <a:off x="113776" y="4271853"/>
            <a:ext cx="508643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re the mean is accurate but not useful</a:t>
            </a:r>
          </a:p>
        </p:txBody>
      </p:sp>
    </p:spTree>
    <p:extLst>
      <p:ext uri="{BB962C8B-B14F-4D97-AF65-F5344CB8AC3E}">
        <p14:creationId xmlns:p14="http://schemas.microsoft.com/office/powerpoint/2010/main" val="2688859099"/>
      </p:ext>
    </p:extLst>
  </p:cSld>
  <p:clrMapOvr>
    <a:masterClrMapping/>
  </p:clrMapOvr>
  <p:transition spd="med">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22DD31-3378-4BFD-858A-45134180E98B}"/>
              </a:ext>
            </a:extLst>
          </p:cNvPr>
          <p:cNvSpPr>
            <a:spLocks noGrp="1"/>
          </p:cNvSpPr>
          <p:nvPr>
            <p:ph type="title"/>
          </p:nvPr>
        </p:nvSpPr>
        <p:spPr>
          <a:xfrm>
            <a:off x="78874" y="83421"/>
            <a:ext cx="7955280" cy="640080"/>
          </a:xfrm>
        </p:spPr>
        <p:txBody>
          <a:bodyPr/>
          <a:lstStyle/>
          <a:p>
            <a:r>
              <a:rPr lang="en-US" dirty="0"/>
              <a:t>Median</a:t>
            </a:r>
          </a:p>
        </p:txBody>
      </p:sp>
      <p:sp>
        <p:nvSpPr>
          <p:cNvPr id="4" name="Content Placeholder 3">
            <a:extLst>
              <a:ext uri="{FF2B5EF4-FFF2-40B4-BE49-F238E27FC236}">
                <a16:creationId xmlns:a16="http://schemas.microsoft.com/office/drawing/2014/main" id="{6E9599F9-7E29-4BD8-8E52-18FF8C724383}"/>
              </a:ext>
            </a:extLst>
          </p:cNvPr>
          <p:cNvSpPr>
            <a:spLocks noGrp="1"/>
          </p:cNvSpPr>
          <p:nvPr>
            <p:ph sz="half" idx="1"/>
          </p:nvPr>
        </p:nvSpPr>
        <p:spPr>
          <a:xfrm>
            <a:off x="204517" y="870425"/>
            <a:ext cx="8269388" cy="3017520"/>
          </a:xfrm>
        </p:spPr>
        <p:txBody>
          <a:bodyPr/>
          <a:lstStyle/>
          <a:p>
            <a:r>
              <a:rPr lang="en-US" dirty="0"/>
              <a:t>List all the numbers in order and choose the middle one</a:t>
            </a:r>
          </a:p>
          <a:p>
            <a:r>
              <a:rPr lang="en-US" dirty="0"/>
              <a:t>Ex : Jumping castle continued </a:t>
            </a:r>
          </a:p>
          <a:p>
            <a:r>
              <a:rPr lang="en-US" dirty="0"/>
              <a:t>List the ages in order.</a:t>
            </a:r>
          </a:p>
        </p:txBody>
      </p:sp>
      <p:pic>
        <p:nvPicPr>
          <p:cNvPr id="6" name="Picture 5" descr="A group of planets in space&#10;&#10;Description automatically generated with low confidence">
            <a:extLst>
              <a:ext uri="{FF2B5EF4-FFF2-40B4-BE49-F238E27FC236}">
                <a16:creationId xmlns:a16="http://schemas.microsoft.com/office/drawing/2014/main" id="{375C0BAF-A535-485E-8530-85DE19CD3D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p:spTree>
    <p:extLst>
      <p:ext uri="{BB962C8B-B14F-4D97-AF65-F5344CB8AC3E}">
        <p14:creationId xmlns:p14="http://schemas.microsoft.com/office/powerpoint/2010/main" val="1532996662"/>
      </p:ext>
    </p:extLst>
  </p:cSld>
  <p:clrMapOvr>
    <a:masterClrMapping/>
  </p:clrMapOvr>
  <p:transition spd="med">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ABBA51-A685-4F2C-AE0B-DE4088F8EF66}"/>
              </a:ext>
            </a:extLst>
          </p:cNvPr>
          <p:cNvSpPr>
            <a:spLocks noGrp="1"/>
          </p:cNvSpPr>
          <p:nvPr>
            <p:ph type="title"/>
          </p:nvPr>
        </p:nvSpPr>
        <p:spPr/>
        <p:txBody>
          <a:bodyPr/>
          <a:lstStyle/>
          <a:p>
            <a:r>
              <a:rPr lang="en-US" dirty="0"/>
              <a:t>Median – Two middle numbers</a:t>
            </a:r>
          </a:p>
        </p:txBody>
      </p:sp>
      <p:sp>
        <p:nvSpPr>
          <p:cNvPr id="4" name="Content Placeholder 3">
            <a:extLst>
              <a:ext uri="{FF2B5EF4-FFF2-40B4-BE49-F238E27FC236}">
                <a16:creationId xmlns:a16="http://schemas.microsoft.com/office/drawing/2014/main" id="{B4DE2912-DDA6-440E-BEA6-B3A254DD16E9}"/>
              </a:ext>
            </a:extLst>
          </p:cNvPr>
          <p:cNvSpPr>
            <a:spLocks noGrp="1"/>
          </p:cNvSpPr>
          <p:nvPr>
            <p:ph sz="half" idx="1"/>
          </p:nvPr>
        </p:nvSpPr>
        <p:spPr>
          <a:xfrm>
            <a:off x="274319" y="1010028"/>
            <a:ext cx="7955280" cy="3017520"/>
          </a:xfrm>
        </p:spPr>
        <p:txBody>
          <a:bodyPr/>
          <a:lstStyle/>
          <a:p>
            <a:r>
              <a:rPr lang="en-US" dirty="0"/>
              <a:t>If there are two middle number, then just take the average of those two numbers</a:t>
            </a:r>
          </a:p>
          <a:p>
            <a:endParaRPr lang="en-US" dirty="0"/>
          </a:p>
          <a:p>
            <a:r>
              <a:rPr lang="en-US" dirty="0"/>
              <a:t>Ex : find Median of 7,9,10,11,11,15</a:t>
            </a:r>
          </a:p>
        </p:txBody>
      </p:sp>
    </p:spTree>
    <p:extLst>
      <p:ext uri="{BB962C8B-B14F-4D97-AF65-F5344CB8AC3E}">
        <p14:creationId xmlns:p14="http://schemas.microsoft.com/office/powerpoint/2010/main" val="3262174151"/>
      </p:ext>
    </p:extLst>
  </p:cSld>
  <p:clrMapOvr>
    <a:masterClrMapping/>
  </p:clrMapOvr>
  <p:transition spd="med">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25CB22-FF51-4206-A208-F34D589823FC}"/>
              </a:ext>
            </a:extLst>
          </p:cNvPr>
          <p:cNvSpPr>
            <a:spLocks noGrp="1"/>
          </p:cNvSpPr>
          <p:nvPr>
            <p:ph type="title"/>
          </p:nvPr>
        </p:nvSpPr>
        <p:spPr>
          <a:xfrm>
            <a:off x="78874" y="13926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38C4030F-B49C-4D2E-A105-0BDA558200F7}"/>
              </a:ext>
            </a:extLst>
          </p:cNvPr>
          <p:cNvSpPr>
            <a:spLocks noGrp="1"/>
          </p:cNvSpPr>
          <p:nvPr>
            <p:ph sz="half" idx="1"/>
          </p:nvPr>
        </p:nvSpPr>
        <p:spPr>
          <a:xfrm>
            <a:off x="148677" y="670095"/>
            <a:ext cx="7955280" cy="3908885"/>
          </a:xfrm>
        </p:spPr>
        <p:txBody>
          <a:bodyPr/>
          <a:lstStyle/>
          <a:p>
            <a:r>
              <a:rPr lang="en-US" sz="1400" dirty="0">
                <a:solidFill>
                  <a:schemeClr val="bg2">
                    <a:lumMod val="50000"/>
                    <a:lumOff val="50000"/>
                  </a:schemeClr>
                </a:solidFill>
                <a:latin typeface="Inter"/>
              </a:rPr>
              <a:t>The most frequent value. (the value that occurs the highest number of times)</a:t>
            </a:r>
          </a:p>
          <a:p>
            <a:endParaRPr lang="en-US" dirty="0">
              <a:solidFill>
                <a:schemeClr val="bg2">
                  <a:lumMod val="50000"/>
                  <a:lumOff val="50000"/>
                </a:schemeClr>
              </a:solidFill>
              <a:latin typeface="Inter"/>
            </a:endParaRPr>
          </a:p>
          <a:p>
            <a:r>
              <a:rPr lang="en-US" sz="1400" dirty="0">
                <a:solidFill>
                  <a:schemeClr val="bg2">
                    <a:lumMod val="50000"/>
                    <a:lumOff val="50000"/>
                  </a:schemeClr>
                </a:solidFill>
                <a:latin typeface="Inter"/>
              </a:rPr>
              <a:t>Ex : Jumping castle continued</a:t>
            </a:r>
          </a:p>
          <a:p>
            <a:r>
              <a:rPr lang="en-US" dirty="0">
                <a:solidFill>
                  <a:schemeClr val="bg2">
                    <a:lumMod val="50000"/>
                    <a:lumOff val="50000"/>
                  </a:schemeClr>
                </a:solidFill>
                <a:latin typeface="Inter"/>
              </a:rPr>
              <a:t>Group the numbers so we can count them : </a:t>
            </a:r>
            <a:endParaRPr lang="en-US" sz="1400" dirty="0">
              <a:solidFill>
                <a:schemeClr val="bg2">
                  <a:lumMod val="50000"/>
                  <a:lumOff val="50000"/>
                </a:schemeClr>
              </a:solidFill>
              <a:latin typeface="Inter"/>
            </a:endParaRPr>
          </a:p>
          <a:p>
            <a:endParaRPr lang="en-US" dirty="0"/>
          </a:p>
        </p:txBody>
      </p:sp>
      <p:pic>
        <p:nvPicPr>
          <p:cNvPr id="6" name="Picture 5" descr="A group of planets in space&#10;&#10;Description automatically generated with low confidence">
            <a:extLst>
              <a:ext uri="{FF2B5EF4-FFF2-40B4-BE49-F238E27FC236}">
                <a16:creationId xmlns:a16="http://schemas.microsoft.com/office/drawing/2014/main" id="{9913AA4F-182A-4CFF-96F3-3A802A25BE2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p:spTree>
    <p:extLst>
      <p:ext uri="{BB962C8B-B14F-4D97-AF65-F5344CB8AC3E}">
        <p14:creationId xmlns:p14="http://schemas.microsoft.com/office/powerpoint/2010/main" val="636038740"/>
      </p:ext>
    </p:extLst>
  </p:cSld>
  <p:clrMapOvr>
    <a:masterClrMapping/>
  </p:clrMapOvr>
  <p:transition spd="med">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D0E9BB-181B-4BF0-A706-7A35CF408AD5}"/>
              </a:ext>
            </a:extLst>
          </p:cNvPr>
          <p:cNvSpPr>
            <a:spLocks noGrp="1"/>
          </p:cNvSpPr>
          <p:nvPr>
            <p:ph type="title"/>
          </p:nvPr>
        </p:nvSpPr>
        <p:spPr>
          <a:xfrm>
            <a:off x="204518" y="13228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F7D859AF-EC6C-404E-A3A5-5C9B7B9266E3}"/>
              </a:ext>
            </a:extLst>
          </p:cNvPr>
          <p:cNvSpPr>
            <a:spLocks noGrp="1"/>
          </p:cNvSpPr>
          <p:nvPr>
            <p:ph sz="half" idx="1"/>
          </p:nvPr>
        </p:nvSpPr>
        <p:spPr>
          <a:xfrm>
            <a:off x="274320" y="718956"/>
            <a:ext cx="7955280" cy="3853044"/>
          </a:xfrm>
        </p:spPr>
        <p:txBody>
          <a:bodyPr/>
          <a:lstStyle/>
          <a:p>
            <a:r>
              <a:rPr lang="en-US" dirty="0">
                <a:solidFill>
                  <a:schemeClr val="bg2">
                    <a:lumMod val="50000"/>
                    <a:lumOff val="50000"/>
                  </a:schemeClr>
                </a:solidFill>
              </a:rPr>
              <a:t>But Mode can be tricky, there can sometime be more than one mode</a:t>
            </a:r>
          </a:p>
          <a:p>
            <a:endParaRPr lang="en-US" dirty="0">
              <a:solidFill>
                <a:schemeClr val="bg2">
                  <a:lumMod val="50000"/>
                  <a:lumOff val="50000"/>
                </a:schemeClr>
              </a:solidFill>
            </a:endParaRPr>
          </a:p>
          <a:p>
            <a:r>
              <a:rPr lang="en-US" dirty="0">
                <a:solidFill>
                  <a:schemeClr val="bg2">
                    <a:lumMod val="50000"/>
                    <a:lumOff val="50000"/>
                  </a:schemeClr>
                </a:solidFill>
              </a:rPr>
              <a:t>Ex : What is the Mode of 10,11,11,12,12,13,14</a:t>
            </a:r>
          </a:p>
          <a:p>
            <a:endParaRPr lang="en-US" dirty="0"/>
          </a:p>
          <a:p>
            <a:endParaRPr lang="en-US" dirty="0"/>
          </a:p>
        </p:txBody>
      </p:sp>
    </p:spTree>
    <p:extLst>
      <p:ext uri="{BB962C8B-B14F-4D97-AF65-F5344CB8AC3E}">
        <p14:creationId xmlns:p14="http://schemas.microsoft.com/office/powerpoint/2010/main" val="3651340896"/>
      </p:ext>
    </p:extLst>
  </p:cSld>
  <p:clrMapOvr>
    <a:masterClrMapping/>
  </p:clrMapOvr>
  <p:transition spd="med">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105FE6-98FF-4D7B-B314-563F75F834DB}"/>
              </a:ext>
            </a:extLst>
          </p:cNvPr>
          <p:cNvSpPr>
            <a:spLocks noGrp="1"/>
          </p:cNvSpPr>
          <p:nvPr>
            <p:ph type="title"/>
          </p:nvPr>
        </p:nvSpPr>
        <p:spPr>
          <a:xfrm>
            <a:off x="50954" y="83420"/>
            <a:ext cx="7955280" cy="640080"/>
          </a:xfrm>
        </p:spPr>
        <p:txBody>
          <a:bodyPr/>
          <a:lstStyle/>
          <a:p>
            <a:r>
              <a:rPr lang="en-US" dirty="0"/>
              <a:t>Grouping</a:t>
            </a:r>
          </a:p>
        </p:txBody>
      </p:sp>
      <p:sp>
        <p:nvSpPr>
          <p:cNvPr id="4" name="Content Placeholder 3">
            <a:extLst>
              <a:ext uri="{FF2B5EF4-FFF2-40B4-BE49-F238E27FC236}">
                <a16:creationId xmlns:a16="http://schemas.microsoft.com/office/drawing/2014/main" id="{7467BCD5-CB99-4999-9385-6B8338F1F152}"/>
              </a:ext>
            </a:extLst>
          </p:cNvPr>
          <p:cNvSpPr>
            <a:spLocks noGrp="1"/>
          </p:cNvSpPr>
          <p:nvPr>
            <p:ph sz="half" idx="1"/>
          </p:nvPr>
        </p:nvSpPr>
        <p:spPr>
          <a:xfrm>
            <a:off x="50953" y="870425"/>
            <a:ext cx="8583495" cy="3757416"/>
          </a:xfrm>
        </p:spPr>
        <p:txBody>
          <a:bodyPr/>
          <a:lstStyle/>
          <a:p>
            <a:r>
              <a:rPr lang="en-US" dirty="0">
                <a:solidFill>
                  <a:schemeClr val="bg2">
                    <a:lumMod val="50000"/>
                    <a:lumOff val="50000"/>
                  </a:schemeClr>
                </a:solidFill>
                <a:latin typeface="Inter"/>
              </a:rPr>
              <a:t>In Some cases (such as when all values appear the same number of times) the mode is not useful. But we can group the values to see if one group has more than the others </a:t>
            </a:r>
          </a:p>
          <a:p>
            <a:r>
              <a:rPr lang="en-US" dirty="0">
                <a:solidFill>
                  <a:schemeClr val="bg2">
                    <a:lumMod val="50000"/>
                    <a:lumOff val="50000"/>
                  </a:schemeClr>
                </a:solidFill>
                <a:latin typeface="Inter"/>
              </a:rPr>
              <a:t>Ex : 5, 8, 12, 17, 21</a:t>
            </a:r>
            <a:r>
              <a:rPr lang="en-US">
                <a:solidFill>
                  <a:schemeClr val="bg2">
                    <a:lumMod val="50000"/>
                    <a:lumOff val="50000"/>
                  </a:schemeClr>
                </a:solidFill>
                <a:latin typeface="Inter"/>
              </a:rPr>
              <a:t>, 23, </a:t>
            </a:r>
            <a:r>
              <a:rPr lang="en-US" dirty="0">
                <a:solidFill>
                  <a:schemeClr val="bg2">
                    <a:lumMod val="50000"/>
                    <a:lumOff val="50000"/>
                  </a:schemeClr>
                </a:solidFill>
                <a:latin typeface="Inter"/>
              </a:rPr>
              <a:t>26, 27</a:t>
            </a:r>
            <a:r>
              <a:rPr lang="en-US">
                <a:solidFill>
                  <a:schemeClr val="bg2">
                    <a:lumMod val="50000"/>
                    <a:lumOff val="50000"/>
                  </a:schemeClr>
                </a:solidFill>
                <a:latin typeface="Inter"/>
              </a:rPr>
              <a:t>, 34</a:t>
            </a:r>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r>
              <a:rPr lang="en-US" b="1" i="1" dirty="0">
                <a:solidFill>
                  <a:schemeClr val="bg2">
                    <a:lumMod val="50000"/>
                    <a:lumOff val="50000"/>
                  </a:schemeClr>
                </a:solidFill>
                <a:latin typeface="Inter"/>
              </a:rPr>
              <a:t>Note : You could use different grouping and get a different answer</a:t>
            </a:r>
          </a:p>
        </p:txBody>
      </p:sp>
    </p:spTree>
    <p:extLst>
      <p:ext uri="{BB962C8B-B14F-4D97-AF65-F5344CB8AC3E}">
        <p14:creationId xmlns:p14="http://schemas.microsoft.com/office/powerpoint/2010/main" val="1995959026"/>
      </p:ext>
    </p:extLst>
  </p:cSld>
  <p:clrMapOvr>
    <a:masterClrMapping/>
  </p:clrMapOvr>
  <p:transition spd="med">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BDE561-1E11-496C-86F7-9FC450554141}"/>
              </a:ext>
            </a:extLst>
          </p:cNvPr>
          <p:cNvSpPr>
            <a:spLocks noGrp="1"/>
          </p:cNvSpPr>
          <p:nvPr>
            <p:ph type="title"/>
          </p:nvPr>
        </p:nvSpPr>
        <p:spPr>
          <a:xfrm>
            <a:off x="0" y="27981"/>
            <a:ext cx="7955280" cy="640080"/>
          </a:xfrm>
        </p:spPr>
        <p:txBody>
          <a:bodyPr/>
          <a:lstStyle/>
          <a:p>
            <a:r>
              <a:rPr lang="en-US" dirty="0"/>
              <a:t>Grouping another example</a:t>
            </a:r>
          </a:p>
        </p:txBody>
      </p:sp>
      <p:sp>
        <p:nvSpPr>
          <p:cNvPr id="4" name="Content Placeholder 3">
            <a:extLst>
              <a:ext uri="{FF2B5EF4-FFF2-40B4-BE49-F238E27FC236}">
                <a16:creationId xmlns:a16="http://schemas.microsoft.com/office/drawing/2014/main" id="{835414F6-32F3-427B-8782-BB4FFF32D390}"/>
              </a:ext>
            </a:extLst>
          </p:cNvPr>
          <p:cNvSpPr>
            <a:spLocks noGrp="1"/>
          </p:cNvSpPr>
          <p:nvPr>
            <p:ph sz="half" idx="1"/>
          </p:nvPr>
        </p:nvSpPr>
        <p:spPr>
          <a:xfrm>
            <a:off x="0" y="528398"/>
            <a:ext cx="8890620" cy="3952860"/>
          </a:xfrm>
        </p:spPr>
        <p:txBody>
          <a:bodyPr>
            <a:normAutofit/>
          </a:bodyPr>
          <a:lstStyle/>
          <a:p>
            <a:r>
              <a:rPr lang="en-US" dirty="0">
                <a:solidFill>
                  <a:schemeClr val="bg2">
                    <a:lumMod val="50000"/>
                    <a:lumOff val="50000"/>
                  </a:schemeClr>
                </a:solidFill>
              </a:rPr>
              <a:t>Grouping also help to find what the typical values are when the real-world messes things up!</a:t>
            </a:r>
          </a:p>
          <a:p>
            <a:r>
              <a:rPr lang="en-US" dirty="0">
                <a:solidFill>
                  <a:schemeClr val="bg2">
                    <a:lumMod val="50000"/>
                    <a:lumOff val="50000"/>
                  </a:schemeClr>
                </a:solidFill>
              </a:rPr>
              <a:t>Ex : How long to load a truck?</a:t>
            </a:r>
          </a:p>
          <a:p>
            <a:r>
              <a:rPr lang="en-US" dirty="0">
                <a:solidFill>
                  <a:schemeClr val="bg2">
                    <a:lumMod val="50000"/>
                    <a:lumOff val="50000"/>
                  </a:schemeClr>
                </a:solidFill>
              </a:rPr>
              <a:t>Robert recorded how long it take to load a truck in minutes:</a:t>
            </a:r>
          </a:p>
          <a:p>
            <a:pPr lvl="2"/>
            <a:r>
              <a:rPr lang="en-US" sz="1400" dirty="0">
                <a:solidFill>
                  <a:schemeClr val="bg2">
                    <a:lumMod val="50000"/>
                    <a:lumOff val="50000"/>
                  </a:schemeClr>
                </a:solidFill>
              </a:rPr>
              <a:t>46, 47, 43, 53, 69, 67, 46, 50, 57, 58, 45, 48, 61</a:t>
            </a:r>
          </a:p>
          <a:p>
            <a:r>
              <a:rPr lang="en-US" dirty="0">
                <a:solidFill>
                  <a:schemeClr val="bg2">
                    <a:lumMod val="50000"/>
                    <a:lumOff val="50000"/>
                  </a:schemeClr>
                </a:solidFill>
              </a:rPr>
              <a:t>It takes longer when there is break time or lunch so an average is not very useful.</a:t>
            </a:r>
          </a:p>
          <a:p>
            <a:r>
              <a:rPr lang="en-US" dirty="0">
                <a:solidFill>
                  <a:schemeClr val="bg2">
                    <a:lumMod val="50000"/>
                    <a:lumOff val="50000"/>
                  </a:schemeClr>
                </a:solidFill>
              </a:rPr>
              <a:t>But grouping by 5s gives:</a:t>
            </a:r>
          </a:p>
          <a:p>
            <a:pPr marL="0" indent="0">
              <a:buNone/>
            </a:pPr>
            <a:endParaRPr lang="en-US" dirty="0">
              <a:solidFill>
                <a:schemeClr val="bg2">
                  <a:lumMod val="50000"/>
                  <a:lumOff val="50000"/>
                </a:schemeClr>
              </a:solidFill>
            </a:endParaRPr>
          </a:p>
          <a:p>
            <a:pPr>
              <a:lnSpc>
                <a:spcPct val="10000"/>
              </a:lnSpc>
            </a:pPr>
            <a:r>
              <a:rPr lang="en-US" dirty="0">
                <a:solidFill>
                  <a:schemeClr val="bg2">
                    <a:lumMod val="50000"/>
                    <a:lumOff val="50000"/>
                  </a:schemeClr>
                </a:solidFill>
              </a:rPr>
              <a:t>40 - 44 : 1</a:t>
            </a:r>
          </a:p>
          <a:p>
            <a:pPr>
              <a:lnSpc>
                <a:spcPct val="10000"/>
              </a:lnSpc>
            </a:pPr>
            <a:r>
              <a:rPr lang="en-US" dirty="0">
                <a:solidFill>
                  <a:schemeClr val="bg2">
                    <a:lumMod val="50000"/>
                    <a:lumOff val="50000"/>
                  </a:schemeClr>
                </a:solidFill>
              </a:rPr>
              <a:t>45 - 49 : 5</a:t>
            </a:r>
          </a:p>
          <a:p>
            <a:pPr>
              <a:lnSpc>
                <a:spcPct val="10000"/>
              </a:lnSpc>
            </a:pPr>
            <a:r>
              <a:rPr lang="en-US" dirty="0">
                <a:solidFill>
                  <a:schemeClr val="bg2">
                    <a:lumMod val="50000"/>
                    <a:lumOff val="50000"/>
                  </a:schemeClr>
                </a:solidFill>
              </a:rPr>
              <a:t>50 – 54 : 2</a:t>
            </a:r>
          </a:p>
          <a:p>
            <a:pPr>
              <a:lnSpc>
                <a:spcPct val="10000"/>
              </a:lnSpc>
            </a:pPr>
            <a:r>
              <a:rPr lang="en-US" dirty="0">
                <a:solidFill>
                  <a:schemeClr val="bg2">
                    <a:lumMod val="50000"/>
                    <a:lumOff val="50000"/>
                  </a:schemeClr>
                </a:solidFill>
              </a:rPr>
              <a:t>55 – 59 : 2</a:t>
            </a:r>
          </a:p>
          <a:p>
            <a:pPr>
              <a:lnSpc>
                <a:spcPct val="10000"/>
              </a:lnSpc>
            </a:pPr>
            <a:r>
              <a:rPr lang="en-US" dirty="0">
                <a:solidFill>
                  <a:schemeClr val="bg2">
                    <a:lumMod val="50000"/>
                    <a:lumOff val="50000"/>
                  </a:schemeClr>
                </a:solidFill>
              </a:rPr>
              <a:t>60 – 64 : 1</a:t>
            </a:r>
          </a:p>
          <a:p>
            <a:pPr>
              <a:lnSpc>
                <a:spcPct val="10000"/>
              </a:lnSpc>
            </a:pPr>
            <a:r>
              <a:rPr lang="en-US" dirty="0">
                <a:solidFill>
                  <a:schemeClr val="bg2">
                    <a:lumMod val="50000"/>
                    <a:lumOff val="50000"/>
                  </a:schemeClr>
                </a:solidFill>
              </a:rPr>
              <a:t>64 – 69 : 2</a:t>
            </a:r>
          </a:p>
          <a:p>
            <a:r>
              <a:rPr lang="en-US" dirty="0">
                <a:solidFill>
                  <a:schemeClr val="bg2">
                    <a:lumMod val="50000"/>
                    <a:lumOff val="50000"/>
                  </a:schemeClr>
                </a:solidFill>
              </a:rPr>
              <a:t>“45 – 49” appear most often, so we can say it normally take about 37 minutes to fill a pallet</a:t>
            </a:r>
          </a:p>
          <a:p>
            <a:endParaRPr lang="en-US" sz="1600" dirty="0"/>
          </a:p>
          <a:p>
            <a:pPr lvl="3"/>
            <a:endParaRPr lang="en-US" sz="1600" dirty="0"/>
          </a:p>
          <a:p>
            <a:pPr lvl="3"/>
            <a:endParaRPr lang="en-US" sz="1600" dirty="0"/>
          </a:p>
        </p:txBody>
      </p:sp>
      <p:pic>
        <p:nvPicPr>
          <p:cNvPr id="11" name="Picture 10" descr="A picture containing truck, green, road, sky&#10;&#10;Description automatically generated">
            <a:extLst>
              <a:ext uri="{FF2B5EF4-FFF2-40B4-BE49-F238E27FC236}">
                <a16:creationId xmlns:a16="http://schemas.microsoft.com/office/drawing/2014/main" id="{DFA02102-7297-4F45-88F7-388D314238A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5209" y="2121966"/>
            <a:ext cx="3187834" cy="1793157"/>
          </a:xfrm>
          <a:prstGeom prst="rect">
            <a:avLst/>
          </a:prstGeom>
        </p:spPr>
      </p:pic>
    </p:spTree>
    <p:extLst>
      <p:ext uri="{BB962C8B-B14F-4D97-AF65-F5344CB8AC3E}">
        <p14:creationId xmlns:p14="http://schemas.microsoft.com/office/powerpoint/2010/main" val="3831935352"/>
      </p:ext>
    </p:extLst>
  </p:cSld>
  <p:clrMapOvr>
    <a:masterClrMapping/>
  </p:clrMapOvr>
  <p:transition spd="med">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E6B03A-C11B-445A-B3EE-89676853E2DC}"/>
              </a:ext>
            </a:extLst>
          </p:cNvPr>
          <p:cNvSpPr>
            <a:spLocks noGrp="1"/>
          </p:cNvSpPr>
          <p:nvPr>
            <p:ph type="title"/>
          </p:nvPr>
        </p:nvSpPr>
        <p:spPr>
          <a:xfrm>
            <a:off x="92835" y="90401"/>
            <a:ext cx="7955280" cy="640080"/>
          </a:xfrm>
        </p:spPr>
        <p:txBody>
          <a:bodyPr/>
          <a:lstStyle/>
          <a:p>
            <a:r>
              <a:rPr lang="en-US" dirty="0"/>
              <a:t>Outlier </a:t>
            </a:r>
          </a:p>
        </p:txBody>
      </p:sp>
      <p:sp>
        <p:nvSpPr>
          <p:cNvPr id="4" name="Content Placeholder 3">
            <a:extLst>
              <a:ext uri="{FF2B5EF4-FFF2-40B4-BE49-F238E27FC236}">
                <a16:creationId xmlns:a16="http://schemas.microsoft.com/office/drawing/2014/main" id="{CB5A1369-CDB1-4F9B-ADBB-7DB33F294B4E}"/>
              </a:ext>
            </a:extLst>
          </p:cNvPr>
          <p:cNvSpPr>
            <a:spLocks noGrp="1"/>
          </p:cNvSpPr>
          <p:nvPr>
            <p:ph sz="half" idx="1"/>
          </p:nvPr>
        </p:nvSpPr>
        <p:spPr>
          <a:xfrm>
            <a:off x="197539" y="650990"/>
            <a:ext cx="7955280" cy="3841519"/>
          </a:xfrm>
        </p:spPr>
        <p:txBody>
          <a:bodyPr/>
          <a:lstStyle/>
          <a:p>
            <a:r>
              <a:rPr lang="en-US" dirty="0">
                <a:solidFill>
                  <a:schemeClr val="bg2">
                    <a:lumMod val="50000"/>
                    <a:lumOff val="50000"/>
                  </a:schemeClr>
                </a:solidFill>
                <a:latin typeface="Inter"/>
              </a:rPr>
              <a:t>A value that "lies outside" (is much smaller or larger than) most of the other values in a set of data. They can change the mean a lot, so we can either not used them or use mean median mode instead.</a:t>
            </a:r>
          </a:p>
          <a:p>
            <a:r>
              <a:rPr lang="en-US" dirty="0">
                <a:solidFill>
                  <a:schemeClr val="bg2">
                    <a:lumMod val="50000"/>
                    <a:lumOff val="50000"/>
                  </a:schemeClr>
                </a:solidFill>
                <a:latin typeface="Inter"/>
              </a:rPr>
              <a:t>Ex : In this set of random numbers, 1 and 201 are outliers:</a:t>
            </a:r>
          </a:p>
          <a:p>
            <a:pPr lvl="1"/>
            <a:r>
              <a:rPr lang="en-US" dirty="0">
                <a:solidFill>
                  <a:schemeClr val="bg2">
                    <a:lumMod val="50000"/>
                    <a:lumOff val="50000"/>
                  </a:schemeClr>
                </a:solidFill>
                <a:latin typeface="Inter"/>
              </a:rPr>
              <a:t>1, 99, 100, 101, 103, 109, 110, 201</a:t>
            </a:r>
          </a:p>
          <a:p>
            <a:pPr lvl="1"/>
            <a:r>
              <a:rPr lang="en-US" dirty="0">
                <a:solidFill>
                  <a:schemeClr val="bg2">
                    <a:lumMod val="50000"/>
                    <a:lumOff val="50000"/>
                  </a:schemeClr>
                </a:solidFill>
                <a:latin typeface="Inter"/>
              </a:rPr>
              <a:t>“1” is an extremely low value and “201” is an extremely high value.</a:t>
            </a:r>
          </a:p>
          <a:p>
            <a:r>
              <a:rPr lang="en-US" dirty="0">
                <a:solidFill>
                  <a:schemeClr val="bg2">
                    <a:lumMod val="50000"/>
                    <a:lumOff val="50000"/>
                  </a:schemeClr>
                </a:solidFill>
                <a:latin typeface="Inter"/>
              </a:rPr>
              <a:t>Outliers aren’t always that obvious. Let’s say you received the following paychecks last month:</a:t>
            </a:r>
          </a:p>
          <a:p>
            <a:pPr lvl="1"/>
            <a:r>
              <a:rPr lang="en-US" dirty="0">
                <a:solidFill>
                  <a:schemeClr val="bg2">
                    <a:lumMod val="50000"/>
                    <a:lumOff val="50000"/>
                  </a:schemeClr>
                </a:solidFill>
                <a:latin typeface="Inter"/>
              </a:rPr>
              <a:t>$225, $250, $25, $235.</a:t>
            </a:r>
          </a:p>
          <a:p>
            <a:pPr lvl="1"/>
            <a:r>
              <a:rPr lang="en-US" dirty="0">
                <a:solidFill>
                  <a:schemeClr val="bg2">
                    <a:lumMod val="50000"/>
                    <a:lumOff val="50000"/>
                  </a:schemeClr>
                </a:solidFill>
                <a:latin typeface="Inter"/>
              </a:rPr>
              <a:t>Your average paycheck is $135. But that small paycheck ($25) might be because you went on vacation, so a weekly paycheck average of $135 isn’t a true reflection of how much you earned. Your average is actually closer to $237 if you take the outlier ($25) out of the set.</a:t>
            </a:r>
          </a:p>
          <a:p>
            <a:r>
              <a:rPr lang="en-US" dirty="0">
                <a:solidFill>
                  <a:schemeClr val="bg2">
                    <a:lumMod val="50000"/>
                    <a:lumOff val="50000"/>
                  </a:schemeClr>
                </a:solidFill>
                <a:latin typeface="Inter"/>
              </a:rPr>
              <a:t>Age of students studying Data science in Board Infinity</a:t>
            </a:r>
          </a:p>
          <a:p>
            <a:pPr lvl="1"/>
            <a:r>
              <a:rPr lang="en-US" dirty="0">
                <a:solidFill>
                  <a:schemeClr val="bg2">
                    <a:lumMod val="50000"/>
                    <a:lumOff val="50000"/>
                  </a:schemeClr>
                </a:solidFill>
                <a:latin typeface="Inter"/>
              </a:rPr>
              <a:t>Ex : </a:t>
            </a:r>
          </a:p>
          <a:p>
            <a:pPr lvl="1"/>
            <a:endParaRPr lang="en-US" dirty="0"/>
          </a:p>
        </p:txBody>
      </p:sp>
    </p:spTree>
    <p:extLst>
      <p:ext uri="{BB962C8B-B14F-4D97-AF65-F5344CB8AC3E}">
        <p14:creationId xmlns:p14="http://schemas.microsoft.com/office/powerpoint/2010/main" val="1048263595"/>
      </p:ext>
    </p:extLst>
  </p:cSld>
  <p:clrMapOvr>
    <a:masterClrMapping/>
  </p:clrMapOvr>
  <p:transition spd="med">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FC4D7A-EB20-44C5-815F-C0641D331487}"/>
              </a:ext>
            </a:extLst>
          </p:cNvPr>
          <p:cNvSpPr>
            <a:spLocks noGrp="1"/>
          </p:cNvSpPr>
          <p:nvPr>
            <p:ph type="title"/>
          </p:nvPr>
        </p:nvSpPr>
        <p:spPr/>
        <p:txBody>
          <a:bodyPr/>
          <a:lstStyle/>
          <a:p>
            <a:r>
              <a:rPr lang="en-US" dirty="0"/>
              <a:t>Outlier </a:t>
            </a:r>
            <a:r>
              <a:rPr lang="en-US" dirty="0">
                <a:solidFill>
                  <a:schemeClr val="bg2">
                    <a:lumMod val="50000"/>
                    <a:lumOff val="50000"/>
                  </a:schemeClr>
                </a:solidFill>
              </a:rPr>
              <a:t>-</a:t>
            </a:r>
            <a:r>
              <a:rPr lang="en-US" dirty="0"/>
              <a:t> </a:t>
            </a:r>
            <a:r>
              <a:rPr lang="en-US" dirty="0">
                <a:solidFill>
                  <a:schemeClr val="bg2">
                    <a:lumMod val="50000"/>
                    <a:lumOff val="50000"/>
                  </a:schemeClr>
                </a:solidFill>
              </a:rPr>
              <a:t>continued</a:t>
            </a:r>
          </a:p>
        </p:txBody>
      </p:sp>
      <p:pic>
        <p:nvPicPr>
          <p:cNvPr id="6" name="Content Placeholder 5">
            <a:extLst>
              <a:ext uri="{FF2B5EF4-FFF2-40B4-BE49-F238E27FC236}">
                <a16:creationId xmlns:a16="http://schemas.microsoft.com/office/drawing/2014/main" id="{2B7093CC-771B-4C73-A0DC-D3F5C3CE8DED}"/>
              </a:ext>
            </a:extLst>
          </p:cNvPr>
          <p:cNvPicPr>
            <a:picLocks noGrp="1" noChangeAspect="1"/>
          </p:cNvPicPr>
          <p:nvPr>
            <p:ph sz="half" idx="1"/>
          </p:nvPr>
        </p:nvPicPr>
        <p:blipFill>
          <a:blip r:embed="rId2"/>
          <a:stretch>
            <a:fillRect/>
          </a:stretch>
        </p:blipFill>
        <p:spPr>
          <a:xfrm>
            <a:off x="4517801" y="49000"/>
            <a:ext cx="4229100" cy="542925"/>
          </a:xfrm>
        </p:spPr>
      </p:pic>
      <p:grpSp>
        <p:nvGrpSpPr>
          <p:cNvPr id="47" name="Group 46">
            <a:extLst>
              <a:ext uri="{FF2B5EF4-FFF2-40B4-BE49-F238E27FC236}">
                <a16:creationId xmlns:a16="http://schemas.microsoft.com/office/drawing/2014/main" id="{2A49F424-6475-4B80-B98E-BC7A187747C0}"/>
              </a:ext>
            </a:extLst>
          </p:cNvPr>
          <p:cNvGrpSpPr/>
          <p:nvPr/>
        </p:nvGrpSpPr>
        <p:grpSpPr>
          <a:xfrm>
            <a:off x="4879377" y="467558"/>
            <a:ext cx="112680" cy="159840"/>
            <a:chOff x="4879377" y="467558"/>
            <a:chExt cx="112680" cy="159840"/>
          </a:xfrm>
        </p:grpSpPr>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A3C6882A-8F86-4203-BC54-CC76A101CAD1}"/>
                    </a:ext>
                  </a:extLst>
                </p14:cNvPr>
                <p14:cNvContentPartPr/>
                <p14:nvPr/>
              </p14:nvContentPartPr>
              <p14:xfrm>
                <a:off x="4879377" y="537038"/>
                <a:ext cx="13680" cy="90360"/>
              </p14:xfrm>
            </p:contentPart>
          </mc:Choice>
          <mc:Fallback xmlns="">
            <p:pic>
              <p:nvPicPr>
                <p:cNvPr id="7" name="Ink 6">
                  <a:extLst>
                    <a:ext uri="{FF2B5EF4-FFF2-40B4-BE49-F238E27FC236}">
                      <a16:creationId xmlns:a16="http://schemas.microsoft.com/office/drawing/2014/main" id="{A3C6882A-8F86-4203-BC54-CC76A101CAD1}"/>
                    </a:ext>
                  </a:extLst>
                </p:cNvPr>
                <p:cNvPicPr/>
                <p:nvPr/>
              </p:nvPicPr>
              <p:blipFill>
                <a:blip r:embed="rId4"/>
                <a:stretch>
                  <a:fillRect/>
                </a:stretch>
              </p:blipFill>
              <p:spPr>
                <a:xfrm>
                  <a:off x="4875057" y="532718"/>
                  <a:ext cx="2232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Ink 7">
                  <a:extLst>
                    <a:ext uri="{FF2B5EF4-FFF2-40B4-BE49-F238E27FC236}">
                      <a16:creationId xmlns:a16="http://schemas.microsoft.com/office/drawing/2014/main" id="{EBEB0D83-5163-4079-A7FB-019746BE0D7F}"/>
                    </a:ext>
                  </a:extLst>
                </p14:cNvPr>
                <p14:cNvContentPartPr/>
                <p14:nvPr/>
              </p14:nvContentPartPr>
              <p14:xfrm>
                <a:off x="4915017" y="544238"/>
                <a:ext cx="77040" cy="78840"/>
              </p14:xfrm>
            </p:contentPart>
          </mc:Choice>
          <mc:Fallback xmlns="">
            <p:pic>
              <p:nvPicPr>
                <p:cNvPr id="8" name="Ink 7">
                  <a:extLst>
                    <a:ext uri="{FF2B5EF4-FFF2-40B4-BE49-F238E27FC236}">
                      <a16:creationId xmlns:a16="http://schemas.microsoft.com/office/drawing/2014/main" id="{EBEB0D83-5163-4079-A7FB-019746BE0D7F}"/>
                    </a:ext>
                  </a:extLst>
                </p:cNvPr>
                <p:cNvPicPr/>
                <p:nvPr/>
              </p:nvPicPr>
              <p:blipFill>
                <a:blip r:embed="rId6"/>
                <a:stretch>
                  <a:fillRect/>
                </a:stretch>
              </p:blipFill>
              <p:spPr>
                <a:xfrm>
                  <a:off x="4910697" y="539918"/>
                  <a:ext cx="85680" cy="874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41" name="Ink 40">
                  <a:extLst>
                    <a:ext uri="{FF2B5EF4-FFF2-40B4-BE49-F238E27FC236}">
                      <a16:creationId xmlns:a16="http://schemas.microsoft.com/office/drawing/2014/main" id="{9B996CA9-706D-4868-8DFB-7818048A6F32}"/>
                    </a:ext>
                  </a:extLst>
                </p14:cNvPr>
                <p14:cNvContentPartPr/>
                <p14:nvPr/>
              </p14:nvContentPartPr>
              <p14:xfrm>
                <a:off x="4951017" y="467558"/>
                <a:ext cx="18720" cy="55080"/>
              </p14:xfrm>
            </p:contentPart>
          </mc:Choice>
          <mc:Fallback xmlns="">
            <p:pic>
              <p:nvPicPr>
                <p:cNvPr id="41" name="Ink 40">
                  <a:extLst>
                    <a:ext uri="{FF2B5EF4-FFF2-40B4-BE49-F238E27FC236}">
                      <a16:creationId xmlns:a16="http://schemas.microsoft.com/office/drawing/2014/main" id="{9B996CA9-706D-4868-8DFB-7818048A6F32}"/>
                    </a:ext>
                  </a:extLst>
                </p:cNvPr>
                <p:cNvPicPr/>
                <p:nvPr/>
              </p:nvPicPr>
              <p:blipFill>
                <a:blip r:embed="rId8"/>
                <a:stretch>
                  <a:fillRect/>
                </a:stretch>
              </p:blipFill>
              <p:spPr>
                <a:xfrm>
                  <a:off x="4946697" y="463238"/>
                  <a:ext cx="27360" cy="63720"/>
                </a:xfrm>
                <a:prstGeom prst="rect">
                  <a:avLst/>
                </a:prstGeom>
              </p:spPr>
            </p:pic>
          </mc:Fallback>
        </mc:AlternateContent>
      </p:grpSp>
      <p:grpSp>
        <p:nvGrpSpPr>
          <p:cNvPr id="46" name="Group 45">
            <a:extLst>
              <a:ext uri="{FF2B5EF4-FFF2-40B4-BE49-F238E27FC236}">
                <a16:creationId xmlns:a16="http://schemas.microsoft.com/office/drawing/2014/main" id="{982482D8-1D90-4954-A22B-C99127ED1CC2}"/>
              </a:ext>
            </a:extLst>
          </p:cNvPr>
          <p:cNvGrpSpPr/>
          <p:nvPr/>
        </p:nvGrpSpPr>
        <p:grpSpPr>
          <a:xfrm>
            <a:off x="5101857" y="481238"/>
            <a:ext cx="98640" cy="162720"/>
            <a:chOff x="5101857" y="481238"/>
            <a:chExt cx="98640" cy="1627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6A7A2615-AD9A-4AAB-8E31-8819C563683E}"/>
                    </a:ext>
                  </a:extLst>
                </p14:cNvPr>
                <p14:cNvContentPartPr/>
                <p14:nvPr/>
              </p14:nvContentPartPr>
              <p14:xfrm>
                <a:off x="5101857" y="578798"/>
                <a:ext cx="48240" cy="65160"/>
              </p14:xfrm>
            </p:contentPart>
          </mc:Choice>
          <mc:Fallback xmlns="">
            <p:pic>
              <p:nvPicPr>
                <p:cNvPr id="10" name="Ink 9">
                  <a:extLst>
                    <a:ext uri="{FF2B5EF4-FFF2-40B4-BE49-F238E27FC236}">
                      <a16:creationId xmlns:a16="http://schemas.microsoft.com/office/drawing/2014/main" id="{6A7A2615-AD9A-4AAB-8E31-8819C563683E}"/>
                    </a:ext>
                  </a:extLst>
                </p:cNvPr>
                <p:cNvPicPr/>
                <p:nvPr/>
              </p:nvPicPr>
              <p:blipFill>
                <a:blip r:embed="rId10"/>
                <a:stretch>
                  <a:fillRect/>
                </a:stretch>
              </p:blipFill>
              <p:spPr>
                <a:xfrm>
                  <a:off x="5097537" y="574478"/>
                  <a:ext cx="5688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9E501B2A-6CC0-4031-974F-93C2E718C905}"/>
                    </a:ext>
                  </a:extLst>
                </p14:cNvPr>
                <p14:cNvContentPartPr/>
                <p14:nvPr/>
              </p14:nvContentPartPr>
              <p14:xfrm>
                <a:off x="5167017" y="579158"/>
                <a:ext cx="31680" cy="45000"/>
              </p14:xfrm>
            </p:contentPart>
          </mc:Choice>
          <mc:Fallback xmlns="">
            <p:pic>
              <p:nvPicPr>
                <p:cNvPr id="11" name="Ink 10">
                  <a:extLst>
                    <a:ext uri="{FF2B5EF4-FFF2-40B4-BE49-F238E27FC236}">
                      <a16:creationId xmlns:a16="http://schemas.microsoft.com/office/drawing/2014/main" id="{9E501B2A-6CC0-4031-974F-93C2E718C905}"/>
                    </a:ext>
                  </a:extLst>
                </p:cNvPr>
                <p:cNvPicPr/>
                <p:nvPr/>
              </p:nvPicPr>
              <p:blipFill>
                <a:blip r:embed="rId12"/>
                <a:stretch>
                  <a:fillRect/>
                </a:stretch>
              </p:blipFill>
              <p:spPr>
                <a:xfrm>
                  <a:off x="5162697" y="574838"/>
                  <a:ext cx="4032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42" name="Ink 41">
                  <a:extLst>
                    <a:ext uri="{FF2B5EF4-FFF2-40B4-BE49-F238E27FC236}">
                      <a16:creationId xmlns:a16="http://schemas.microsoft.com/office/drawing/2014/main" id="{3B6C7FA6-96D7-4628-BDF7-0A7E1758641E}"/>
                    </a:ext>
                  </a:extLst>
                </p14:cNvPr>
                <p14:cNvContentPartPr/>
                <p14:nvPr/>
              </p14:nvContentPartPr>
              <p14:xfrm>
                <a:off x="5193657" y="481238"/>
                <a:ext cx="6840" cy="25920"/>
              </p14:xfrm>
            </p:contentPart>
          </mc:Choice>
          <mc:Fallback xmlns="">
            <p:pic>
              <p:nvPicPr>
                <p:cNvPr id="42" name="Ink 41">
                  <a:extLst>
                    <a:ext uri="{FF2B5EF4-FFF2-40B4-BE49-F238E27FC236}">
                      <a16:creationId xmlns:a16="http://schemas.microsoft.com/office/drawing/2014/main" id="{3B6C7FA6-96D7-4628-BDF7-0A7E1758641E}"/>
                    </a:ext>
                  </a:extLst>
                </p:cNvPr>
                <p:cNvPicPr/>
                <p:nvPr/>
              </p:nvPicPr>
              <p:blipFill>
                <a:blip r:embed="rId14"/>
                <a:stretch>
                  <a:fillRect/>
                </a:stretch>
              </p:blipFill>
              <p:spPr>
                <a:xfrm>
                  <a:off x="5189337" y="476918"/>
                  <a:ext cx="15480" cy="34560"/>
                </a:xfrm>
                <a:prstGeom prst="rect">
                  <a:avLst/>
                </a:prstGeom>
              </p:spPr>
            </p:pic>
          </mc:Fallback>
        </mc:AlternateContent>
      </p:grpSp>
      <p:grpSp>
        <p:nvGrpSpPr>
          <p:cNvPr id="87" name="Group 86">
            <a:extLst>
              <a:ext uri="{FF2B5EF4-FFF2-40B4-BE49-F238E27FC236}">
                <a16:creationId xmlns:a16="http://schemas.microsoft.com/office/drawing/2014/main" id="{BE899715-DE73-45A2-8FA6-329D11A9AB88}"/>
              </a:ext>
            </a:extLst>
          </p:cNvPr>
          <p:cNvGrpSpPr/>
          <p:nvPr/>
        </p:nvGrpSpPr>
        <p:grpSpPr>
          <a:xfrm>
            <a:off x="5362137" y="467558"/>
            <a:ext cx="968040" cy="189360"/>
            <a:chOff x="5362137" y="467558"/>
            <a:chExt cx="968040" cy="189360"/>
          </a:xfrm>
        </p:grpSpPr>
        <mc:AlternateContent xmlns:mc="http://schemas.openxmlformats.org/markup-compatibility/2006" xmlns:p14="http://schemas.microsoft.com/office/powerpoint/2010/main">
          <mc:Choice Requires="p14">
            <p:contentPart p14:bwMode="auto" r:id="rId15">
              <p14:nvContentPartPr>
                <p14:cNvPr id="58" name="Ink 57">
                  <a:extLst>
                    <a:ext uri="{FF2B5EF4-FFF2-40B4-BE49-F238E27FC236}">
                      <a16:creationId xmlns:a16="http://schemas.microsoft.com/office/drawing/2014/main" id="{1C92FB37-4929-4EFC-A012-AF8F501A4E2F}"/>
                    </a:ext>
                  </a:extLst>
                </p14:cNvPr>
                <p14:cNvContentPartPr/>
                <p14:nvPr/>
              </p14:nvContentPartPr>
              <p14:xfrm>
                <a:off x="5362137" y="565118"/>
                <a:ext cx="52920" cy="91800"/>
              </p14:xfrm>
            </p:contentPart>
          </mc:Choice>
          <mc:Fallback xmlns="">
            <p:pic>
              <p:nvPicPr>
                <p:cNvPr id="58" name="Ink 57">
                  <a:extLst>
                    <a:ext uri="{FF2B5EF4-FFF2-40B4-BE49-F238E27FC236}">
                      <a16:creationId xmlns:a16="http://schemas.microsoft.com/office/drawing/2014/main" id="{1C92FB37-4929-4EFC-A012-AF8F501A4E2F}"/>
                    </a:ext>
                  </a:extLst>
                </p:cNvPr>
                <p:cNvPicPr/>
                <p:nvPr/>
              </p:nvPicPr>
              <p:blipFill>
                <a:blip r:embed="rId16"/>
                <a:stretch>
                  <a:fillRect/>
                </a:stretch>
              </p:blipFill>
              <p:spPr>
                <a:xfrm>
                  <a:off x="5357817" y="560798"/>
                  <a:ext cx="61560" cy="10044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59" name="Ink 58">
                  <a:extLst>
                    <a:ext uri="{FF2B5EF4-FFF2-40B4-BE49-F238E27FC236}">
                      <a16:creationId xmlns:a16="http://schemas.microsoft.com/office/drawing/2014/main" id="{2CF6E14A-C62A-4911-B466-F65E664E95BE}"/>
                    </a:ext>
                  </a:extLst>
                </p14:cNvPr>
                <p14:cNvContentPartPr/>
                <p14:nvPr/>
              </p14:nvContentPartPr>
              <p14:xfrm>
                <a:off x="5417217" y="591398"/>
                <a:ext cx="58680" cy="51120"/>
              </p14:xfrm>
            </p:contentPart>
          </mc:Choice>
          <mc:Fallback xmlns="">
            <p:pic>
              <p:nvPicPr>
                <p:cNvPr id="59" name="Ink 58">
                  <a:extLst>
                    <a:ext uri="{FF2B5EF4-FFF2-40B4-BE49-F238E27FC236}">
                      <a16:creationId xmlns:a16="http://schemas.microsoft.com/office/drawing/2014/main" id="{2CF6E14A-C62A-4911-B466-F65E664E95BE}"/>
                    </a:ext>
                  </a:extLst>
                </p:cNvPr>
                <p:cNvPicPr/>
                <p:nvPr/>
              </p:nvPicPr>
              <p:blipFill>
                <a:blip r:embed="rId18"/>
                <a:stretch>
                  <a:fillRect/>
                </a:stretch>
              </p:blipFill>
              <p:spPr>
                <a:xfrm>
                  <a:off x="5412897" y="587078"/>
                  <a:ext cx="67320" cy="5976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60" name="Ink 59">
                  <a:extLst>
                    <a:ext uri="{FF2B5EF4-FFF2-40B4-BE49-F238E27FC236}">
                      <a16:creationId xmlns:a16="http://schemas.microsoft.com/office/drawing/2014/main" id="{55A31FE8-11C6-4F98-8F27-ABE798ED5899}"/>
                    </a:ext>
                  </a:extLst>
                </p14:cNvPr>
                <p14:cNvContentPartPr/>
                <p14:nvPr/>
              </p14:nvContentPartPr>
              <p14:xfrm>
                <a:off x="5554017" y="579158"/>
                <a:ext cx="71280" cy="56880"/>
              </p14:xfrm>
            </p:contentPart>
          </mc:Choice>
          <mc:Fallback xmlns="">
            <p:pic>
              <p:nvPicPr>
                <p:cNvPr id="60" name="Ink 59">
                  <a:extLst>
                    <a:ext uri="{FF2B5EF4-FFF2-40B4-BE49-F238E27FC236}">
                      <a16:creationId xmlns:a16="http://schemas.microsoft.com/office/drawing/2014/main" id="{55A31FE8-11C6-4F98-8F27-ABE798ED5899}"/>
                    </a:ext>
                  </a:extLst>
                </p:cNvPr>
                <p:cNvPicPr/>
                <p:nvPr/>
              </p:nvPicPr>
              <p:blipFill>
                <a:blip r:embed="rId20"/>
                <a:stretch>
                  <a:fillRect/>
                </a:stretch>
              </p:blipFill>
              <p:spPr>
                <a:xfrm>
                  <a:off x="5549697" y="574838"/>
                  <a:ext cx="7992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61" name="Ink 60">
                  <a:extLst>
                    <a:ext uri="{FF2B5EF4-FFF2-40B4-BE49-F238E27FC236}">
                      <a16:creationId xmlns:a16="http://schemas.microsoft.com/office/drawing/2014/main" id="{66CD1D88-B354-4D51-B6E2-2FB10B3EB2BB}"/>
                    </a:ext>
                  </a:extLst>
                </p14:cNvPr>
                <p14:cNvContentPartPr/>
                <p14:nvPr/>
              </p14:nvContentPartPr>
              <p14:xfrm>
                <a:off x="5569497" y="585638"/>
                <a:ext cx="14760" cy="62640"/>
              </p14:xfrm>
            </p:contentPart>
          </mc:Choice>
          <mc:Fallback xmlns="">
            <p:pic>
              <p:nvPicPr>
                <p:cNvPr id="61" name="Ink 60">
                  <a:extLst>
                    <a:ext uri="{FF2B5EF4-FFF2-40B4-BE49-F238E27FC236}">
                      <a16:creationId xmlns:a16="http://schemas.microsoft.com/office/drawing/2014/main" id="{66CD1D88-B354-4D51-B6E2-2FB10B3EB2BB}"/>
                    </a:ext>
                  </a:extLst>
                </p:cNvPr>
                <p:cNvPicPr/>
                <p:nvPr/>
              </p:nvPicPr>
              <p:blipFill>
                <a:blip r:embed="rId22"/>
                <a:stretch>
                  <a:fillRect/>
                </a:stretch>
              </p:blipFill>
              <p:spPr>
                <a:xfrm>
                  <a:off x="5565177" y="581318"/>
                  <a:ext cx="23400" cy="71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62" name="Ink 61">
                  <a:extLst>
                    <a:ext uri="{FF2B5EF4-FFF2-40B4-BE49-F238E27FC236}">
                      <a16:creationId xmlns:a16="http://schemas.microsoft.com/office/drawing/2014/main" id="{08D5FAAD-DCEA-4BCC-89E5-1F42BE1A5F81}"/>
                    </a:ext>
                  </a:extLst>
                </p14:cNvPr>
                <p14:cNvContentPartPr/>
                <p14:nvPr/>
              </p14:nvContentPartPr>
              <p14:xfrm>
                <a:off x="5633217" y="591758"/>
                <a:ext cx="41760" cy="41400"/>
              </p14:xfrm>
            </p:contentPart>
          </mc:Choice>
          <mc:Fallback xmlns="">
            <p:pic>
              <p:nvPicPr>
                <p:cNvPr id="62" name="Ink 61">
                  <a:extLst>
                    <a:ext uri="{FF2B5EF4-FFF2-40B4-BE49-F238E27FC236}">
                      <a16:creationId xmlns:a16="http://schemas.microsoft.com/office/drawing/2014/main" id="{08D5FAAD-DCEA-4BCC-89E5-1F42BE1A5F81}"/>
                    </a:ext>
                  </a:extLst>
                </p:cNvPr>
                <p:cNvPicPr/>
                <p:nvPr/>
              </p:nvPicPr>
              <p:blipFill>
                <a:blip r:embed="rId24"/>
                <a:stretch>
                  <a:fillRect/>
                </a:stretch>
              </p:blipFill>
              <p:spPr>
                <a:xfrm>
                  <a:off x="5628897" y="587438"/>
                  <a:ext cx="50400" cy="5004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63" name="Ink 62">
                  <a:extLst>
                    <a:ext uri="{FF2B5EF4-FFF2-40B4-BE49-F238E27FC236}">
                      <a16:creationId xmlns:a16="http://schemas.microsoft.com/office/drawing/2014/main" id="{53C08174-945B-4BD7-8DBB-33A9EFB19EAF}"/>
                    </a:ext>
                  </a:extLst>
                </p14:cNvPr>
                <p14:cNvContentPartPr/>
                <p14:nvPr/>
              </p14:nvContentPartPr>
              <p14:xfrm>
                <a:off x="5742297" y="571958"/>
                <a:ext cx="57240" cy="64440"/>
              </p14:xfrm>
            </p:contentPart>
          </mc:Choice>
          <mc:Fallback xmlns="">
            <p:pic>
              <p:nvPicPr>
                <p:cNvPr id="63" name="Ink 62">
                  <a:extLst>
                    <a:ext uri="{FF2B5EF4-FFF2-40B4-BE49-F238E27FC236}">
                      <a16:creationId xmlns:a16="http://schemas.microsoft.com/office/drawing/2014/main" id="{53C08174-945B-4BD7-8DBB-33A9EFB19EAF}"/>
                    </a:ext>
                  </a:extLst>
                </p:cNvPr>
                <p:cNvPicPr/>
                <p:nvPr/>
              </p:nvPicPr>
              <p:blipFill>
                <a:blip r:embed="rId26"/>
                <a:stretch>
                  <a:fillRect/>
                </a:stretch>
              </p:blipFill>
              <p:spPr>
                <a:xfrm>
                  <a:off x="5737977" y="567638"/>
                  <a:ext cx="65880" cy="7308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64" name="Ink 63">
                  <a:extLst>
                    <a:ext uri="{FF2B5EF4-FFF2-40B4-BE49-F238E27FC236}">
                      <a16:creationId xmlns:a16="http://schemas.microsoft.com/office/drawing/2014/main" id="{771DF10D-FBE2-4B4F-9839-00AEDD219109}"/>
                    </a:ext>
                  </a:extLst>
                </p14:cNvPr>
                <p14:cNvContentPartPr/>
                <p14:nvPr/>
              </p14:nvContentPartPr>
              <p14:xfrm>
                <a:off x="5751297" y="585638"/>
                <a:ext cx="35280" cy="69840"/>
              </p14:xfrm>
            </p:contentPart>
          </mc:Choice>
          <mc:Fallback xmlns="">
            <p:pic>
              <p:nvPicPr>
                <p:cNvPr id="64" name="Ink 63">
                  <a:extLst>
                    <a:ext uri="{FF2B5EF4-FFF2-40B4-BE49-F238E27FC236}">
                      <a16:creationId xmlns:a16="http://schemas.microsoft.com/office/drawing/2014/main" id="{771DF10D-FBE2-4B4F-9839-00AEDD219109}"/>
                    </a:ext>
                  </a:extLst>
                </p:cNvPr>
                <p:cNvPicPr/>
                <p:nvPr/>
              </p:nvPicPr>
              <p:blipFill>
                <a:blip r:embed="rId28"/>
                <a:stretch>
                  <a:fillRect/>
                </a:stretch>
              </p:blipFill>
              <p:spPr>
                <a:xfrm>
                  <a:off x="5746977" y="581318"/>
                  <a:ext cx="43920" cy="7848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66" name="Ink 65">
                  <a:extLst>
                    <a:ext uri="{FF2B5EF4-FFF2-40B4-BE49-F238E27FC236}">
                      <a16:creationId xmlns:a16="http://schemas.microsoft.com/office/drawing/2014/main" id="{C9C10218-810B-408D-A478-9C45A80BFE58}"/>
                    </a:ext>
                  </a:extLst>
                </p14:cNvPr>
                <p14:cNvContentPartPr/>
                <p14:nvPr/>
              </p14:nvContentPartPr>
              <p14:xfrm>
                <a:off x="5799177" y="579878"/>
                <a:ext cx="43200" cy="67320"/>
              </p14:xfrm>
            </p:contentPart>
          </mc:Choice>
          <mc:Fallback xmlns="">
            <p:pic>
              <p:nvPicPr>
                <p:cNvPr id="66" name="Ink 65">
                  <a:extLst>
                    <a:ext uri="{FF2B5EF4-FFF2-40B4-BE49-F238E27FC236}">
                      <a16:creationId xmlns:a16="http://schemas.microsoft.com/office/drawing/2014/main" id="{C9C10218-810B-408D-A478-9C45A80BFE58}"/>
                    </a:ext>
                  </a:extLst>
                </p:cNvPr>
                <p:cNvPicPr/>
                <p:nvPr/>
              </p:nvPicPr>
              <p:blipFill>
                <a:blip r:embed="rId30"/>
                <a:stretch>
                  <a:fillRect/>
                </a:stretch>
              </p:blipFill>
              <p:spPr>
                <a:xfrm>
                  <a:off x="5794857" y="575558"/>
                  <a:ext cx="51840" cy="759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67" name="Ink 66">
                  <a:extLst>
                    <a:ext uri="{FF2B5EF4-FFF2-40B4-BE49-F238E27FC236}">
                      <a16:creationId xmlns:a16="http://schemas.microsoft.com/office/drawing/2014/main" id="{4A5320AB-ACE0-42B9-8CEE-B6AF94A19CEB}"/>
                    </a:ext>
                  </a:extLst>
                </p14:cNvPr>
                <p14:cNvContentPartPr/>
                <p14:nvPr/>
              </p14:nvContentPartPr>
              <p14:xfrm>
                <a:off x="5907897" y="579518"/>
                <a:ext cx="39240" cy="63360"/>
              </p14:xfrm>
            </p:contentPart>
          </mc:Choice>
          <mc:Fallback xmlns="">
            <p:pic>
              <p:nvPicPr>
                <p:cNvPr id="67" name="Ink 66">
                  <a:extLst>
                    <a:ext uri="{FF2B5EF4-FFF2-40B4-BE49-F238E27FC236}">
                      <a16:creationId xmlns:a16="http://schemas.microsoft.com/office/drawing/2014/main" id="{4A5320AB-ACE0-42B9-8CEE-B6AF94A19CEB}"/>
                    </a:ext>
                  </a:extLst>
                </p:cNvPr>
                <p:cNvPicPr/>
                <p:nvPr/>
              </p:nvPicPr>
              <p:blipFill>
                <a:blip r:embed="rId32"/>
                <a:stretch>
                  <a:fillRect/>
                </a:stretch>
              </p:blipFill>
              <p:spPr>
                <a:xfrm>
                  <a:off x="5903577" y="575198"/>
                  <a:ext cx="4788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74" name="Ink 73">
                  <a:extLst>
                    <a:ext uri="{FF2B5EF4-FFF2-40B4-BE49-F238E27FC236}">
                      <a16:creationId xmlns:a16="http://schemas.microsoft.com/office/drawing/2014/main" id="{00B0BCB6-8EC9-4F42-B0A8-C2AB6F5F6645}"/>
                    </a:ext>
                  </a:extLst>
                </p14:cNvPr>
                <p14:cNvContentPartPr/>
                <p14:nvPr/>
              </p14:nvContentPartPr>
              <p14:xfrm>
                <a:off x="5938857" y="591758"/>
                <a:ext cx="60840" cy="47520"/>
              </p14:xfrm>
            </p:contentPart>
          </mc:Choice>
          <mc:Fallback xmlns="">
            <p:pic>
              <p:nvPicPr>
                <p:cNvPr id="74" name="Ink 73">
                  <a:extLst>
                    <a:ext uri="{FF2B5EF4-FFF2-40B4-BE49-F238E27FC236}">
                      <a16:creationId xmlns:a16="http://schemas.microsoft.com/office/drawing/2014/main" id="{00B0BCB6-8EC9-4F42-B0A8-C2AB6F5F6645}"/>
                    </a:ext>
                  </a:extLst>
                </p:cNvPr>
                <p:cNvPicPr/>
                <p:nvPr/>
              </p:nvPicPr>
              <p:blipFill>
                <a:blip r:embed="rId34"/>
                <a:stretch>
                  <a:fillRect/>
                </a:stretch>
              </p:blipFill>
              <p:spPr>
                <a:xfrm>
                  <a:off x="5934537" y="587438"/>
                  <a:ext cx="69480" cy="5616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75" name="Ink 74">
                  <a:extLst>
                    <a:ext uri="{FF2B5EF4-FFF2-40B4-BE49-F238E27FC236}">
                      <a16:creationId xmlns:a16="http://schemas.microsoft.com/office/drawing/2014/main" id="{0BCC5110-0248-442B-8722-498CC887E825}"/>
                    </a:ext>
                  </a:extLst>
                </p14:cNvPr>
                <p14:cNvContentPartPr/>
                <p14:nvPr/>
              </p14:nvContentPartPr>
              <p14:xfrm>
                <a:off x="6033177" y="579158"/>
                <a:ext cx="30240" cy="70920"/>
              </p14:xfrm>
            </p:contentPart>
          </mc:Choice>
          <mc:Fallback xmlns="">
            <p:pic>
              <p:nvPicPr>
                <p:cNvPr id="75" name="Ink 74">
                  <a:extLst>
                    <a:ext uri="{FF2B5EF4-FFF2-40B4-BE49-F238E27FC236}">
                      <a16:creationId xmlns:a16="http://schemas.microsoft.com/office/drawing/2014/main" id="{0BCC5110-0248-442B-8722-498CC887E825}"/>
                    </a:ext>
                  </a:extLst>
                </p:cNvPr>
                <p:cNvPicPr/>
                <p:nvPr/>
              </p:nvPicPr>
              <p:blipFill>
                <a:blip r:embed="rId36"/>
                <a:stretch>
                  <a:fillRect/>
                </a:stretch>
              </p:blipFill>
              <p:spPr>
                <a:xfrm>
                  <a:off x="6028857" y="574838"/>
                  <a:ext cx="38880" cy="7956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76" name="Ink 75">
                  <a:extLst>
                    <a:ext uri="{FF2B5EF4-FFF2-40B4-BE49-F238E27FC236}">
                      <a16:creationId xmlns:a16="http://schemas.microsoft.com/office/drawing/2014/main" id="{92FC619D-B485-4E90-B3E0-8AECA820C898}"/>
                    </a:ext>
                  </a:extLst>
                </p14:cNvPr>
                <p14:cNvContentPartPr/>
                <p14:nvPr/>
              </p14:nvContentPartPr>
              <p14:xfrm>
                <a:off x="6080697" y="585638"/>
                <a:ext cx="38880" cy="71280"/>
              </p14:xfrm>
            </p:contentPart>
          </mc:Choice>
          <mc:Fallback xmlns="">
            <p:pic>
              <p:nvPicPr>
                <p:cNvPr id="76" name="Ink 75">
                  <a:extLst>
                    <a:ext uri="{FF2B5EF4-FFF2-40B4-BE49-F238E27FC236}">
                      <a16:creationId xmlns:a16="http://schemas.microsoft.com/office/drawing/2014/main" id="{92FC619D-B485-4E90-B3E0-8AECA820C898}"/>
                    </a:ext>
                  </a:extLst>
                </p:cNvPr>
                <p:cNvPicPr/>
                <p:nvPr/>
              </p:nvPicPr>
              <p:blipFill>
                <a:blip r:embed="rId38"/>
                <a:stretch>
                  <a:fillRect/>
                </a:stretch>
              </p:blipFill>
              <p:spPr>
                <a:xfrm>
                  <a:off x="6076377" y="581318"/>
                  <a:ext cx="4752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77" name="Ink 76">
                  <a:extLst>
                    <a:ext uri="{FF2B5EF4-FFF2-40B4-BE49-F238E27FC236}">
                      <a16:creationId xmlns:a16="http://schemas.microsoft.com/office/drawing/2014/main" id="{3CA57AE4-A6DD-4006-B027-81D1EE7200BE}"/>
                    </a:ext>
                  </a:extLst>
                </p14:cNvPr>
                <p14:cNvContentPartPr/>
                <p14:nvPr/>
              </p14:nvContentPartPr>
              <p14:xfrm>
                <a:off x="6184737" y="571958"/>
                <a:ext cx="41400" cy="83880"/>
              </p14:xfrm>
            </p:contentPart>
          </mc:Choice>
          <mc:Fallback xmlns="">
            <p:pic>
              <p:nvPicPr>
                <p:cNvPr id="77" name="Ink 76">
                  <a:extLst>
                    <a:ext uri="{FF2B5EF4-FFF2-40B4-BE49-F238E27FC236}">
                      <a16:creationId xmlns:a16="http://schemas.microsoft.com/office/drawing/2014/main" id="{3CA57AE4-A6DD-4006-B027-81D1EE7200BE}"/>
                    </a:ext>
                  </a:extLst>
                </p:cNvPr>
                <p:cNvPicPr/>
                <p:nvPr/>
              </p:nvPicPr>
              <p:blipFill>
                <a:blip r:embed="rId40"/>
                <a:stretch>
                  <a:fillRect/>
                </a:stretch>
              </p:blipFill>
              <p:spPr>
                <a:xfrm>
                  <a:off x="6180417" y="567638"/>
                  <a:ext cx="50040" cy="9252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78" name="Ink 77">
                  <a:extLst>
                    <a:ext uri="{FF2B5EF4-FFF2-40B4-BE49-F238E27FC236}">
                      <a16:creationId xmlns:a16="http://schemas.microsoft.com/office/drawing/2014/main" id="{6B9CD26D-6AD1-4532-B19F-0E7E657094B6}"/>
                    </a:ext>
                  </a:extLst>
                </p14:cNvPr>
                <p14:cNvContentPartPr/>
                <p14:nvPr/>
              </p14:nvContentPartPr>
              <p14:xfrm>
                <a:off x="6275817" y="570518"/>
                <a:ext cx="54360" cy="57600"/>
              </p14:xfrm>
            </p:contentPart>
          </mc:Choice>
          <mc:Fallback xmlns="">
            <p:pic>
              <p:nvPicPr>
                <p:cNvPr id="78" name="Ink 77">
                  <a:extLst>
                    <a:ext uri="{FF2B5EF4-FFF2-40B4-BE49-F238E27FC236}">
                      <a16:creationId xmlns:a16="http://schemas.microsoft.com/office/drawing/2014/main" id="{6B9CD26D-6AD1-4532-B19F-0E7E657094B6}"/>
                    </a:ext>
                  </a:extLst>
                </p:cNvPr>
                <p:cNvPicPr/>
                <p:nvPr/>
              </p:nvPicPr>
              <p:blipFill>
                <a:blip r:embed="rId42"/>
                <a:stretch>
                  <a:fillRect/>
                </a:stretch>
              </p:blipFill>
              <p:spPr>
                <a:xfrm>
                  <a:off x="6271497" y="566198"/>
                  <a:ext cx="6300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80" name="Ink 79">
                  <a:extLst>
                    <a:ext uri="{FF2B5EF4-FFF2-40B4-BE49-F238E27FC236}">
                      <a16:creationId xmlns:a16="http://schemas.microsoft.com/office/drawing/2014/main" id="{6530AB09-30BA-480D-ACAF-C1EF8C7C5174}"/>
                    </a:ext>
                  </a:extLst>
                </p14:cNvPr>
                <p14:cNvContentPartPr/>
                <p14:nvPr/>
              </p14:nvContentPartPr>
              <p14:xfrm>
                <a:off x="5403537" y="488078"/>
                <a:ext cx="12960" cy="42480"/>
              </p14:xfrm>
            </p:contentPart>
          </mc:Choice>
          <mc:Fallback xmlns="">
            <p:pic>
              <p:nvPicPr>
                <p:cNvPr id="80" name="Ink 79">
                  <a:extLst>
                    <a:ext uri="{FF2B5EF4-FFF2-40B4-BE49-F238E27FC236}">
                      <a16:creationId xmlns:a16="http://schemas.microsoft.com/office/drawing/2014/main" id="{6530AB09-30BA-480D-ACAF-C1EF8C7C5174}"/>
                    </a:ext>
                  </a:extLst>
                </p:cNvPr>
                <p:cNvPicPr/>
                <p:nvPr/>
              </p:nvPicPr>
              <p:blipFill>
                <a:blip r:embed="rId44"/>
                <a:stretch>
                  <a:fillRect/>
                </a:stretch>
              </p:blipFill>
              <p:spPr>
                <a:xfrm>
                  <a:off x="5399217" y="483758"/>
                  <a:ext cx="21600" cy="511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81" name="Ink 80">
                  <a:extLst>
                    <a:ext uri="{FF2B5EF4-FFF2-40B4-BE49-F238E27FC236}">
                      <a16:creationId xmlns:a16="http://schemas.microsoft.com/office/drawing/2014/main" id="{EEEA03DF-C400-49B5-B6B4-DE12FFCF3067}"/>
                    </a:ext>
                  </a:extLst>
                </p14:cNvPr>
                <p14:cNvContentPartPr/>
                <p14:nvPr/>
              </p14:nvContentPartPr>
              <p14:xfrm>
                <a:off x="5601897" y="467558"/>
                <a:ext cx="30960" cy="60120"/>
              </p14:xfrm>
            </p:contentPart>
          </mc:Choice>
          <mc:Fallback xmlns="">
            <p:pic>
              <p:nvPicPr>
                <p:cNvPr id="81" name="Ink 80">
                  <a:extLst>
                    <a:ext uri="{FF2B5EF4-FFF2-40B4-BE49-F238E27FC236}">
                      <a16:creationId xmlns:a16="http://schemas.microsoft.com/office/drawing/2014/main" id="{EEEA03DF-C400-49B5-B6B4-DE12FFCF3067}"/>
                    </a:ext>
                  </a:extLst>
                </p:cNvPr>
                <p:cNvPicPr/>
                <p:nvPr/>
              </p:nvPicPr>
              <p:blipFill>
                <a:blip r:embed="rId46"/>
                <a:stretch>
                  <a:fillRect/>
                </a:stretch>
              </p:blipFill>
              <p:spPr>
                <a:xfrm>
                  <a:off x="5597577" y="463238"/>
                  <a:ext cx="3960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83" name="Ink 82">
                  <a:extLst>
                    <a:ext uri="{FF2B5EF4-FFF2-40B4-BE49-F238E27FC236}">
                      <a16:creationId xmlns:a16="http://schemas.microsoft.com/office/drawing/2014/main" id="{3E6AF700-05E3-40AC-B9BF-C5CAC48AAEA3}"/>
                    </a:ext>
                  </a:extLst>
                </p14:cNvPr>
                <p14:cNvContentPartPr/>
                <p14:nvPr/>
              </p14:nvContentPartPr>
              <p14:xfrm>
                <a:off x="5753457" y="474038"/>
                <a:ext cx="19440" cy="40680"/>
              </p14:xfrm>
            </p:contentPart>
          </mc:Choice>
          <mc:Fallback xmlns="">
            <p:pic>
              <p:nvPicPr>
                <p:cNvPr id="83" name="Ink 82">
                  <a:extLst>
                    <a:ext uri="{FF2B5EF4-FFF2-40B4-BE49-F238E27FC236}">
                      <a16:creationId xmlns:a16="http://schemas.microsoft.com/office/drawing/2014/main" id="{3E6AF700-05E3-40AC-B9BF-C5CAC48AAEA3}"/>
                    </a:ext>
                  </a:extLst>
                </p:cNvPr>
                <p:cNvPicPr/>
                <p:nvPr/>
              </p:nvPicPr>
              <p:blipFill>
                <a:blip r:embed="rId48"/>
                <a:stretch>
                  <a:fillRect/>
                </a:stretch>
              </p:blipFill>
              <p:spPr>
                <a:xfrm>
                  <a:off x="5749137" y="469718"/>
                  <a:ext cx="28080" cy="4932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84" name="Ink 83">
                  <a:extLst>
                    <a:ext uri="{FF2B5EF4-FFF2-40B4-BE49-F238E27FC236}">
                      <a16:creationId xmlns:a16="http://schemas.microsoft.com/office/drawing/2014/main" id="{A8A67852-4FC8-4A1B-BFC5-7BC96AE98734}"/>
                    </a:ext>
                  </a:extLst>
                </p14:cNvPr>
                <p14:cNvContentPartPr/>
                <p14:nvPr/>
              </p14:nvContentPartPr>
              <p14:xfrm>
                <a:off x="5924097" y="474038"/>
                <a:ext cx="30240" cy="45000"/>
              </p14:xfrm>
            </p:contentPart>
          </mc:Choice>
          <mc:Fallback xmlns="">
            <p:pic>
              <p:nvPicPr>
                <p:cNvPr id="84" name="Ink 83">
                  <a:extLst>
                    <a:ext uri="{FF2B5EF4-FFF2-40B4-BE49-F238E27FC236}">
                      <a16:creationId xmlns:a16="http://schemas.microsoft.com/office/drawing/2014/main" id="{A8A67852-4FC8-4A1B-BFC5-7BC96AE98734}"/>
                    </a:ext>
                  </a:extLst>
                </p:cNvPr>
                <p:cNvPicPr/>
                <p:nvPr/>
              </p:nvPicPr>
              <p:blipFill>
                <a:blip r:embed="rId50"/>
                <a:stretch>
                  <a:fillRect/>
                </a:stretch>
              </p:blipFill>
              <p:spPr>
                <a:xfrm>
                  <a:off x="5919777" y="469718"/>
                  <a:ext cx="3888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85" name="Ink 84">
                  <a:extLst>
                    <a:ext uri="{FF2B5EF4-FFF2-40B4-BE49-F238E27FC236}">
                      <a16:creationId xmlns:a16="http://schemas.microsoft.com/office/drawing/2014/main" id="{17841811-E690-48A7-8A5F-C653A3F5B096}"/>
                    </a:ext>
                  </a:extLst>
                </p14:cNvPr>
                <p14:cNvContentPartPr/>
                <p14:nvPr/>
              </p14:nvContentPartPr>
              <p14:xfrm>
                <a:off x="6050097" y="467558"/>
                <a:ext cx="15840" cy="34920"/>
              </p14:xfrm>
            </p:contentPart>
          </mc:Choice>
          <mc:Fallback xmlns="">
            <p:pic>
              <p:nvPicPr>
                <p:cNvPr id="85" name="Ink 84">
                  <a:extLst>
                    <a:ext uri="{FF2B5EF4-FFF2-40B4-BE49-F238E27FC236}">
                      <a16:creationId xmlns:a16="http://schemas.microsoft.com/office/drawing/2014/main" id="{17841811-E690-48A7-8A5F-C653A3F5B096}"/>
                    </a:ext>
                  </a:extLst>
                </p:cNvPr>
                <p:cNvPicPr/>
                <p:nvPr/>
              </p:nvPicPr>
              <p:blipFill>
                <a:blip r:embed="rId52"/>
                <a:stretch>
                  <a:fillRect/>
                </a:stretch>
              </p:blipFill>
              <p:spPr>
                <a:xfrm>
                  <a:off x="6045777" y="463238"/>
                  <a:ext cx="24480" cy="4356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86" name="Ink 85">
                  <a:extLst>
                    <a:ext uri="{FF2B5EF4-FFF2-40B4-BE49-F238E27FC236}">
                      <a16:creationId xmlns:a16="http://schemas.microsoft.com/office/drawing/2014/main" id="{598E7D38-5775-453A-934C-67C20A90A171}"/>
                    </a:ext>
                  </a:extLst>
                </p14:cNvPr>
                <p14:cNvContentPartPr/>
                <p14:nvPr/>
              </p14:nvContentPartPr>
              <p14:xfrm>
                <a:off x="6216057" y="481238"/>
                <a:ext cx="10080" cy="25560"/>
              </p14:xfrm>
            </p:contentPart>
          </mc:Choice>
          <mc:Fallback xmlns="">
            <p:pic>
              <p:nvPicPr>
                <p:cNvPr id="86" name="Ink 85">
                  <a:extLst>
                    <a:ext uri="{FF2B5EF4-FFF2-40B4-BE49-F238E27FC236}">
                      <a16:creationId xmlns:a16="http://schemas.microsoft.com/office/drawing/2014/main" id="{598E7D38-5775-453A-934C-67C20A90A171}"/>
                    </a:ext>
                  </a:extLst>
                </p:cNvPr>
                <p:cNvPicPr/>
                <p:nvPr/>
              </p:nvPicPr>
              <p:blipFill>
                <a:blip r:embed="rId54"/>
                <a:stretch>
                  <a:fillRect/>
                </a:stretch>
              </p:blipFill>
              <p:spPr>
                <a:xfrm>
                  <a:off x="6211737" y="476918"/>
                  <a:ext cx="18720" cy="342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5">
            <p14:nvContentPartPr>
              <p14:cNvPr id="88" name="Ink 87">
                <a:extLst>
                  <a:ext uri="{FF2B5EF4-FFF2-40B4-BE49-F238E27FC236}">
                    <a16:creationId xmlns:a16="http://schemas.microsoft.com/office/drawing/2014/main" id="{531875B8-63FD-453B-B849-5E8E0F9CA4F0}"/>
                  </a:ext>
                </a:extLst>
              </p14:cNvPr>
              <p14:cNvContentPartPr/>
              <p14:nvPr/>
            </p14:nvContentPartPr>
            <p14:xfrm>
              <a:off x="8089857" y="481238"/>
              <a:ext cx="28440" cy="15480"/>
            </p14:xfrm>
          </p:contentPart>
        </mc:Choice>
        <mc:Fallback xmlns="">
          <p:pic>
            <p:nvPicPr>
              <p:cNvPr id="88" name="Ink 87">
                <a:extLst>
                  <a:ext uri="{FF2B5EF4-FFF2-40B4-BE49-F238E27FC236}">
                    <a16:creationId xmlns:a16="http://schemas.microsoft.com/office/drawing/2014/main" id="{531875B8-63FD-453B-B849-5E8E0F9CA4F0}"/>
                  </a:ext>
                </a:extLst>
              </p:cNvPr>
              <p:cNvPicPr/>
              <p:nvPr/>
            </p:nvPicPr>
            <p:blipFill>
              <a:blip r:embed="rId56"/>
              <a:stretch>
                <a:fillRect/>
              </a:stretch>
            </p:blipFill>
            <p:spPr>
              <a:xfrm>
                <a:off x="8085537" y="476918"/>
                <a:ext cx="3708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89" name="Ink 88">
                <a:extLst>
                  <a:ext uri="{FF2B5EF4-FFF2-40B4-BE49-F238E27FC236}">
                    <a16:creationId xmlns:a16="http://schemas.microsoft.com/office/drawing/2014/main" id="{DFB42180-85D5-40A2-98AF-D78C10FE81EE}"/>
                  </a:ext>
                </a:extLst>
              </p14:cNvPr>
              <p14:cNvContentPartPr/>
              <p14:nvPr/>
            </p14:nvContentPartPr>
            <p14:xfrm>
              <a:off x="4665177" y="292958"/>
              <a:ext cx="88560" cy="190080"/>
            </p14:xfrm>
          </p:contentPart>
        </mc:Choice>
        <mc:Fallback xmlns="">
          <p:pic>
            <p:nvPicPr>
              <p:cNvPr id="89" name="Ink 88">
                <a:extLst>
                  <a:ext uri="{FF2B5EF4-FFF2-40B4-BE49-F238E27FC236}">
                    <a16:creationId xmlns:a16="http://schemas.microsoft.com/office/drawing/2014/main" id="{DFB42180-85D5-40A2-98AF-D78C10FE81EE}"/>
                  </a:ext>
                </a:extLst>
              </p:cNvPr>
              <p:cNvPicPr/>
              <p:nvPr/>
            </p:nvPicPr>
            <p:blipFill>
              <a:blip r:embed="rId58"/>
              <a:stretch>
                <a:fillRect/>
              </a:stretch>
            </p:blipFill>
            <p:spPr>
              <a:xfrm>
                <a:off x="4656537" y="283958"/>
                <a:ext cx="106200" cy="20772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90" name="Ink 89">
                <a:extLst>
                  <a:ext uri="{FF2B5EF4-FFF2-40B4-BE49-F238E27FC236}">
                    <a16:creationId xmlns:a16="http://schemas.microsoft.com/office/drawing/2014/main" id="{FE0D606C-C57B-4CF8-A74E-FC2FF7BB3289}"/>
                  </a:ext>
                </a:extLst>
              </p14:cNvPr>
              <p14:cNvContentPartPr/>
              <p14:nvPr/>
            </p14:nvContentPartPr>
            <p14:xfrm>
              <a:off x="4436937" y="591398"/>
              <a:ext cx="94320" cy="87480"/>
            </p14:xfrm>
          </p:contentPart>
        </mc:Choice>
        <mc:Fallback xmlns="">
          <p:pic>
            <p:nvPicPr>
              <p:cNvPr id="90" name="Ink 89">
                <a:extLst>
                  <a:ext uri="{FF2B5EF4-FFF2-40B4-BE49-F238E27FC236}">
                    <a16:creationId xmlns:a16="http://schemas.microsoft.com/office/drawing/2014/main" id="{FE0D606C-C57B-4CF8-A74E-FC2FF7BB3289}"/>
                  </a:ext>
                </a:extLst>
              </p:cNvPr>
              <p:cNvPicPr/>
              <p:nvPr/>
            </p:nvPicPr>
            <p:blipFill>
              <a:blip r:embed="rId60"/>
              <a:stretch>
                <a:fillRect/>
              </a:stretch>
            </p:blipFill>
            <p:spPr>
              <a:xfrm>
                <a:off x="4427937" y="582758"/>
                <a:ext cx="111960" cy="105120"/>
              </a:xfrm>
              <a:prstGeom prst="rect">
                <a:avLst/>
              </a:prstGeom>
            </p:spPr>
          </p:pic>
        </mc:Fallback>
      </mc:AlternateContent>
      <p:sp>
        <p:nvSpPr>
          <p:cNvPr id="97" name="TextBox 96">
            <a:extLst>
              <a:ext uri="{FF2B5EF4-FFF2-40B4-BE49-F238E27FC236}">
                <a16:creationId xmlns:a16="http://schemas.microsoft.com/office/drawing/2014/main" id="{0B7F28F0-CBC9-4D42-8A6B-9EF4C95A95D6}"/>
              </a:ext>
            </a:extLst>
          </p:cNvPr>
          <p:cNvSpPr txBox="1"/>
          <p:nvPr/>
        </p:nvSpPr>
        <p:spPr>
          <a:xfrm>
            <a:off x="223365" y="1225718"/>
            <a:ext cx="6317038"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Values : </a:t>
            </a:r>
            <a:r>
              <a:rPr lang="en-US" sz="1800" dirty="0">
                <a:solidFill>
                  <a:schemeClr val="bg2">
                    <a:lumMod val="50000"/>
                    <a:lumOff val="50000"/>
                  </a:schemeClr>
                </a:solidFill>
                <a:latin typeface="Inter"/>
                <a:cs typeface="Arial" panose="020B0604020202020204" pitchFamily="34" charset="0"/>
              </a:rPr>
              <a:t>10, 20, 30, 40, 44, 44, 45, 50, 55, 60 , 400</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an : </a:t>
            </a:r>
            <a:r>
              <a:rPr lang="en-US" sz="1800" dirty="0">
                <a:solidFill>
                  <a:schemeClr val="bg2">
                    <a:lumMod val="50000"/>
                    <a:lumOff val="50000"/>
                  </a:schemeClr>
                </a:solidFill>
                <a:latin typeface="Inter"/>
                <a:cs typeface="Arial" panose="020B0604020202020204" pitchFamily="34" charset="0"/>
              </a:rPr>
              <a:t>72.5</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dian : </a:t>
            </a:r>
            <a:r>
              <a:rPr lang="en-US" sz="1800" dirty="0">
                <a:solidFill>
                  <a:schemeClr val="bg2">
                    <a:lumMod val="50000"/>
                    <a:lumOff val="50000"/>
                  </a:schemeClr>
                </a:solidFill>
                <a:latin typeface="Inter"/>
                <a:cs typeface="Arial" panose="020B0604020202020204" pitchFamily="34" charset="0"/>
              </a:rPr>
              <a:t>44</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ode : </a:t>
            </a:r>
            <a:r>
              <a:rPr lang="en-US" sz="1800" dirty="0">
                <a:solidFill>
                  <a:schemeClr val="bg2">
                    <a:lumMod val="50000"/>
                    <a:lumOff val="50000"/>
                  </a:schemeClr>
                </a:solidFill>
                <a:latin typeface="Inter"/>
                <a:cs typeface="Arial" panose="020B0604020202020204" pitchFamily="34" charset="0"/>
              </a:rPr>
              <a:t>44</a:t>
            </a:r>
          </a:p>
        </p:txBody>
      </p:sp>
      <p:grpSp>
        <p:nvGrpSpPr>
          <p:cNvPr id="107" name="Group 106">
            <a:extLst>
              <a:ext uri="{FF2B5EF4-FFF2-40B4-BE49-F238E27FC236}">
                <a16:creationId xmlns:a16="http://schemas.microsoft.com/office/drawing/2014/main" id="{B8B535AB-9207-47BE-A1C9-601BB537A3D2}"/>
              </a:ext>
            </a:extLst>
          </p:cNvPr>
          <p:cNvGrpSpPr/>
          <p:nvPr/>
        </p:nvGrpSpPr>
        <p:grpSpPr>
          <a:xfrm>
            <a:off x="7976457" y="585638"/>
            <a:ext cx="263520" cy="139320"/>
            <a:chOff x="7976457" y="585638"/>
            <a:chExt cx="263520" cy="139320"/>
          </a:xfrm>
        </p:grpSpPr>
        <mc:AlternateContent xmlns:mc="http://schemas.openxmlformats.org/markup-compatibility/2006" xmlns:p14="http://schemas.microsoft.com/office/powerpoint/2010/main">
          <mc:Choice Requires="p14">
            <p:contentPart p14:bwMode="auto" r:id="rId61">
              <p14:nvContentPartPr>
                <p14:cNvPr id="103" name="Ink 102">
                  <a:extLst>
                    <a:ext uri="{FF2B5EF4-FFF2-40B4-BE49-F238E27FC236}">
                      <a16:creationId xmlns:a16="http://schemas.microsoft.com/office/drawing/2014/main" id="{42F7E7F6-498A-4924-9E7B-2417E0FEC2F9}"/>
                    </a:ext>
                  </a:extLst>
                </p14:cNvPr>
                <p14:cNvContentPartPr/>
                <p14:nvPr/>
              </p14:nvContentPartPr>
              <p14:xfrm>
                <a:off x="7976457" y="592838"/>
                <a:ext cx="105840" cy="99360"/>
              </p14:xfrm>
            </p:contentPart>
          </mc:Choice>
          <mc:Fallback xmlns="">
            <p:pic>
              <p:nvPicPr>
                <p:cNvPr id="103" name="Ink 102">
                  <a:extLst>
                    <a:ext uri="{FF2B5EF4-FFF2-40B4-BE49-F238E27FC236}">
                      <a16:creationId xmlns:a16="http://schemas.microsoft.com/office/drawing/2014/main" id="{42F7E7F6-498A-4924-9E7B-2417E0FEC2F9}"/>
                    </a:ext>
                  </a:extLst>
                </p:cNvPr>
                <p:cNvPicPr/>
                <p:nvPr/>
              </p:nvPicPr>
              <p:blipFill>
                <a:blip r:embed="rId62"/>
                <a:stretch>
                  <a:fillRect/>
                </a:stretch>
              </p:blipFill>
              <p:spPr>
                <a:xfrm>
                  <a:off x="7972137" y="588518"/>
                  <a:ext cx="114480" cy="10800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104" name="Ink 103">
                  <a:extLst>
                    <a:ext uri="{FF2B5EF4-FFF2-40B4-BE49-F238E27FC236}">
                      <a16:creationId xmlns:a16="http://schemas.microsoft.com/office/drawing/2014/main" id="{E8038FD2-F19F-46A2-B68E-BA4430877E9F}"/>
                    </a:ext>
                  </a:extLst>
                </p14:cNvPr>
                <p14:cNvContentPartPr/>
                <p14:nvPr/>
              </p14:nvContentPartPr>
              <p14:xfrm>
                <a:off x="7999857" y="585638"/>
                <a:ext cx="48240" cy="139320"/>
              </p14:xfrm>
            </p:contentPart>
          </mc:Choice>
          <mc:Fallback xmlns="">
            <p:pic>
              <p:nvPicPr>
                <p:cNvPr id="104" name="Ink 103">
                  <a:extLst>
                    <a:ext uri="{FF2B5EF4-FFF2-40B4-BE49-F238E27FC236}">
                      <a16:creationId xmlns:a16="http://schemas.microsoft.com/office/drawing/2014/main" id="{E8038FD2-F19F-46A2-B68E-BA4430877E9F}"/>
                    </a:ext>
                  </a:extLst>
                </p:cNvPr>
                <p:cNvPicPr/>
                <p:nvPr/>
              </p:nvPicPr>
              <p:blipFill>
                <a:blip r:embed="rId64"/>
                <a:stretch>
                  <a:fillRect/>
                </a:stretch>
              </p:blipFill>
              <p:spPr>
                <a:xfrm>
                  <a:off x="7995537" y="581318"/>
                  <a:ext cx="5688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105" name="Ink 104">
                  <a:extLst>
                    <a:ext uri="{FF2B5EF4-FFF2-40B4-BE49-F238E27FC236}">
                      <a16:creationId xmlns:a16="http://schemas.microsoft.com/office/drawing/2014/main" id="{3624B60D-70CE-4C57-BB13-CDB2CA6188F8}"/>
                    </a:ext>
                  </a:extLst>
                </p14:cNvPr>
                <p14:cNvContentPartPr/>
                <p14:nvPr/>
              </p14:nvContentPartPr>
              <p14:xfrm>
                <a:off x="8103537" y="599318"/>
                <a:ext cx="57240" cy="57600"/>
              </p14:xfrm>
            </p:contentPart>
          </mc:Choice>
          <mc:Fallback xmlns="">
            <p:pic>
              <p:nvPicPr>
                <p:cNvPr id="105" name="Ink 104">
                  <a:extLst>
                    <a:ext uri="{FF2B5EF4-FFF2-40B4-BE49-F238E27FC236}">
                      <a16:creationId xmlns:a16="http://schemas.microsoft.com/office/drawing/2014/main" id="{3624B60D-70CE-4C57-BB13-CDB2CA6188F8}"/>
                    </a:ext>
                  </a:extLst>
                </p:cNvPr>
                <p:cNvPicPr/>
                <p:nvPr/>
              </p:nvPicPr>
              <p:blipFill>
                <a:blip r:embed="rId66"/>
                <a:stretch>
                  <a:fillRect/>
                </a:stretch>
              </p:blipFill>
              <p:spPr>
                <a:xfrm>
                  <a:off x="8099217" y="594998"/>
                  <a:ext cx="6588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106" name="Ink 105">
                  <a:extLst>
                    <a:ext uri="{FF2B5EF4-FFF2-40B4-BE49-F238E27FC236}">
                      <a16:creationId xmlns:a16="http://schemas.microsoft.com/office/drawing/2014/main" id="{F21C355D-4732-414A-8EB8-72F1F4C1964B}"/>
                    </a:ext>
                  </a:extLst>
                </p14:cNvPr>
                <p14:cNvContentPartPr/>
                <p14:nvPr/>
              </p14:nvContentPartPr>
              <p14:xfrm>
                <a:off x="8196057" y="585638"/>
                <a:ext cx="43920" cy="59400"/>
              </p14:xfrm>
            </p:contentPart>
          </mc:Choice>
          <mc:Fallback xmlns="">
            <p:pic>
              <p:nvPicPr>
                <p:cNvPr id="106" name="Ink 105">
                  <a:extLst>
                    <a:ext uri="{FF2B5EF4-FFF2-40B4-BE49-F238E27FC236}">
                      <a16:creationId xmlns:a16="http://schemas.microsoft.com/office/drawing/2014/main" id="{F21C355D-4732-414A-8EB8-72F1F4C1964B}"/>
                    </a:ext>
                  </a:extLst>
                </p:cNvPr>
                <p:cNvPicPr/>
                <p:nvPr/>
              </p:nvPicPr>
              <p:blipFill>
                <a:blip r:embed="rId68"/>
                <a:stretch>
                  <a:fillRect/>
                </a:stretch>
              </p:blipFill>
              <p:spPr>
                <a:xfrm>
                  <a:off x="8191737" y="581318"/>
                  <a:ext cx="52560" cy="68040"/>
                </a:xfrm>
                <a:prstGeom prst="rect">
                  <a:avLst/>
                </a:prstGeom>
              </p:spPr>
            </p:pic>
          </mc:Fallback>
        </mc:AlternateContent>
      </p:grpSp>
      <p:grpSp>
        <p:nvGrpSpPr>
          <p:cNvPr id="114" name="Group 113">
            <a:extLst>
              <a:ext uri="{FF2B5EF4-FFF2-40B4-BE49-F238E27FC236}">
                <a16:creationId xmlns:a16="http://schemas.microsoft.com/office/drawing/2014/main" id="{7885C676-A88E-492A-99A6-F6E6650F46A0}"/>
              </a:ext>
            </a:extLst>
          </p:cNvPr>
          <p:cNvGrpSpPr/>
          <p:nvPr/>
        </p:nvGrpSpPr>
        <p:grpSpPr>
          <a:xfrm>
            <a:off x="8593137" y="320678"/>
            <a:ext cx="327240" cy="315720"/>
            <a:chOff x="8593137" y="320678"/>
            <a:chExt cx="327240" cy="315720"/>
          </a:xfrm>
        </p:grpSpPr>
        <mc:AlternateContent xmlns:mc="http://schemas.openxmlformats.org/markup-compatibility/2006" xmlns:p14="http://schemas.microsoft.com/office/powerpoint/2010/main">
          <mc:Choice Requires="p14">
            <p:contentPart p14:bwMode="auto" r:id="rId69">
              <p14:nvContentPartPr>
                <p14:cNvPr id="109" name="Ink 108">
                  <a:extLst>
                    <a:ext uri="{FF2B5EF4-FFF2-40B4-BE49-F238E27FC236}">
                      <a16:creationId xmlns:a16="http://schemas.microsoft.com/office/drawing/2014/main" id="{8E5A5103-2C20-473B-B261-46E44E2A34E3}"/>
                    </a:ext>
                  </a:extLst>
                </p14:cNvPr>
                <p14:cNvContentPartPr/>
                <p14:nvPr/>
              </p14:nvContentPartPr>
              <p14:xfrm>
                <a:off x="8593137" y="320678"/>
                <a:ext cx="118080" cy="194040"/>
              </p14:xfrm>
            </p:contentPart>
          </mc:Choice>
          <mc:Fallback xmlns="">
            <p:pic>
              <p:nvPicPr>
                <p:cNvPr id="109" name="Ink 108">
                  <a:extLst>
                    <a:ext uri="{FF2B5EF4-FFF2-40B4-BE49-F238E27FC236}">
                      <a16:creationId xmlns:a16="http://schemas.microsoft.com/office/drawing/2014/main" id="{8E5A5103-2C20-473B-B261-46E44E2A34E3}"/>
                    </a:ext>
                  </a:extLst>
                </p:cNvPr>
                <p:cNvPicPr/>
                <p:nvPr/>
              </p:nvPicPr>
              <p:blipFill>
                <a:blip r:embed="rId70"/>
                <a:stretch>
                  <a:fillRect/>
                </a:stretch>
              </p:blipFill>
              <p:spPr>
                <a:xfrm>
                  <a:off x="8584137" y="311678"/>
                  <a:ext cx="135720" cy="21168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110" name="Ink 109">
                  <a:extLst>
                    <a:ext uri="{FF2B5EF4-FFF2-40B4-BE49-F238E27FC236}">
                      <a16:creationId xmlns:a16="http://schemas.microsoft.com/office/drawing/2014/main" id="{667A8D23-64F8-4238-9EDA-1EFFEDE5EA8D}"/>
                    </a:ext>
                  </a:extLst>
                </p14:cNvPr>
                <p14:cNvContentPartPr/>
                <p14:nvPr/>
              </p14:nvContentPartPr>
              <p14:xfrm>
                <a:off x="8657217" y="488078"/>
                <a:ext cx="96120" cy="148320"/>
              </p14:xfrm>
            </p:contentPart>
          </mc:Choice>
          <mc:Fallback xmlns="">
            <p:pic>
              <p:nvPicPr>
                <p:cNvPr id="110" name="Ink 109">
                  <a:extLst>
                    <a:ext uri="{FF2B5EF4-FFF2-40B4-BE49-F238E27FC236}">
                      <a16:creationId xmlns:a16="http://schemas.microsoft.com/office/drawing/2014/main" id="{667A8D23-64F8-4238-9EDA-1EFFEDE5EA8D}"/>
                    </a:ext>
                  </a:extLst>
                </p:cNvPr>
                <p:cNvPicPr/>
                <p:nvPr/>
              </p:nvPicPr>
              <p:blipFill>
                <a:blip r:embed="rId72"/>
                <a:stretch>
                  <a:fillRect/>
                </a:stretch>
              </p:blipFill>
              <p:spPr>
                <a:xfrm>
                  <a:off x="8648577" y="479078"/>
                  <a:ext cx="113760" cy="16596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112" name="Ink 111">
                  <a:extLst>
                    <a:ext uri="{FF2B5EF4-FFF2-40B4-BE49-F238E27FC236}">
                      <a16:creationId xmlns:a16="http://schemas.microsoft.com/office/drawing/2014/main" id="{D7AE6E3D-4C7A-4FAC-A1E4-6F7C020B45ED}"/>
                    </a:ext>
                  </a:extLst>
                </p14:cNvPr>
                <p14:cNvContentPartPr/>
                <p14:nvPr/>
              </p14:nvContentPartPr>
              <p14:xfrm>
                <a:off x="8753337" y="518318"/>
                <a:ext cx="79200" cy="87480"/>
              </p14:xfrm>
            </p:contentPart>
          </mc:Choice>
          <mc:Fallback xmlns="">
            <p:pic>
              <p:nvPicPr>
                <p:cNvPr id="112" name="Ink 111">
                  <a:extLst>
                    <a:ext uri="{FF2B5EF4-FFF2-40B4-BE49-F238E27FC236}">
                      <a16:creationId xmlns:a16="http://schemas.microsoft.com/office/drawing/2014/main" id="{D7AE6E3D-4C7A-4FAC-A1E4-6F7C020B45ED}"/>
                    </a:ext>
                  </a:extLst>
                </p:cNvPr>
                <p:cNvPicPr/>
                <p:nvPr/>
              </p:nvPicPr>
              <p:blipFill>
                <a:blip r:embed="rId74"/>
                <a:stretch>
                  <a:fillRect/>
                </a:stretch>
              </p:blipFill>
              <p:spPr>
                <a:xfrm>
                  <a:off x="8744337" y="509678"/>
                  <a:ext cx="96840" cy="10512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113" name="Ink 112">
                  <a:extLst>
                    <a:ext uri="{FF2B5EF4-FFF2-40B4-BE49-F238E27FC236}">
                      <a16:creationId xmlns:a16="http://schemas.microsoft.com/office/drawing/2014/main" id="{970F2986-0FFF-4ECB-BE85-093BDF17A43A}"/>
                    </a:ext>
                  </a:extLst>
                </p14:cNvPr>
                <p14:cNvContentPartPr/>
                <p14:nvPr/>
              </p14:nvContentPartPr>
              <p14:xfrm>
                <a:off x="8872857" y="503918"/>
                <a:ext cx="47520" cy="68040"/>
              </p14:xfrm>
            </p:contentPart>
          </mc:Choice>
          <mc:Fallback xmlns="">
            <p:pic>
              <p:nvPicPr>
                <p:cNvPr id="113" name="Ink 112">
                  <a:extLst>
                    <a:ext uri="{FF2B5EF4-FFF2-40B4-BE49-F238E27FC236}">
                      <a16:creationId xmlns:a16="http://schemas.microsoft.com/office/drawing/2014/main" id="{970F2986-0FFF-4ECB-BE85-093BDF17A43A}"/>
                    </a:ext>
                  </a:extLst>
                </p:cNvPr>
                <p:cNvPicPr/>
                <p:nvPr/>
              </p:nvPicPr>
              <p:blipFill>
                <a:blip r:embed="rId76"/>
                <a:stretch>
                  <a:fillRect/>
                </a:stretch>
              </p:blipFill>
              <p:spPr>
                <a:xfrm>
                  <a:off x="8863857" y="495278"/>
                  <a:ext cx="65160" cy="85680"/>
                </a:xfrm>
                <a:prstGeom prst="rect">
                  <a:avLst/>
                </a:prstGeom>
              </p:spPr>
            </p:pic>
          </mc:Fallback>
        </mc:AlternateContent>
      </p:grpSp>
      <p:sp>
        <p:nvSpPr>
          <p:cNvPr id="118" name="TextBox 117">
            <a:extLst>
              <a:ext uri="{FF2B5EF4-FFF2-40B4-BE49-F238E27FC236}">
                <a16:creationId xmlns:a16="http://schemas.microsoft.com/office/drawing/2014/main" id="{9FD59B1B-B3B2-450D-B9E2-D257740BB6D2}"/>
              </a:ext>
            </a:extLst>
          </p:cNvPr>
          <p:cNvSpPr txBox="1"/>
          <p:nvPr/>
        </p:nvSpPr>
        <p:spPr>
          <a:xfrm>
            <a:off x="142902" y="3671560"/>
            <a:ext cx="6489449" cy="36933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Inter"/>
                <a:cs typeface="Arial" panose="020B0604020202020204" pitchFamily="34" charset="0"/>
              </a:rPr>
              <a:t>Let’s learn how to identify and treat outliers in our ML classes</a:t>
            </a:r>
          </a:p>
        </p:txBody>
      </p:sp>
    </p:spTree>
    <p:extLst>
      <p:ext uri="{BB962C8B-B14F-4D97-AF65-F5344CB8AC3E}">
        <p14:creationId xmlns:p14="http://schemas.microsoft.com/office/powerpoint/2010/main" val="293059769"/>
      </p:ext>
    </p:extLst>
  </p:cSld>
  <p:clrMapOvr>
    <a:masterClrMapping/>
  </p:clrMapOvr>
  <p:transition spd="med">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6FF563-E73D-4114-871D-69CA13511BB3}"/>
              </a:ext>
            </a:extLst>
          </p:cNvPr>
          <p:cNvSpPr>
            <a:spLocks noGrp="1"/>
          </p:cNvSpPr>
          <p:nvPr>
            <p:ph type="title"/>
          </p:nvPr>
        </p:nvSpPr>
        <p:spPr>
          <a:xfrm>
            <a:off x="0" y="0"/>
            <a:ext cx="7955280" cy="640080"/>
          </a:xfrm>
        </p:spPr>
        <p:txBody>
          <a:bodyPr>
            <a:normAutofit fontScale="90000"/>
          </a:bodyPr>
          <a:lstStyle/>
          <a:p>
            <a:r>
              <a:rPr lang="en-US" dirty="0"/>
              <a:t>Mean – Continued</a:t>
            </a:r>
            <a:br>
              <a:rPr lang="en-US" dirty="0"/>
            </a:br>
            <a:r>
              <a:rPr lang="en-US" dirty="0">
                <a:solidFill>
                  <a:schemeClr val="bg2">
                    <a:lumMod val="50000"/>
                    <a:lumOff val="50000"/>
                  </a:schemeClr>
                </a:solidFill>
              </a:rPr>
              <a:t>Different types of Mean</a:t>
            </a:r>
          </a:p>
        </p:txBody>
      </p:sp>
      <p:sp>
        <p:nvSpPr>
          <p:cNvPr id="4" name="Content Placeholder 3">
            <a:extLst>
              <a:ext uri="{FF2B5EF4-FFF2-40B4-BE49-F238E27FC236}">
                <a16:creationId xmlns:a16="http://schemas.microsoft.com/office/drawing/2014/main" id="{7D3B6E85-01D6-4560-BC37-4C032EA4F8B6}"/>
              </a:ext>
            </a:extLst>
          </p:cNvPr>
          <p:cNvSpPr>
            <a:spLocks noGrp="1"/>
          </p:cNvSpPr>
          <p:nvPr>
            <p:ph sz="half" idx="1"/>
          </p:nvPr>
        </p:nvSpPr>
        <p:spPr>
          <a:xfrm>
            <a:off x="64915" y="898005"/>
            <a:ext cx="8073943" cy="3820578"/>
          </a:xfrm>
        </p:spPr>
        <p:txBody>
          <a:bodyPr/>
          <a:lstStyle/>
          <a:p>
            <a:pPr marL="0" indent="0">
              <a:buNone/>
            </a:pPr>
            <a:r>
              <a:rPr lang="en-US" sz="2500" dirty="0">
                <a:solidFill>
                  <a:srgbClr val="007DB8"/>
                </a:solidFill>
              </a:rPr>
              <a:t>Arithmetic Mean </a:t>
            </a:r>
          </a:p>
          <a:p>
            <a:r>
              <a:rPr lang="en-US" dirty="0">
                <a:solidFill>
                  <a:schemeClr val="bg2">
                    <a:lumMod val="50000"/>
                    <a:lumOff val="50000"/>
                  </a:schemeClr>
                </a:solidFill>
                <a:latin typeface="Inter"/>
              </a:rPr>
              <a:t>When you add up all the values and divide by the number of values it is called Arithmetic Mean. To calculate, just add up all the given numbers then divide by how many numbers are given.</a:t>
            </a:r>
          </a:p>
          <a:p>
            <a:pPr lvl="1"/>
            <a:r>
              <a:rPr lang="en-US" sz="1400" dirty="0">
                <a:solidFill>
                  <a:schemeClr val="bg2">
                    <a:lumMod val="50000"/>
                    <a:lumOff val="50000"/>
                  </a:schemeClr>
                </a:solidFill>
                <a:latin typeface="Inter"/>
              </a:rPr>
              <a:t>Example: What is the mean of 3, 5, 9, 5, 7, 2?</a:t>
            </a:r>
          </a:p>
          <a:p>
            <a:pPr lvl="1"/>
            <a:r>
              <a:rPr lang="en-US" sz="1400" dirty="0">
                <a:solidFill>
                  <a:schemeClr val="bg2">
                    <a:lumMod val="50000"/>
                    <a:lumOff val="50000"/>
                  </a:schemeClr>
                </a:solidFill>
                <a:latin typeface="Inter"/>
              </a:rPr>
              <a:t>Now add up all the given numbers:</a:t>
            </a:r>
          </a:p>
          <a:p>
            <a:pPr lvl="1"/>
            <a:r>
              <a:rPr lang="en-US" sz="1400" dirty="0">
                <a:solidFill>
                  <a:schemeClr val="bg2">
                    <a:lumMod val="50000"/>
                    <a:lumOff val="50000"/>
                  </a:schemeClr>
                </a:solidFill>
                <a:latin typeface="Inter"/>
              </a:rPr>
              <a:t>3 + 5 + 9 + 5 + 7 + 2 = 31</a:t>
            </a:r>
          </a:p>
          <a:p>
            <a:pPr lvl="1"/>
            <a:r>
              <a:rPr lang="en-US" sz="1400" dirty="0">
                <a:solidFill>
                  <a:schemeClr val="bg2">
                    <a:lumMod val="50000"/>
                    <a:lumOff val="50000"/>
                  </a:schemeClr>
                </a:solidFill>
                <a:latin typeface="Inter"/>
              </a:rPr>
              <a:t>Now divide by how many numbers provided in the sequence:</a:t>
            </a:r>
          </a:p>
          <a:p>
            <a:pPr lvl="1"/>
            <a:r>
              <a:rPr lang="en-US" sz="1400" dirty="0">
                <a:solidFill>
                  <a:schemeClr val="bg2">
                    <a:lumMod val="50000"/>
                    <a:lumOff val="50000"/>
                  </a:schemeClr>
                </a:solidFill>
                <a:latin typeface="Inter"/>
              </a:rPr>
              <a:t>316= 5.16</a:t>
            </a:r>
          </a:p>
          <a:p>
            <a:pPr lvl="1"/>
            <a:r>
              <a:rPr lang="en-US" sz="1400" dirty="0">
                <a:solidFill>
                  <a:schemeClr val="bg2">
                    <a:lumMod val="50000"/>
                    <a:lumOff val="50000"/>
                  </a:schemeClr>
                </a:solidFill>
                <a:latin typeface="Inter"/>
              </a:rPr>
              <a:t>5.16 is the answer</a:t>
            </a:r>
            <a:r>
              <a:rPr lang="en-US" dirty="0"/>
              <a:t>.</a:t>
            </a:r>
          </a:p>
          <a:p>
            <a:endParaRPr lang="en-US" dirty="0"/>
          </a:p>
        </p:txBody>
      </p:sp>
      <p:pic>
        <p:nvPicPr>
          <p:cNvPr id="6" name="Picture 5">
            <a:extLst>
              <a:ext uri="{FF2B5EF4-FFF2-40B4-BE49-F238E27FC236}">
                <a16:creationId xmlns:a16="http://schemas.microsoft.com/office/drawing/2014/main" id="{27CA7337-1D9D-4B99-B6FB-2A461EFDE4E9}"/>
              </a:ext>
            </a:extLst>
          </p:cNvPr>
          <p:cNvPicPr>
            <a:picLocks noChangeAspect="1"/>
          </p:cNvPicPr>
          <p:nvPr/>
        </p:nvPicPr>
        <p:blipFill>
          <a:blip r:embed="rId2"/>
          <a:stretch>
            <a:fillRect/>
          </a:stretch>
        </p:blipFill>
        <p:spPr>
          <a:xfrm>
            <a:off x="531909" y="3657310"/>
            <a:ext cx="4143375" cy="495300"/>
          </a:xfrm>
          <a:prstGeom prst="rect">
            <a:avLst/>
          </a:prstGeom>
        </p:spPr>
      </p:pic>
    </p:spTree>
    <p:extLst>
      <p:ext uri="{BB962C8B-B14F-4D97-AF65-F5344CB8AC3E}">
        <p14:creationId xmlns:p14="http://schemas.microsoft.com/office/powerpoint/2010/main" val="2903660889"/>
      </p:ext>
    </p:extLst>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91FEF-38B0-4D5D-ACF9-640E94B25F1B}"/>
              </a:ext>
            </a:extLst>
          </p:cNvPr>
          <p:cNvSpPr>
            <a:spLocks noGrp="1"/>
          </p:cNvSpPr>
          <p:nvPr>
            <p:ph type="title"/>
          </p:nvPr>
        </p:nvSpPr>
        <p:spPr/>
        <p:txBody>
          <a:bodyPr/>
          <a:lstStyle/>
          <a:p>
            <a:r>
              <a:rPr lang="en-US" dirty="0"/>
              <a:t>Some statistical statements</a:t>
            </a:r>
          </a:p>
        </p:txBody>
      </p:sp>
      <p:sp>
        <p:nvSpPr>
          <p:cNvPr id="3" name="Content Placeholder 2">
            <a:extLst>
              <a:ext uri="{FF2B5EF4-FFF2-40B4-BE49-F238E27FC236}">
                <a16:creationId xmlns:a16="http://schemas.microsoft.com/office/drawing/2014/main" id="{CA61F78B-9CC5-4759-8D88-4612E1CAB972}"/>
              </a:ext>
            </a:extLst>
          </p:cNvPr>
          <p:cNvSpPr>
            <a:spLocks noGrp="1"/>
          </p:cNvSpPr>
          <p:nvPr>
            <p:ph sz="half" idx="1"/>
          </p:nvPr>
        </p:nvSpPr>
        <p:spPr>
          <a:xfrm>
            <a:off x="161586" y="1054691"/>
            <a:ext cx="7924386" cy="3200400"/>
          </a:xfrm>
        </p:spPr>
        <p:txBody>
          <a:bodyPr/>
          <a:lstStyle/>
          <a:p>
            <a:r>
              <a:rPr lang="en-US" dirty="0">
                <a:solidFill>
                  <a:schemeClr val="bg2">
                    <a:lumMod val="50000"/>
                    <a:lumOff val="50000"/>
                  </a:schemeClr>
                </a:solidFill>
              </a:rPr>
              <a:t>I drive my car at an average speed of 50 km/hr.</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A survey of 1000 adults by a capital markets company showed that 75% of adults think that Corona vaccine is 96% efficacy (if that is the case then 4% of people can die)</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We will close the quarter higher at 120% attainment ( Actuals/Target)</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20% of our workforce would resign by the end of next year</a:t>
            </a:r>
          </a:p>
          <a:p>
            <a:endParaRPr lang="en-US" dirty="0"/>
          </a:p>
        </p:txBody>
      </p:sp>
      <p:sp>
        <p:nvSpPr>
          <p:cNvPr id="4" name="TextBox 3">
            <a:extLst>
              <a:ext uri="{FF2B5EF4-FFF2-40B4-BE49-F238E27FC236}">
                <a16:creationId xmlns:a16="http://schemas.microsoft.com/office/drawing/2014/main" id="{65CFAE00-AD21-409B-AE44-D05A37D298A0}"/>
              </a:ext>
            </a:extLst>
          </p:cNvPr>
          <p:cNvSpPr txBox="1"/>
          <p:nvPr/>
        </p:nvSpPr>
        <p:spPr>
          <a:xfrm>
            <a:off x="161585" y="3993481"/>
            <a:ext cx="8606633" cy="523220"/>
          </a:xfrm>
          <a:prstGeom prst="rect">
            <a:avLst/>
          </a:prstGeom>
          <a:noFill/>
        </p:spPr>
        <p:txBody>
          <a:bodyPr wrap="square" rtlCol="0">
            <a:spAutoFit/>
          </a:bodyPr>
          <a:lstStyle/>
          <a:p>
            <a:pPr>
              <a:spcBef>
                <a:spcPts val="0"/>
              </a:spcBef>
              <a:spcAft>
                <a:spcPts val="0"/>
              </a:spcAft>
              <a:buClr>
                <a:schemeClr val="bg1"/>
              </a:buClr>
            </a:pPr>
            <a:r>
              <a:rPr lang="en-US" sz="1400" i="1" dirty="0">
                <a:solidFill>
                  <a:schemeClr val="bg1"/>
                </a:solidFill>
                <a:latin typeface="+mn-lt"/>
              </a:rPr>
              <a:t>So, you can challenge most of the statements here. But these statements will be applicable to most of the population but there can be exceptions.</a:t>
            </a:r>
          </a:p>
        </p:txBody>
      </p:sp>
    </p:spTree>
    <p:extLst>
      <p:ext uri="{BB962C8B-B14F-4D97-AF65-F5344CB8AC3E}">
        <p14:creationId xmlns:p14="http://schemas.microsoft.com/office/powerpoint/2010/main" val="3865591795"/>
      </p:ext>
    </p:extLst>
  </p:cSld>
  <p:clrMapOvr>
    <a:masterClrMapping/>
  </p:clrMapOvr>
  <p:transition spd="med">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5DE446-0BA5-47DD-9C34-E22160028D02}"/>
              </a:ext>
            </a:extLst>
          </p:cNvPr>
          <p:cNvSpPr>
            <a:spLocks noGrp="1"/>
          </p:cNvSpPr>
          <p:nvPr>
            <p:ph type="title"/>
          </p:nvPr>
        </p:nvSpPr>
        <p:spPr>
          <a:xfrm>
            <a:off x="0" y="27981"/>
            <a:ext cx="7955280" cy="640080"/>
          </a:xfrm>
        </p:spPr>
        <p:txBody>
          <a:bodyPr/>
          <a:lstStyle/>
          <a:p>
            <a:r>
              <a:rPr lang="en-US" dirty="0"/>
              <a:t>Geometric Mean</a:t>
            </a:r>
          </a:p>
        </p:txBody>
      </p:sp>
      <p:sp>
        <p:nvSpPr>
          <p:cNvPr id="4" name="Content Placeholder 3">
            <a:extLst>
              <a:ext uri="{FF2B5EF4-FFF2-40B4-BE49-F238E27FC236}">
                <a16:creationId xmlns:a16="http://schemas.microsoft.com/office/drawing/2014/main" id="{8B864218-C049-4F5F-973F-1252FE3B9728}"/>
              </a:ext>
            </a:extLst>
          </p:cNvPr>
          <p:cNvSpPr>
            <a:spLocks noGrp="1"/>
          </p:cNvSpPr>
          <p:nvPr>
            <p:ph sz="half" idx="1"/>
          </p:nvPr>
        </p:nvSpPr>
        <p:spPr>
          <a:xfrm>
            <a:off x="274320" y="607273"/>
            <a:ext cx="7955280" cy="3964727"/>
          </a:xfrm>
        </p:spPr>
        <p:txBody>
          <a:bodyPr/>
          <a:lstStyle/>
          <a:p>
            <a:r>
              <a:rPr lang="en-US" dirty="0">
                <a:solidFill>
                  <a:schemeClr val="bg2">
                    <a:lumMod val="50000"/>
                    <a:lumOff val="50000"/>
                  </a:schemeClr>
                </a:solidFill>
                <a:latin typeface="Inter"/>
              </a:rPr>
              <a:t>While finding geometric mean the values are </a:t>
            </a:r>
            <a:r>
              <a:rPr lang="en-US" dirty="0" err="1">
                <a:solidFill>
                  <a:schemeClr val="bg2">
                    <a:lumMod val="50000"/>
                    <a:lumOff val="50000"/>
                  </a:schemeClr>
                </a:solidFill>
                <a:latin typeface="Inter"/>
              </a:rPr>
              <a:t>multipled</a:t>
            </a:r>
            <a:r>
              <a:rPr lang="en-US" dirty="0">
                <a:solidFill>
                  <a:schemeClr val="bg2">
                    <a:lumMod val="50000"/>
                    <a:lumOff val="50000"/>
                  </a:schemeClr>
                </a:solidFill>
                <a:latin typeface="Inter"/>
              </a:rPr>
              <a:t> rather than summed up </a:t>
            </a:r>
          </a:p>
          <a:p>
            <a:endParaRPr lang="en-US" dirty="0">
              <a:solidFill>
                <a:schemeClr val="bg2">
                  <a:lumMod val="50000"/>
                  <a:lumOff val="50000"/>
                </a:schemeClr>
              </a:solidFill>
              <a:latin typeface="Inter"/>
            </a:endParaRPr>
          </a:p>
          <a:p>
            <a:r>
              <a:rPr lang="en-US" dirty="0">
                <a:solidFill>
                  <a:schemeClr val="bg2">
                    <a:lumMod val="50000"/>
                    <a:lumOff val="50000"/>
                  </a:schemeClr>
                </a:solidFill>
                <a:latin typeface="Inter"/>
              </a:rPr>
              <a:t>Example: Find the geometric mean of 4 and 3 ?</a:t>
            </a:r>
          </a:p>
          <a:p>
            <a:pPr lvl="1"/>
            <a:r>
              <a:rPr lang="en-US" sz="1400" dirty="0">
                <a:solidFill>
                  <a:schemeClr val="bg2">
                    <a:lumMod val="50000"/>
                    <a:lumOff val="50000"/>
                  </a:schemeClr>
                </a:solidFill>
                <a:latin typeface="Inter"/>
              </a:rPr>
              <a:t>Geometric Mean =√4×3=2√23= 3.46</a:t>
            </a:r>
          </a:p>
          <a:p>
            <a:r>
              <a:rPr lang="en-US" dirty="0">
                <a:solidFill>
                  <a:schemeClr val="bg2">
                    <a:lumMod val="50000"/>
                    <a:lumOff val="50000"/>
                  </a:schemeClr>
                </a:solidFill>
                <a:latin typeface="Inter"/>
              </a:rPr>
              <a:t>GM of 2 numbers is like finding area and the GM of 3 numbers is like finding the volume of area.. </a:t>
            </a:r>
          </a:p>
          <a:p>
            <a:pPr lvl="1"/>
            <a:r>
              <a:rPr lang="en-US" sz="1400" dirty="0">
                <a:solidFill>
                  <a:schemeClr val="bg2">
                    <a:lumMod val="50000"/>
                    <a:lumOff val="50000"/>
                  </a:schemeClr>
                </a:solidFill>
                <a:latin typeface="Inter"/>
              </a:rPr>
              <a:t>Ex : What is geometric mean of 1,3,9,27,81 ? </a:t>
            </a:r>
          </a:p>
          <a:p>
            <a:r>
              <a:rPr lang="en-US" dirty="0">
                <a:solidFill>
                  <a:schemeClr val="bg2">
                    <a:lumMod val="50000"/>
                    <a:lumOff val="50000"/>
                  </a:schemeClr>
                </a:solidFill>
                <a:latin typeface="Inter"/>
              </a:rPr>
              <a:t>Why Geometric Mean ? </a:t>
            </a:r>
          </a:p>
          <a:p>
            <a:pPr lvl="1"/>
            <a:r>
              <a:rPr lang="en-US" sz="1400" dirty="0">
                <a:solidFill>
                  <a:schemeClr val="bg2">
                    <a:lumMod val="50000"/>
                    <a:lumOff val="50000"/>
                  </a:schemeClr>
                </a:solidFill>
                <a:latin typeface="Inter"/>
              </a:rPr>
              <a:t>Ex : Buying a laptop </a:t>
            </a:r>
          </a:p>
          <a:p>
            <a:endParaRPr lang="en-US" dirty="0"/>
          </a:p>
        </p:txBody>
      </p:sp>
      <p:pic>
        <p:nvPicPr>
          <p:cNvPr id="6" name="Picture 5" descr="A picture containing text, electronics, computer, display&#10;&#10;Description automatically generated">
            <a:extLst>
              <a:ext uri="{FF2B5EF4-FFF2-40B4-BE49-F238E27FC236}">
                <a16:creationId xmlns:a16="http://schemas.microsoft.com/office/drawing/2014/main" id="{5F3DBB60-44C0-4843-BD26-C515BA6729B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99018" y="2836996"/>
            <a:ext cx="2559126" cy="1413917"/>
          </a:xfrm>
          <a:prstGeom prst="rect">
            <a:avLst/>
          </a:prstGeom>
        </p:spPr>
      </p:pic>
      <p:pic>
        <p:nvPicPr>
          <p:cNvPr id="9" name="Picture 8">
            <a:extLst>
              <a:ext uri="{FF2B5EF4-FFF2-40B4-BE49-F238E27FC236}">
                <a16:creationId xmlns:a16="http://schemas.microsoft.com/office/drawing/2014/main" id="{EF92DF04-2F8E-4143-B9E7-DB7E0542E115}"/>
              </a:ext>
            </a:extLst>
          </p:cNvPr>
          <p:cNvPicPr>
            <a:picLocks noChangeAspect="1"/>
          </p:cNvPicPr>
          <p:nvPr/>
        </p:nvPicPr>
        <p:blipFill>
          <a:blip r:embed="rId4"/>
          <a:stretch>
            <a:fillRect/>
          </a:stretch>
        </p:blipFill>
        <p:spPr>
          <a:xfrm>
            <a:off x="1619396" y="818583"/>
            <a:ext cx="3657600" cy="466725"/>
          </a:xfrm>
          <a:prstGeom prst="rect">
            <a:avLst/>
          </a:prstGeom>
        </p:spPr>
      </p:pic>
    </p:spTree>
    <p:extLst>
      <p:ext uri="{BB962C8B-B14F-4D97-AF65-F5344CB8AC3E}">
        <p14:creationId xmlns:p14="http://schemas.microsoft.com/office/powerpoint/2010/main" val="2355739922"/>
      </p:ext>
    </p:extLst>
  </p:cSld>
  <p:clrMapOvr>
    <a:masterClrMapping/>
  </p:clrMapOvr>
  <p:transition spd="med">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F2BE7F-23BD-4650-9881-92293F42646A}"/>
              </a:ext>
            </a:extLst>
          </p:cNvPr>
          <p:cNvSpPr>
            <a:spLocks noGrp="1"/>
          </p:cNvSpPr>
          <p:nvPr>
            <p:ph type="title"/>
          </p:nvPr>
        </p:nvSpPr>
        <p:spPr>
          <a:xfrm>
            <a:off x="0" y="0"/>
            <a:ext cx="7955280" cy="640080"/>
          </a:xfrm>
        </p:spPr>
        <p:txBody>
          <a:bodyPr/>
          <a:lstStyle/>
          <a:p>
            <a:r>
              <a:rPr lang="en-US" dirty="0"/>
              <a:t>Harmonic Mean</a:t>
            </a:r>
          </a:p>
        </p:txBody>
      </p:sp>
      <p:sp>
        <p:nvSpPr>
          <p:cNvPr id="4" name="Content Placeholder 3">
            <a:extLst>
              <a:ext uri="{FF2B5EF4-FFF2-40B4-BE49-F238E27FC236}">
                <a16:creationId xmlns:a16="http://schemas.microsoft.com/office/drawing/2014/main" id="{FE64AFE6-BC36-4F1D-ACEC-72EB9E24C942}"/>
              </a:ext>
            </a:extLst>
          </p:cNvPr>
          <p:cNvSpPr>
            <a:spLocks noGrp="1"/>
          </p:cNvSpPr>
          <p:nvPr>
            <p:ph sz="half" idx="1"/>
          </p:nvPr>
        </p:nvSpPr>
        <p:spPr>
          <a:xfrm>
            <a:off x="57936" y="570889"/>
            <a:ext cx="8534632" cy="4001721"/>
          </a:xfrm>
        </p:spPr>
        <p:txBody>
          <a:bodyPr/>
          <a:lstStyle/>
          <a:p>
            <a:r>
              <a:rPr lang="en-US" sz="1800" kern="1200" dirty="0">
                <a:solidFill>
                  <a:schemeClr val="bg2">
                    <a:lumMod val="50000"/>
                    <a:lumOff val="50000"/>
                  </a:schemeClr>
                </a:solidFill>
                <a:latin typeface="Inter"/>
                <a:ea typeface="+mn-ea"/>
              </a:rPr>
              <a:t>The harmonic mean is a type of numerical average. It is calculated by dividing the number of observations by the reciprocal of each number in the series. </a:t>
            </a:r>
          </a:p>
          <a:p>
            <a:r>
              <a:rPr lang="en-US" sz="1800" kern="1200" dirty="0">
                <a:solidFill>
                  <a:schemeClr val="bg2">
                    <a:lumMod val="50000"/>
                    <a:lumOff val="50000"/>
                  </a:schemeClr>
                </a:solidFill>
                <a:latin typeface="Inter"/>
                <a:ea typeface="+mn-ea"/>
              </a:rPr>
              <a:t>The reciprocal of a number n is simply 1 / n.</a:t>
            </a:r>
          </a:p>
          <a:p>
            <a:r>
              <a:rPr lang="en-US" sz="1800" kern="1200" dirty="0">
                <a:solidFill>
                  <a:schemeClr val="bg2">
                    <a:lumMod val="50000"/>
                    <a:lumOff val="50000"/>
                  </a:schemeClr>
                </a:solidFill>
                <a:latin typeface="Inter"/>
                <a:ea typeface="+mn-ea"/>
              </a:rPr>
              <a:t>Ex : the harmonic mean of 2, 4, 6, 8, 50 is </a:t>
            </a:r>
          </a:p>
        </p:txBody>
      </p:sp>
      <mc:AlternateContent xmlns:mc="http://schemas.openxmlformats.org/markup-compatibility/2006" xmlns:p14="http://schemas.microsoft.com/office/powerpoint/2010/main">
        <mc:Choice Requires="p14">
          <p:contentPart p14:bwMode="auto" r:id="rId2">
            <p14:nvContentPartPr>
              <p14:cNvPr id="9" name="Ink 8">
                <a:extLst>
                  <a:ext uri="{FF2B5EF4-FFF2-40B4-BE49-F238E27FC236}">
                    <a16:creationId xmlns:a16="http://schemas.microsoft.com/office/drawing/2014/main" id="{521DD35F-BF5C-4C24-8567-60DAF0F0E899}"/>
                  </a:ext>
                </a:extLst>
              </p14:cNvPr>
              <p14:cNvContentPartPr/>
              <p14:nvPr/>
            </p14:nvContentPartPr>
            <p14:xfrm>
              <a:off x="1577097" y="2882438"/>
              <a:ext cx="360" cy="360"/>
            </p14:xfrm>
          </p:contentPart>
        </mc:Choice>
        <mc:Fallback xmlns="">
          <p:pic>
            <p:nvPicPr>
              <p:cNvPr id="9" name="Ink 8">
                <a:extLst>
                  <a:ext uri="{FF2B5EF4-FFF2-40B4-BE49-F238E27FC236}">
                    <a16:creationId xmlns:a16="http://schemas.microsoft.com/office/drawing/2014/main" id="{521DD35F-BF5C-4C24-8567-60DAF0F0E899}"/>
                  </a:ext>
                </a:extLst>
              </p:cNvPr>
              <p:cNvPicPr/>
              <p:nvPr/>
            </p:nvPicPr>
            <p:blipFill>
              <a:blip r:embed="rId3"/>
              <a:stretch>
                <a:fillRect/>
              </a:stretch>
            </p:blipFill>
            <p:spPr>
              <a:xfrm>
                <a:off x="1572777" y="28781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13" name="Ink 12">
                <a:extLst>
                  <a:ext uri="{FF2B5EF4-FFF2-40B4-BE49-F238E27FC236}">
                    <a16:creationId xmlns:a16="http://schemas.microsoft.com/office/drawing/2014/main" id="{C247D014-0380-4712-8703-F5FA9E77D00C}"/>
                  </a:ext>
                </a:extLst>
              </p14:cNvPr>
              <p14:cNvContentPartPr/>
              <p14:nvPr/>
            </p14:nvContentPartPr>
            <p14:xfrm>
              <a:off x="439497" y="2460878"/>
              <a:ext cx="1454400" cy="93960"/>
            </p14:xfrm>
          </p:contentPart>
        </mc:Choice>
        <mc:Fallback xmlns="">
          <p:pic>
            <p:nvPicPr>
              <p:cNvPr id="13" name="Ink 12">
                <a:extLst>
                  <a:ext uri="{FF2B5EF4-FFF2-40B4-BE49-F238E27FC236}">
                    <a16:creationId xmlns:a16="http://schemas.microsoft.com/office/drawing/2014/main" id="{C247D014-0380-4712-8703-F5FA9E77D00C}"/>
                  </a:ext>
                </a:extLst>
              </p:cNvPr>
              <p:cNvPicPr/>
              <p:nvPr/>
            </p:nvPicPr>
            <p:blipFill>
              <a:blip r:embed="rId5"/>
              <a:stretch>
                <a:fillRect/>
              </a:stretch>
            </p:blipFill>
            <p:spPr>
              <a:xfrm>
                <a:off x="435177" y="2456558"/>
                <a:ext cx="1463040" cy="102600"/>
              </a:xfrm>
              <a:prstGeom prst="rect">
                <a:avLst/>
              </a:prstGeom>
            </p:spPr>
          </p:pic>
        </mc:Fallback>
      </mc:AlternateContent>
      <p:grpSp>
        <p:nvGrpSpPr>
          <p:cNvPr id="31" name="Group 30">
            <a:extLst>
              <a:ext uri="{FF2B5EF4-FFF2-40B4-BE49-F238E27FC236}">
                <a16:creationId xmlns:a16="http://schemas.microsoft.com/office/drawing/2014/main" id="{7F6642C1-E870-4010-B0E9-EF747B2FA80D}"/>
              </a:ext>
            </a:extLst>
          </p:cNvPr>
          <p:cNvGrpSpPr/>
          <p:nvPr/>
        </p:nvGrpSpPr>
        <p:grpSpPr>
          <a:xfrm>
            <a:off x="160137" y="2617118"/>
            <a:ext cx="1249920" cy="397440"/>
            <a:chOff x="160137" y="2617118"/>
            <a:chExt cx="1249920" cy="397440"/>
          </a:xfrm>
        </p:grpSpPr>
        <mc:AlternateContent xmlns:mc="http://schemas.openxmlformats.org/markup-compatibility/2006" xmlns:p14="http://schemas.microsoft.com/office/powerpoint/2010/main">
          <mc:Choice Requires="p14">
            <p:contentPart p14:bwMode="auto" r:id="rId6">
              <p14:nvContentPartPr>
                <p14:cNvPr id="15" name="Ink 14">
                  <a:extLst>
                    <a:ext uri="{FF2B5EF4-FFF2-40B4-BE49-F238E27FC236}">
                      <a16:creationId xmlns:a16="http://schemas.microsoft.com/office/drawing/2014/main" id="{ABBCC6A1-7D66-471E-B664-9C36034A1695}"/>
                    </a:ext>
                  </a:extLst>
                </p14:cNvPr>
                <p14:cNvContentPartPr/>
                <p14:nvPr/>
              </p14:nvContentPartPr>
              <p14:xfrm>
                <a:off x="281457" y="2652398"/>
                <a:ext cx="18720" cy="69120"/>
              </p14:xfrm>
            </p:contentPart>
          </mc:Choice>
          <mc:Fallback xmlns="">
            <p:pic>
              <p:nvPicPr>
                <p:cNvPr id="15" name="Ink 14">
                  <a:extLst>
                    <a:ext uri="{FF2B5EF4-FFF2-40B4-BE49-F238E27FC236}">
                      <a16:creationId xmlns:a16="http://schemas.microsoft.com/office/drawing/2014/main" id="{ABBCC6A1-7D66-471E-B664-9C36034A1695}"/>
                    </a:ext>
                  </a:extLst>
                </p:cNvPr>
                <p:cNvPicPr/>
                <p:nvPr/>
              </p:nvPicPr>
              <p:blipFill>
                <a:blip r:embed="rId7"/>
                <a:stretch>
                  <a:fillRect/>
                </a:stretch>
              </p:blipFill>
              <p:spPr>
                <a:xfrm>
                  <a:off x="277137" y="2648078"/>
                  <a:ext cx="27360" cy="777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6" name="Ink 15">
                  <a:extLst>
                    <a:ext uri="{FF2B5EF4-FFF2-40B4-BE49-F238E27FC236}">
                      <a16:creationId xmlns:a16="http://schemas.microsoft.com/office/drawing/2014/main" id="{E827FF3F-D218-4768-83C1-269622D7BE6B}"/>
                    </a:ext>
                  </a:extLst>
                </p14:cNvPr>
                <p14:cNvContentPartPr/>
                <p14:nvPr/>
              </p14:nvContentPartPr>
              <p14:xfrm>
                <a:off x="160137" y="2777678"/>
                <a:ext cx="195480" cy="9360"/>
              </p14:xfrm>
            </p:contentPart>
          </mc:Choice>
          <mc:Fallback xmlns="">
            <p:pic>
              <p:nvPicPr>
                <p:cNvPr id="16" name="Ink 15">
                  <a:extLst>
                    <a:ext uri="{FF2B5EF4-FFF2-40B4-BE49-F238E27FC236}">
                      <a16:creationId xmlns:a16="http://schemas.microsoft.com/office/drawing/2014/main" id="{E827FF3F-D218-4768-83C1-269622D7BE6B}"/>
                    </a:ext>
                  </a:extLst>
                </p:cNvPr>
                <p:cNvPicPr/>
                <p:nvPr/>
              </p:nvPicPr>
              <p:blipFill>
                <a:blip r:embed="rId9"/>
                <a:stretch>
                  <a:fillRect/>
                </a:stretch>
              </p:blipFill>
              <p:spPr>
                <a:xfrm>
                  <a:off x="155817" y="2773358"/>
                  <a:ext cx="2041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7" name="Ink 16">
                  <a:extLst>
                    <a:ext uri="{FF2B5EF4-FFF2-40B4-BE49-F238E27FC236}">
                      <a16:creationId xmlns:a16="http://schemas.microsoft.com/office/drawing/2014/main" id="{808A8589-F238-4BBB-833C-8E6EB5A163A0}"/>
                    </a:ext>
                  </a:extLst>
                </p14:cNvPr>
                <p14:cNvContentPartPr/>
                <p14:nvPr/>
              </p14:nvContentPartPr>
              <p14:xfrm>
                <a:off x="184977" y="2847158"/>
                <a:ext cx="104760" cy="98280"/>
              </p14:xfrm>
            </p:contentPart>
          </mc:Choice>
          <mc:Fallback xmlns="">
            <p:pic>
              <p:nvPicPr>
                <p:cNvPr id="17" name="Ink 16">
                  <a:extLst>
                    <a:ext uri="{FF2B5EF4-FFF2-40B4-BE49-F238E27FC236}">
                      <a16:creationId xmlns:a16="http://schemas.microsoft.com/office/drawing/2014/main" id="{808A8589-F238-4BBB-833C-8E6EB5A163A0}"/>
                    </a:ext>
                  </a:extLst>
                </p:cNvPr>
                <p:cNvPicPr/>
                <p:nvPr/>
              </p:nvPicPr>
              <p:blipFill>
                <a:blip r:embed="rId11"/>
                <a:stretch>
                  <a:fillRect/>
                </a:stretch>
              </p:blipFill>
              <p:spPr>
                <a:xfrm>
                  <a:off x="180657" y="2842838"/>
                  <a:ext cx="11340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8" name="Ink 17">
                  <a:extLst>
                    <a:ext uri="{FF2B5EF4-FFF2-40B4-BE49-F238E27FC236}">
                      <a16:creationId xmlns:a16="http://schemas.microsoft.com/office/drawing/2014/main" id="{ADC4EA80-7CFB-4BBE-ABC7-58B9F39C8CE8}"/>
                    </a:ext>
                  </a:extLst>
                </p14:cNvPr>
                <p14:cNvContentPartPr/>
                <p14:nvPr/>
              </p14:nvContentPartPr>
              <p14:xfrm>
                <a:off x="488817" y="2699558"/>
                <a:ext cx="6840" cy="91440"/>
              </p14:xfrm>
            </p:contentPart>
          </mc:Choice>
          <mc:Fallback xmlns="">
            <p:pic>
              <p:nvPicPr>
                <p:cNvPr id="18" name="Ink 17">
                  <a:extLst>
                    <a:ext uri="{FF2B5EF4-FFF2-40B4-BE49-F238E27FC236}">
                      <a16:creationId xmlns:a16="http://schemas.microsoft.com/office/drawing/2014/main" id="{ADC4EA80-7CFB-4BBE-ABC7-58B9F39C8CE8}"/>
                    </a:ext>
                  </a:extLst>
                </p:cNvPr>
                <p:cNvPicPr/>
                <p:nvPr/>
              </p:nvPicPr>
              <p:blipFill>
                <a:blip r:embed="rId13"/>
                <a:stretch>
                  <a:fillRect/>
                </a:stretch>
              </p:blipFill>
              <p:spPr>
                <a:xfrm>
                  <a:off x="484497" y="2695238"/>
                  <a:ext cx="15480" cy="1000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9" name="Ink 18">
                  <a:extLst>
                    <a:ext uri="{FF2B5EF4-FFF2-40B4-BE49-F238E27FC236}">
                      <a16:creationId xmlns:a16="http://schemas.microsoft.com/office/drawing/2014/main" id="{A80AF556-75FB-4007-89BC-179550900F1D}"/>
                    </a:ext>
                  </a:extLst>
                </p14:cNvPr>
                <p14:cNvContentPartPr/>
                <p14:nvPr/>
              </p14:nvContentPartPr>
              <p14:xfrm>
                <a:off x="425817" y="2766518"/>
                <a:ext cx="76320" cy="4320"/>
              </p14:xfrm>
            </p:contentPart>
          </mc:Choice>
          <mc:Fallback xmlns="">
            <p:pic>
              <p:nvPicPr>
                <p:cNvPr id="19" name="Ink 18">
                  <a:extLst>
                    <a:ext uri="{FF2B5EF4-FFF2-40B4-BE49-F238E27FC236}">
                      <a16:creationId xmlns:a16="http://schemas.microsoft.com/office/drawing/2014/main" id="{A80AF556-75FB-4007-89BC-179550900F1D}"/>
                    </a:ext>
                  </a:extLst>
                </p:cNvPr>
                <p:cNvPicPr/>
                <p:nvPr/>
              </p:nvPicPr>
              <p:blipFill>
                <a:blip r:embed="rId15"/>
                <a:stretch>
                  <a:fillRect/>
                </a:stretch>
              </p:blipFill>
              <p:spPr>
                <a:xfrm>
                  <a:off x="421497" y="2762198"/>
                  <a:ext cx="84960" cy="129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0" name="Ink 19">
                  <a:extLst>
                    <a:ext uri="{FF2B5EF4-FFF2-40B4-BE49-F238E27FC236}">
                      <a16:creationId xmlns:a16="http://schemas.microsoft.com/office/drawing/2014/main" id="{6E0D1770-2FF1-49B0-B884-EB534999F7B1}"/>
                    </a:ext>
                  </a:extLst>
                </p14:cNvPr>
                <p14:cNvContentPartPr/>
                <p14:nvPr/>
              </p14:nvContentPartPr>
              <p14:xfrm>
                <a:off x="677457" y="2637998"/>
                <a:ext cx="15480" cy="139320"/>
              </p14:xfrm>
            </p:contentPart>
          </mc:Choice>
          <mc:Fallback xmlns="">
            <p:pic>
              <p:nvPicPr>
                <p:cNvPr id="20" name="Ink 19">
                  <a:extLst>
                    <a:ext uri="{FF2B5EF4-FFF2-40B4-BE49-F238E27FC236}">
                      <a16:creationId xmlns:a16="http://schemas.microsoft.com/office/drawing/2014/main" id="{6E0D1770-2FF1-49B0-B884-EB534999F7B1}"/>
                    </a:ext>
                  </a:extLst>
                </p:cNvPr>
                <p:cNvPicPr/>
                <p:nvPr/>
              </p:nvPicPr>
              <p:blipFill>
                <a:blip r:embed="rId17"/>
                <a:stretch>
                  <a:fillRect/>
                </a:stretch>
              </p:blipFill>
              <p:spPr>
                <a:xfrm>
                  <a:off x="673137" y="2633678"/>
                  <a:ext cx="2412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1" name="Ink 20">
                  <a:extLst>
                    <a:ext uri="{FF2B5EF4-FFF2-40B4-BE49-F238E27FC236}">
                      <a16:creationId xmlns:a16="http://schemas.microsoft.com/office/drawing/2014/main" id="{701DEE8B-F426-46BC-A8D6-2F140690654E}"/>
                    </a:ext>
                  </a:extLst>
                </p14:cNvPr>
                <p14:cNvContentPartPr/>
                <p14:nvPr/>
              </p14:nvContentPartPr>
              <p14:xfrm>
                <a:off x="586017" y="2798558"/>
                <a:ext cx="279720" cy="14400"/>
              </p14:xfrm>
            </p:contentPart>
          </mc:Choice>
          <mc:Fallback xmlns="">
            <p:pic>
              <p:nvPicPr>
                <p:cNvPr id="21" name="Ink 20">
                  <a:extLst>
                    <a:ext uri="{FF2B5EF4-FFF2-40B4-BE49-F238E27FC236}">
                      <a16:creationId xmlns:a16="http://schemas.microsoft.com/office/drawing/2014/main" id="{701DEE8B-F426-46BC-A8D6-2F140690654E}"/>
                    </a:ext>
                  </a:extLst>
                </p:cNvPr>
                <p:cNvPicPr/>
                <p:nvPr/>
              </p:nvPicPr>
              <p:blipFill>
                <a:blip r:embed="rId19"/>
                <a:stretch>
                  <a:fillRect/>
                </a:stretch>
              </p:blipFill>
              <p:spPr>
                <a:xfrm>
                  <a:off x="581697" y="2794238"/>
                  <a:ext cx="288360"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2" name="Ink 21">
                  <a:extLst>
                    <a:ext uri="{FF2B5EF4-FFF2-40B4-BE49-F238E27FC236}">
                      <a16:creationId xmlns:a16="http://schemas.microsoft.com/office/drawing/2014/main" id="{FAE1AE06-5FE8-4148-8B52-F004B4A5D083}"/>
                    </a:ext>
                  </a:extLst>
                </p14:cNvPr>
                <p14:cNvContentPartPr/>
                <p14:nvPr/>
              </p14:nvContentPartPr>
              <p14:xfrm>
                <a:off x="645417" y="2882438"/>
                <a:ext cx="142920" cy="64080"/>
              </p14:xfrm>
            </p:contentPart>
          </mc:Choice>
          <mc:Fallback xmlns="">
            <p:pic>
              <p:nvPicPr>
                <p:cNvPr id="22" name="Ink 21">
                  <a:extLst>
                    <a:ext uri="{FF2B5EF4-FFF2-40B4-BE49-F238E27FC236}">
                      <a16:creationId xmlns:a16="http://schemas.microsoft.com/office/drawing/2014/main" id="{FAE1AE06-5FE8-4148-8B52-F004B4A5D083}"/>
                    </a:ext>
                  </a:extLst>
                </p:cNvPr>
                <p:cNvPicPr/>
                <p:nvPr/>
              </p:nvPicPr>
              <p:blipFill>
                <a:blip r:embed="rId21"/>
                <a:stretch>
                  <a:fillRect/>
                </a:stretch>
              </p:blipFill>
              <p:spPr>
                <a:xfrm>
                  <a:off x="641097" y="2878118"/>
                  <a:ext cx="151560" cy="727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3" name="Ink 22">
                  <a:extLst>
                    <a:ext uri="{FF2B5EF4-FFF2-40B4-BE49-F238E27FC236}">
                      <a16:creationId xmlns:a16="http://schemas.microsoft.com/office/drawing/2014/main" id="{EB4BAC1B-4F7A-4D56-A8AE-52BAA53BED62}"/>
                    </a:ext>
                  </a:extLst>
                </p14:cNvPr>
                <p14:cNvContentPartPr/>
                <p14:nvPr/>
              </p14:nvContentPartPr>
              <p14:xfrm>
                <a:off x="660177" y="2889278"/>
                <a:ext cx="37800" cy="125280"/>
              </p14:xfrm>
            </p:contentPart>
          </mc:Choice>
          <mc:Fallback xmlns="">
            <p:pic>
              <p:nvPicPr>
                <p:cNvPr id="23" name="Ink 22">
                  <a:extLst>
                    <a:ext uri="{FF2B5EF4-FFF2-40B4-BE49-F238E27FC236}">
                      <a16:creationId xmlns:a16="http://schemas.microsoft.com/office/drawing/2014/main" id="{EB4BAC1B-4F7A-4D56-A8AE-52BAA53BED62}"/>
                    </a:ext>
                  </a:extLst>
                </p:cNvPr>
                <p:cNvPicPr/>
                <p:nvPr/>
              </p:nvPicPr>
              <p:blipFill>
                <a:blip r:embed="rId23"/>
                <a:stretch>
                  <a:fillRect/>
                </a:stretch>
              </p:blipFill>
              <p:spPr>
                <a:xfrm>
                  <a:off x="655857" y="2884958"/>
                  <a:ext cx="46440" cy="1339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6" name="Ink 25">
                  <a:extLst>
                    <a:ext uri="{FF2B5EF4-FFF2-40B4-BE49-F238E27FC236}">
                      <a16:creationId xmlns:a16="http://schemas.microsoft.com/office/drawing/2014/main" id="{B66B6A31-3D97-4A0C-A2EB-9697A5137218}"/>
                    </a:ext>
                  </a:extLst>
                </p14:cNvPr>
                <p14:cNvContentPartPr/>
                <p14:nvPr/>
              </p14:nvContentPartPr>
              <p14:xfrm>
                <a:off x="970497" y="2714678"/>
                <a:ext cx="6840" cy="76680"/>
              </p14:xfrm>
            </p:contentPart>
          </mc:Choice>
          <mc:Fallback xmlns="">
            <p:pic>
              <p:nvPicPr>
                <p:cNvPr id="26" name="Ink 25">
                  <a:extLst>
                    <a:ext uri="{FF2B5EF4-FFF2-40B4-BE49-F238E27FC236}">
                      <a16:creationId xmlns:a16="http://schemas.microsoft.com/office/drawing/2014/main" id="{B66B6A31-3D97-4A0C-A2EB-9697A5137218}"/>
                    </a:ext>
                  </a:extLst>
                </p:cNvPr>
                <p:cNvPicPr/>
                <p:nvPr/>
              </p:nvPicPr>
              <p:blipFill>
                <a:blip r:embed="rId25"/>
                <a:stretch>
                  <a:fillRect/>
                </a:stretch>
              </p:blipFill>
              <p:spPr>
                <a:xfrm>
                  <a:off x="966177" y="2710358"/>
                  <a:ext cx="15480" cy="8532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7" name="Ink 26">
                  <a:extLst>
                    <a:ext uri="{FF2B5EF4-FFF2-40B4-BE49-F238E27FC236}">
                      <a16:creationId xmlns:a16="http://schemas.microsoft.com/office/drawing/2014/main" id="{19ED34EB-BF86-44FD-BC89-488EA6E66ABF}"/>
                    </a:ext>
                  </a:extLst>
                </p14:cNvPr>
                <p14:cNvContentPartPr/>
                <p14:nvPr/>
              </p14:nvContentPartPr>
              <p14:xfrm>
                <a:off x="948897" y="2749598"/>
                <a:ext cx="40680" cy="7560"/>
              </p14:xfrm>
            </p:contentPart>
          </mc:Choice>
          <mc:Fallback xmlns="">
            <p:pic>
              <p:nvPicPr>
                <p:cNvPr id="27" name="Ink 26">
                  <a:extLst>
                    <a:ext uri="{FF2B5EF4-FFF2-40B4-BE49-F238E27FC236}">
                      <a16:creationId xmlns:a16="http://schemas.microsoft.com/office/drawing/2014/main" id="{19ED34EB-BF86-44FD-BC89-488EA6E66ABF}"/>
                    </a:ext>
                  </a:extLst>
                </p:cNvPr>
                <p:cNvPicPr/>
                <p:nvPr/>
              </p:nvPicPr>
              <p:blipFill>
                <a:blip r:embed="rId27"/>
                <a:stretch>
                  <a:fillRect/>
                </a:stretch>
              </p:blipFill>
              <p:spPr>
                <a:xfrm>
                  <a:off x="944577" y="2745278"/>
                  <a:ext cx="49320" cy="1620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29" name="Ink 28">
                  <a:extLst>
                    <a:ext uri="{FF2B5EF4-FFF2-40B4-BE49-F238E27FC236}">
                      <a16:creationId xmlns:a16="http://schemas.microsoft.com/office/drawing/2014/main" id="{958D456E-D080-40F6-AAF6-58B13AC96704}"/>
                    </a:ext>
                  </a:extLst>
                </p14:cNvPr>
                <p14:cNvContentPartPr/>
                <p14:nvPr/>
              </p14:nvContentPartPr>
              <p14:xfrm>
                <a:off x="1243377" y="2617118"/>
                <a:ext cx="20160" cy="83160"/>
              </p14:xfrm>
            </p:contentPart>
          </mc:Choice>
          <mc:Fallback xmlns="">
            <p:pic>
              <p:nvPicPr>
                <p:cNvPr id="29" name="Ink 28">
                  <a:extLst>
                    <a:ext uri="{FF2B5EF4-FFF2-40B4-BE49-F238E27FC236}">
                      <a16:creationId xmlns:a16="http://schemas.microsoft.com/office/drawing/2014/main" id="{958D456E-D080-40F6-AAF6-58B13AC96704}"/>
                    </a:ext>
                  </a:extLst>
                </p:cNvPr>
                <p:cNvPicPr/>
                <p:nvPr/>
              </p:nvPicPr>
              <p:blipFill>
                <a:blip r:embed="rId29"/>
                <a:stretch>
                  <a:fillRect/>
                </a:stretch>
              </p:blipFill>
              <p:spPr>
                <a:xfrm>
                  <a:off x="1239057" y="2612798"/>
                  <a:ext cx="2880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30" name="Ink 29">
                  <a:extLst>
                    <a:ext uri="{FF2B5EF4-FFF2-40B4-BE49-F238E27FC236}">
                      <a16:creationId xmlns:a16="http://schemas.microsoft.com/office/drawing/2014/main" id="{7F3C5EC0-6AAC-4326-8F00-D53A917C07D7}"/>
                    </a:ext>
                  </a:extLst>
                </p14:cNvPr>
                <p14:cNvContentPartPr/>
                <p14:nvPr/>
              </p14:nvContentPartPr>
              <p14:xfrm>
                <a:off x="1130337" y="2748518"/>
                <a:ext cx="279720" cy="8640"/>
              </p14:xfrm>
            </p:contentPart>
          </mc:Choice>
          <mc:Fallback xmlns="">
            <p:pic>
              <p:nvPicPr>
                <p:cNvPr id="30" name="Ink 29">
                  <a:extLst>
                    <a:ext uri="{FF2B5EF4-FFF2-40B4-BE49-F238E27FC236}">
                      <a16:creationId xmlns:a16="http://schemas.microsoft.com/office/drawing/2014/main" id="{7F3C5EC0-6AAC-4326-8F00-D53A917C07D7}"/>
                    </a:ext>
                  </a:extLst>
                </p:cNvPr>
                <p:cNvPicPr/>
                <p:nvPr/>
              </p:nvPicPr>
              <p:blipFill>
                <a:blip r:embed="rId31"/>
                <a:stretch>
                  <a:fillRect/>
                </a:stretch>
              </p:blipFill>
              <p:spPr>
                <a:xfrm>
                  <a:off x="1126017" y="2744198"/>
                  <a:ext cx="288360" cy="1728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2">
            <p14:nvContentPartPr>
              <p14:cNvPr id="51" name="Ink 50">
                <a:extLst>
                  <a:ext uri="{FF2B5EF4-FFF2-40B4-BE49-F238E27FC236}">
                    <a16:creationId xmlns:a16="http://schemas.microsoft.com/office/drawing/2014/main" id="{147E4D44-176A-4371-91BB-08E459C0414E}"/>
                  </a:ext>
                </a:extLst>
              </p14:cNvPr>
              <p14:cNvContentPartPr/>
              <p14:nvPr/>
            </p14:nvContentPartPr>
            <p14:xfrm>
              <a:off x="1180737" y="2869838"/>
              <a:ext cx="77040" cy="117360"/>
            </p14:xfrm>
          </p:contentPart>
        </mc:Choice>
        <mc:Fallback xmlns="">
          <p:pic>
            <p:nvPicPr>
              <p:cNvPr id="51" name="Ink 50">
                <a:extLst>
                  <a:ext uri="{FF2B5EF4-FFF2-40B4-BE49-F238E27FC236}">
                    <a16:creationId xmlns:a16="http://schemas.microsoft.com/office/drawing/2014/main" id="{147E4D44-176A-4371-91BB-08E459C0414E}"/>
                  </a:ext>
                </a:extLst>
              </p:cNvPr>
              <p:cNvPicPr/>
              <p:nvPr/>
            </p:nvPicPr>
            <p:blipFill>
              <a:blip r:embed="rId33"/>
              <a:stretch>
                <a:fillRect/>
              </a:stretch>
            </p:blipFill>
            <p:spPr>
              <a:xfrm>
                <a:off x="1176417" y="2865518"/>
                <a:ext cx="85680" cy="126000"/>
              </a:xfrm>
              <a:prstGeom prst="rect">
                <a:avLst/>
              </a:prstGeom>
            </p:spPr>
          </p:pic>
        </mc:Fallback>
      </mc:AlternateContent>
      <p:grpSp>
        <p:nvGrpSpPr>
          <p:cNvPr id="60" name="Group 59">
            <a:extLst>
              <a:ext uri="{FF2B5EF4-FFF2-40B4-BE49-F238E27FC236}">
                <a16:creationId xmlns:a16="http://schemas.microsoft.com/office/drawing/2014/main" id="{5500A8B3-627B-44F8-A466-699BAAE65DAB}"/>
              </a:ext>
            </a:extLst>
          </p:cNvPr>
          <p:cNvGrpSpPr/>
          <p:nvPr/>
        </p:nvGrpSpPr>
        <p:grpSpPr>
          <a:xfrm>
            <a:off x="1486737" y="2589398"/>
            <a:ext cx="495720" cy="335880"/>
            <a:chOff x="1486737" y="2589398"/>
            <a:chExt cx="495720" cy="335880"/>
          </a:xfrm>
        </p:grpSpPr>
        <mc:AlternateContent xmlns:mc="http://schemas.openxmlformats.org/markup-compatibility/2006" xmlns:p14="http://schemas.microsoft.com/office/powerpoint/2010/main">
          <mc:Choice Requires="p14">
            <p:contentPart p14:bwMode="auto" r:id="rId34">
              <p14:nvContentPartPr>
                <p14:cNvPr id="52" name="Ink 51">
                  <a:extLst>
                    <a:ext uri="{FF2B5EF4-FFF2-40B4-BE49-F238E27FC236}">
                      <a16:creationId xmlns:a16="http://schemas.microsoft.com/office/drawing/2014/main" id="{8FA09571-9A51-4CE5-873F-9A52DAFC1104}"/>
                    </a:ext>
                  </a:extLst>
                </p14:cNvPr>
                <p14:cNvContentPartPr/>
                <p14:nvPr/>
              </p14:nvContentPartPr>
              <p14:xfrm>
                <a:off x="1567017" y="2678678"/>
                <a:ext cx="3240" cy="86040"/>
              </p14:xfrm>
            </p:contentPart>
          </mc:Choice>
          <mc:Fallback xmlns="">
            <p:pic>
              <p:nvPicPr>
                <p:cNvPr id="52" name="Ink 51">
                  <a:extLst>
                    <a:ext uri="{FF2B5EF4-FFF2-40B4-BE49-F238E27FC236}">
                      <a16:creationId xmlns:a16="http://schemas.microsoft.com/office/drawing/2014/main" id="{8FA09571-9A51-4CE5-873F-9A52DAFC1104}"/>
                    </a:ext>
                  </a:extLst>
                </p:cNvPr>
                <p:cNvPicPr/>
                <p:nvPr/>
              </p:nvPicPr>
              <p:blipFill>
                <a:blip r:embed="rId35"/>
                <a:stretch>
                  <a:fillRect/>
                </a:stretch>
              </p:blipFill>
              <p:spPr>
                <a:xfrm>
                  <a:off x="1562697" y="2674358"/>
                  <a:ext cx="11880" cy="9468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53" name="Ink 52">
                  <a:extLst>
                    <a:ext uri="{FF2B5EF4-FFF2-40B4-BE49-F238E27FC236}">
                      <a16:creationId xmlns:a16="http://schemas.microsoft.com/office/drawing/2014/main" id="{1A8E33E0-5E67-451F-AF01-FFF4767A37F0}"/>
                    </a:ext>
                  </a:extLst>
                </p14:cNvPr>
                <p14:cNvContentPartPr/>
                <p14:nvPr/>
              </p14:nvContentPartPr>
              <p14:xfrm>
                <a:off x="1486737" y="2714678"/>
                <a:ext cx="123840" cy="360"/>
              </p14:xfrm>
            </p:contentPart>
          </mc:Choice>
          <mc:Fallback xmlns="">
            <p:pic>
              <p:nvPicPr>
                <p:cNvPr id="53" name="Ink 52">
                  <a:extLst>
                    <a:ext uri="{FF2B5EF4-FFF2-40B4-BE49-F238E27FC236}">
                      <a16:creationId xmlns:a16="http://schemas.microsoft.com/office/drawing/2014/main" id="{1A8E33E0-5E67-451F-AF01-FFF4767A37F0}"/>
                    </a:ext>
                  </a:extLst>
                </p:cNvPr>
                <p:cNvPicPr/>
                <p:nvPr/>
              </p:nvPicPr>
              <p:blipFill>
                <a:blip r:embed="rId37"/>
                <a:stretch>
                  <a:fillRect/>
                </a:stretch>
              </p:blipFill>
              <p:spPr>
                <a:xfrm>
                  <a:off x="1482417" y="2710358"/>
                  <a:ext cx="132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55" name="Ink 54">
                  <a:extLst>
                    <a:ext uri="{FF2B5EF4-FFF2-40B4-BE49-F238E27FC236}">
                      <a16:creationId xmlns:a16="http://schemas.microsoft.com/office/drawing/2014/main" id="{7977434D-220A-4EFB-BC3F-55598BA839DF}"/>
                    </a:ext>
                  </a:extLst>
                </p14:cNvPr>
                <p14:cNvContentPartPr/>
                <p14:nvPr/>
              </p14:nvContentPartPr>
              <p14:xfrm>
                <a:off x="1814697" y="2589398"/>
                <a:ext cx="21240" cy="118080"/>
              </p14:xfrm>
            </p:contentPart>
          </mc:Choice>
          <mc:Fallback xmlns="">
            <p:pic>
              <p:nvPicPr>
                <p:cNvPr id="55" name="Ink 54">
                  <a:extLst>
                    <a:ext uri="{FF2B5EF4-FFF2-40B4-BE49-F238E27FC236}">
                      <a16:creationId xmlns:a16="http://schemas.microsoft.com/office/drawing/2014/main" id="{7977434D-220A-4EFB-BC3F-55598BA839DF}"/>
                    </a:ext>
                  </a:extLst>
                </p:cNvPr>
                <p:cNvPicPr/>
                <p:nvPr/>
              </p:nvPicPr>
              <p:blipFill>
                <a:blip r:embed="rId39"/>
                <a:stretch>
                  <a:fillRect/>
                </a:stretch>
              </p:blipFill>
              <p:spPr>
                <a:xfrm>
                  <a:off x="1810377" y="2585078"/>
                  <a:ext cx="29880" cy="12672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56" name="Ink 55">
                  <a:extLst>
                    <a:ext uri="{FF2B5EF4-FFF2-40B4-BE49-F238E27FC236}">
                      <a16:creationId xmlns:a16="http://schemas.microsoft.com/office/drawing/2014/main" id="{34C9B2D5-82D6-4C61-AA2F-9DB4139C99F2}"/>
                    </a:ext>
                  </a:extLst>
                </p14:cNvPr>
                <p14:cNvContentPartPr/>
                <p14:nvPr/>
              </p14:nvContentPartPr>
              <p14:xfrm>
                <a:off x="1723617" y="2721878"/>
                <a:ext cx="258840" cy="28080"/>
              </p14:xfrm>
            </p:contentPart>
          </mc:Choice>
          <mc:Fallback xmlns="">
            <p:pic>
              <p:nvPicPr>
                <p:cNvPr id="56" name="Ink 55">
                  <a:extLst>
                    <a:ext uri="{FF2B5EF4-FFF2-40B4-BE49-F238E27FC236}">
                      <a16:creationId xmlns:a16="http://schemas.microsoft.com/office/drawing/2014/main" id="{34C9B2D5-82D6-4C61-AA2F-9DB4139C99F2}"/>
                    </a:ext>
                  </a:extLst>
                </p:cNvPr>
                <p:cNvPicPr/>
                <p:nvPr/>
              </p:nvPicPr>
              <p:blipFill>
                <a:blip r:embed="rId41"/>
                <a:stretch>
                  <a:fillRect/>
                </a:stretch>
              </p:blipFill>
              <p:spPr>
                <a:xfrm>
                  <a:off x="1719297" y="2717558"/>
                  <a:ext cx="267480" cy="3672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58" name="Ink 57">
                  <a:extLst>
                    <a:ext uri="{FF2B5EF4-FFF2-40B4-BE49-F238E27FC236}">
                      <a16:creationId xmlns:a16="http://schemas.microsoft.com/office/drawing/2014/main" id="{CA821B2D-06F0-48D0-83A3-75445FC3F964}"/>
                    </a:ext>
                  </a:extLst>
                </p14:cNvPr>
                <p14:cNvContentPartPr/>
                <p14:nvPr/>
              </p14:nvContentPartPr>
              <p14:xfrm>
                <a:off x="1706697" y="2828078"/>
                <a:ext cx="117360" cy="97200"/>
              </p14:xfrm>
            </p:contentPart>
          </mc:Choice>
          <mc:Fallback xmlns="">
            <p:pic>
              <p:nvPicPr>
                <p:cNvPr id="58" name="Ink 57">
                  <a:extLst>
                    <a:ext uri="{FF2B5EF4-FFF2-40B4-BE49-F238E27FC236}">
                      <a16:creationId xmlns:a16="http://schemas.microsoft.com/office/drawing/2014/main" id="{CA821B2D-06F0-48D0-83A3-75445FC3F964}"/>
                    </a:ext>
                  </a:extLst>
                </p:cNvPr>
                <p:cNvPicPr/>
                <p:nvPr/>
              </p:nvPicPr>
              <p:blipFill>
                <a:blip r:embed="rId43"/>
                <a:stretch>
                  <a:fillRect/>
                </a:stretch>
              </p:blipFill>
              <p:spPr>
                <a:xfrm>
                  <a:off x="1702377" y="2823758"/>
                  <a:ext cx="126000" cy="10584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9" name="Ink 58">
                  <a:extLst>
                    <a:ext uri="{FF2B5EF4-FFF2-40B4-BE49-F238E27FC236}">
                      <a16:creationId xmlns:a16="http://schemas.microsoft.com/office/drawing/2014/main" id="{47C56DC8-4860-43BE-9987-8909F6894683}"/>
                    </a:ext>
                  </a:extLst>
                </p14:cNvPr>
                <p14:cNvContentPartPr/>
                <p14:nvPr/>
              </p14:nvContentPartPr>
              <p14:xfrm>
                <a:off x="1891377" y="2841398"/>
                <a:ext cx="71280" cy="77040"/>
              </p14:xfrm>
            </p:contentPart>
          </mc:Choice>
          <mc:Fallback xmlns="">
            <p:pic>
              <p:nvPicPr>
                <p:cNvPr id="59" name="Ink 58">
                  <a:extLst>
                    <a:ext uri="{FF2B5EF4-FFF2-40B4-BE49-F238E27FC236}">
                      <a16:creationId xmlns:a16="http://schemas.microsoft.com/office/drawing/2014/main" id="{47C56DC8-4860-43BE-9987-8909F6894683}"/>
                    </a:ext>
                  </a:extLst>
                </p:cNvPr>
                <p:cNvPicPr/>
                <p:nvPr/>
              </p:nvPicPr>
              <p:blipFill>
                <a:blip r:embed="rId45"/>
                <a:stretch>
                  <a:fillRect/>
                </a:stretch>
              </p:blipFill>
              <p:spPr>
                <a:xfrm>
                  <a:off x="1887057" y="2837078"/>
                  <a:ext cx="79920" cy="85680"/>
                </a:xfrm>
                <a:prstGeom prst="rect">
                  <a:avLst/>
                </a:prstGeom>
              </p:spPr>
            </p:pic>
          </mc:Fallback>
        </mc:AlternateContent>
      </p:grpSp>
      <p:grpSp>
        <p:nvGrpSpPr>
          <p:cNvPr id="65" name="Group 64">
            <a:extLst>
              <a:ext uri="{FF2B5EF4-FFF2-40B4-BE49-F238E27FC236}">
                <a16:creationId xmlns:a16="http://schemas.microsoft.com/office/drawing/2014/main" id="{B21D57C7-8482-4DD6-AF96-719B98630E9F}"/>
              </a:ext>
            </a:extLst>
          </p:cNvPr>
          <p:cNvGrpSpPr/>
          <p:nvPr/>
        </p:nvGrpSpPr>
        <p:grpSpPr>
          <a:xfrm>
            <a:off x="1103697" y="2261438"/>
            <a:ext cx="156600" cy="132480"/>
            <a:chOff x="1103697" y="2261438"/>
            <a:chExt cx="156600" cy="132480"/>
          </a:xfrm>
        </p:grpSpPr>
        <mc:AlternateContent xmlns:mc="http://schemas.openxmlformats.org/markup-compatibility/2006" xmlns:p14="http://schemas.microsoft.com/office/powerpoint/2010/main">
          <mc:Choice Requires="p14">
            <p:contentPart p14:bwMode="auto" r:id="rId46">
              <p14:nvContentPartPr>
                <p14:cNvPr id="61" name="Ink 60">
                  <a:extLst>
                    <a:ext uri="{FF2B5EF4-FFF2-40B4-BE49-F238E27FC236}">
                      <a16:creationId xmlns:a16="http://schemas.microsoft.com/office/drawing/2014/main" id="{480E3E99-EF3A-4C88-93F3-6D77EB41F963}"/>
                    </a:ext>
                  </a:extLst>
                </p14:cNvPr>
                <p14:cNvContentPartPr/>
                <p14:nvPr/>
              </p14:nvContentPartPr>
              <p14:xfrm>
                <a:off x="1103697" y="2261438"/>
                <a:ext cx="156600" cy="92520"/>
              </p14:xfrm>
            </p:contentPart>
          </mc:Choice>
          <mc:Fallback xmlns="">
            <p:pic>
              <p:nvPicPr>
                <p:cNvPr id="61" name="Ink 60">
                  <a:extLst>
                    <a:ext uri="{FF2B5EF4-FFF2-40B4-BE49-F238E27FC236}">
                      <a16:creationId xmlns:a16="http://schemas.microsoft.com/office/drawing/2014/main" id="{480E3E99-EF3A-4C88-93F3-6D77EB41F963}"/>
                    </a:ext>
                  </a:extLst>
                </p:cNvPr>
                <p:cNvPicPr/>
                <p:nvPr/>
              </p:nvPicPr>
              <p:blipFill>
                <a:blip r:embed="rId47"/>
                <a:stretch>
                  <a:fillRect/>
                </a:stretch>
              </p:blipFill>
              <p:spPr>
                <a:xfrm>
                  <a:off x="1099377" y="2257118"/>
                  <a:ext cx="165240" cy="10116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62" name="Ink 61">
                  <a:extLst>
                    <a:ext uri="{FF2B5EF4-FFF2-40B4-BE49-F238E27FC236}">
                      <a16:creationId xmlns:a16="http://schemas.microsoft.com/office/drawing/2014/main" id="{87064BBA-9E69-46B3-A4EE-110E2D5BCC62}"/>
                    </a:ext>
                  </a:extLst>
                </p14:cNvPr>
                <p14:cNvContentPartPr/>
                <p14:nvPr/>
              </p14:nvContentPartPr>
              <p14:xfrm>
                <a:off x="1160937" y="2261438"/>
                <a:ext cx="11880" cy="100080"/>
              </p14:xfrm>
            </p:contentPart>
          </mc:Choice>
          <mc:Fallback xmlns="">
            <p:pic>
              <p:nvPicPr>
                <p:cNvPr id="62" name="Ink 61">
                  <a:extLst>
                    <a:ext uri="{FF2B5EF4-FFF2-40B4-BE49-F238E27FC236}">
                      <a16:creationId xmlns:a16="http://schemas.microsoft.com/office/drawing/2014/main" id="{87064BBA-9E69-46B3-A4EE-110E2D5BCC62}"/>
                    </a:ext>
                  </a:extLst>
                </p:cNvPr>
                <p:cNvPicPr/>
                <p:nvPr/>
              </p:nvPicPr>
              <p:blipFill>
                <a:blip r:embed="rId49"/>
                <a:stretch>
                  <a:fillRect/>
                </a:stretch>
              </p:blipFill>
              <p:spPr>
                <a:xfrm>
                  <a:off x="1156617" y="2257118"/>
                  <a:ext cx="2052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64" name="Ink 63">
                  <a:extLst>
                    <a:ext uri="{FF2B5EF4-FFF2-40B4-BE49-F238E27FC236}">
                      <a16:creationId xmlns:a16="http://schemas.microsoft.com/office/drawing/2014/main" id="{043A83EE-DB33-4020-B958-C79356266DCB}"/>
                    </a:ext>
                  </a:extLst>
                </p14:cNvPr>
                <p14:cNvContentPartPr/>
                <p14:nvPr/>
              </p14:nvContentPartPr>
              <p14:xfrm>
                <a:off x="1165257" y="2344958"/>
                <a:ext cx="6120" cy="48960"/>
              </p14:xfrm>
            </p:contentPart>
          </mc:Choice>
          <mc:Fallback xmlns="">
            <p:pic>
              <p:nvPicPr>
                <p:cNvPr id="64" name="Ink 63">
                  <a:extLst>
                    <a:ext uri="{FF2B5EF4-FFF2-40B4-BE49-F238E27FC236}">
                      <a16:creationId xmlns:a16="http://schemas.microsoft.com/office/drawing/2014/main" id="{043A83EE-DB33-4020-B958-C79356266DCB}"/>
                    </a:ext>
                  </a:extLst>
                </p:cNvPr>
                <p:cNvPicPr/>
                <p:nvPr/>
              </p:nvPicPr>
              <p:blipFill>
                <a:blip r:embed="rId51"/>
                <a:stretch>
                  <a:fillRect/>
                </a:stretch>
              </p:blipFill>
              <p:spPr>
                <a:xfrm>
                  <a:off x="1160937" y="2340638"/>
                  <a:ext cx="14760" cy="57600"/>
                </a:xfrm>
                <a:prstGeom prst="rect">
                  <a:avLst/>
                </a:prstGeom>
              </p:spPr>
            </p:pic>
          </mc:Fallback>
        </mc:AlternateContent>
      </p:grpSp>
      <p:grpSp>
        <p:nvGrpSpPr>
          <p:cNvPr id="69" name="Group 68">
            <a:extLst>
              <a:ext uri="{FF2B5EF4-FFF2-40B4-BE49-F238E27FC236}">
                <a16:creationId xmlns:a16="http://schemas.microsoft.com/office/drawing/2014/main" id="{1EB69986-8F72-4419-98F3-B23336B89302}"/>
              </a:ext>
            </a:extLst>
          </p:cNvPr>
          <p:cNvGrpSpPr/>
          <p:nvPr/>
        </p:nvGrpSpPr>
        <p:grpSpPr>
          <a:xfrm>
            <a:off x="2324097" y="2421638"/>
            <a:ext cx="92520" cy="70200"/>
            <a:chOff x="2324097" y="2421638"/>
            <a:chExt cx="92520" cy="70200"/>
          </a:xfrm>
        </p:grpSpPr>
        <mc:AlternateContent xmlns:mc="http://schemas.openxmlformats.org/markup-compatibility/2006" xmlns:p14="http://schemas.microsoft.com/office/powerpoint/2010/main">
          <mc:Choice Requires="p14">
            <p:contentPart p14:bwMode="auto" r:id="rId52">
              <p14:nvContentPartPr>
                <p14:cNvPr id="66" name="Ink 65">
                  <a:extLst>
                    <a:ext uri="{FF2B5EF4-FFF2-40B4-BE49-F238E27FC236}">
                      <a16:creationId xmlns:a16="http://schemas.microsoft.com/office/drawing/2014/main" id="{6CE74AAD-E46E-48EC-979F-BE10F983C6F4}"/>
                    </a:ext>
                  </a:extLst>
                </p14:cNvPr>
                <p14:cNvContentPartPr/>
                <p14:nvPr/>
              </p14:nvContentPartPr>
              <p14:xfrm>
                <a:off x="2400777" y="2421638"/>
                <a:ext cx="15840" cy="360"/>
              </p14:xfrm>
            </p:contentPart>
          </mc:Choice>
          <mc:Fallback xmlns="">
            <p:pic>
              <p:nvPicPr>
                <p:cNvPr id="66" name="Ink 65">
                  <a:extLst>
                    <a:ext uri="{FF2B5EF4-FFF2-40B4-BE49-F238E27FC236}">
                      <a16:creationId xmlns:a16="http://schemas.microsoft.com/office/drawing/2014/main" id="{6CE74AAD-E46E-48EC-979F-BE10F983C6F4}"/>
                    </a:ext>
                  </a:extLst>
                </p:cNvPr>
                <p:cNvPicPr/>
                <p:nvPr/>
              </p:nvPicPr>
              <p:blipFill>
                <a:blip r:embed="rId53"/>
                <a:stretch>
                  <a:fillRect/>
                </a:stretch>
              </p:blipFill>
              <p:spPr>
                <a:xfrm>
                  <a:off x="2396457" y="2417318"/>
                  <a:ext cx="24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67" name="Ink 66">
                  <a:extLst>
                    <a:ext uri="{FF2B5EF4-FFF2-40B4-BE49-F238E27FC236}">
                      <a16:creationId xmlns:a16="http://schemas.microsoft.com/office/drawing/2014/main" id="{1EA26F19-E686-436D-A93F-0CC403F15E5F}"/>
                    </a:ext>
                  </a:extLst>
                </p14:cNvPr>
                <p14:cNvContentPartPr/>
                <p14:nvPr/>
              </p14:nvContentPartPr>
              <p14:xfrm>
                <a:off x="2324097" y="2491478"/>
                <a:ext cx="76680" cy="360"/>
              </p14:xfrm>
            </p:contentPart>
          </mc:Choice>
          <mc:Fallback xmlns="">
            <p:pic>
              <p:nvPicPr>
                <p:cNvPr id="67" name="Ink 66">
                  <a:extLst>
                    <a:ext uri="{FF2B5EF4-FFF2-40B4-BE49-F238E27FC236}">
                      <a16:creationId xmlns:a16="http://schemas.microsoft.com/office/drawing/2014/main" id="{1EA26F19-E686-436D-A93F-0CC403F15E5F}"/>
                    </a:ext>
                  </a:extLst>
                </p:cNvPr>
                <p:cNvPicPr/>
                <p:nvPr/>
              </p:nvPicPr>
              <p:blipFill>
                <a:blip r:embed="rId55"/>
                <a:stretch>
                  <a:fillRect/>
                </a:stretch>
              </p:blipFill>
              <p:spPr>
                <a:xfrm>
                  <a:off x="2319777" y="2487158"/>
                  <a:ext cx="8532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68" name="Ink 67">
                  <a:extLst>
                    <a:ext uri="{FF2B5EF4-FFF2-40B4-BE49-F238E27FC236}">
                      <a16:creationId xmlns:a16="http://schemas.microsoft.com/office/drawing/2014/main" id="{F9EF1054-8C28-4C16-A6FA-50DD1ED26A21}"/>
                    </a:ext>
                  </a:extLst>
                </p14:cNvPr>
                <p14:cNvContentPartPr/>
                <p14:nvPr/>
              </p14:nvContentPartPr>
              <p14:xfrm>
                <a:off x="2344977" y="2421638"/>
                <a:ext cx="47880" cy="21240"/>
              </p14:xfrm>
            </p:contentPart>
          </mc:Choice>
          <mc:Fallback xmlns="">
            <p:pic>
              <p:nvPicPr>
                <p:cNvPr id="68" name="Ink 67">
                  <a:extLst>
                    <a:ext uri="{FF2B5EF4-FFF2-40B4-BE49-F238E27FC236}">
                      <a16:creationId xmlns:a16="http://schemas.microsoft.com/office/drawing/2014/main" id="{F9EF1054-8C28-4C16-A6FA-50DD1ED26A21}"/>
                    </a:ext>
                  </a:extLst>
                </p:cNvPr>
                <p:cNvPicPr/>
                <p:nvPr/>
              </p:nvPicPr>
              <p:blipFill>
                <a:blip r:embed="rId57"/>
                <a:stretch>
                  <a:fillRect/>
                </a:stretch>
              </p:blipFill>
              <p:spPr>
                <a:xfrm>
                  <a:off x="2340657" y="2417318"/>
                  <a:ext cx="56520" cy="29880"/>
                </a:xfrm>
                <a:prstGeom prst="rect">
                  <a:avLst/>
                </a:prstGeom>
              </p:spPr>
            </p:pic>
          </mc:Fallback>
        </mc:AlternateContent>
      </p:grpSp>
      <p:grpSp>
        <p:nvGrpSpPr>
          <p:cNvPr id="73" name="Group 72">
            <a:extLst>
              <a:ext uri="{FF2B5EF4-FFF2-40B4-BE49-F238E27FC236}">
                <a16:creationId xmlns:a16="http://schemas.microsoft.com/office/drawing/2014/main" id="{4424BF29-E655-4E00-9CEF-396E97441723}"/>
              </a:ext>
            </a:extLst>
          </p:cNvPr>
          <p:cNvGrpSpPr/>
          <p:nvPr/>
        </p:nvGrpSpPr>
        <p:grpSpPr>
          <a:xfrm>
            <a:off x="2945097" y="2191238"/>
            <a:ext cx="1828440" cy="356400"/>
            <a:chOff x="2945097" y="2191238"/>
            <a:chExt cx="1828440" cy="356400"/>
          </a:xfrm>
        </p:grpSpPr>
        <mc:AlternateContent xmlns:mc="http://schemas.openxmlformats.org/markup-compatibility/2006" xmlns:p14="http://schemas.microsoft.com/office/powerpoint/2010/main">
          <mc:Choice Requires="p14">
            <p:contentPart p14:bwMode="auto" r:id="rId58">
              <p14:nvContentPartPr>
                <p14:cNvPr id="70" name="Ink 69">
                  <a:extLst>
                    <a:ext uri="{FF2B5EF4-FFF2-40B4-BE49-F238E27FC236}">
                      <a16:creationId xmlns:a16="http://schemas.microsoft.com/office/drawing/2014/main" id="{4317C1E6-A60C-4D3F-B40E-FB6A28C6716C}"/>
                    </a:ext>
                  </a:extLst>
                </p14:cNvPr>
                <p14:cNvContentPartPr/>
                <p14:nvPr/>
              </p14:nvContentPartPr>
              <p14:xfrm>
                <a:off x="3479337" y="2198438"/>
                <a:ext cx="206280" cy="154080"/>
              </p14:xfrm>
            </p:contentPart>
          </mc:Choice>
          <mc:Fallback xmlns="">
            <p:pic>
              <p:nvPicPr>
                <p:cNvPr id="70" name="Ink 69">
                  <a:extLst>
                    <a:ext uri="{FF2B5EF4-FFF2-40B4-BE49-F238E27FC236}">
                      <a16:creationId xmlns:a16="http://schemas.microsoft.com/office/drawing/2014/main" id="{4317C1E6-A60C-4D3F-B40E-FB6A28C6716C}"/>
                    </a:ext>
                  </a:extLst>
                </p:cNvPr>
                <p:cNvPicPr/>
                <p:nvPr/>
              </p:nvPicPr>
              <p:blipFill>
                <a:blip r:embed="rId59"/>
                <a:stretch>
                  <a:fillRect/>
                </a:stretch>
              </p:blipFill>
              <p:spPr>
                <a:xfrm>
                  <a:off x="3475017" y="2194118"/>
                  <a:ext cx="214920" cy="16272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71" name="Ink 70">
                  <a:extLst>
                    <a:ext uri="{FF2B5EF4-FFF2-40B4-BE49-F238E27FC236}">
                      <a16:creationId xmlns:a16="http://schemas.microsoft.com/office/drawing/2014/main" id="{9ABBD5C8-320C-4FD3-B16D-DF9709F0A3F9}"/>
                    </a:ext>
                  </a:extLst>
                </p14:cNvPr>
                <p14:cNvContentPartPr/>
                <p14:nvPr/>
              </p14:nvContentPartPr>
              <p14:xfrm>
                <a:off x="3545577" y="2191238"/>
                <a:ext cx="77040" cy="223920"/>
              </p14:xfrm>
            </p:contentPart>
          </mc:Choice>
          <mc:Fallback xmlns="">
            <p:pic>
              <p:nvPicPr>
                <p:cNvPr id="71" name="Ink 70">
                  <a:extLst>
                    <a:ext uri="{FF2B5EF4-FFF2-40B4-BE49-F238E27FC236}">
                      <a16:creationId xmlns:a16="http://schemas.microsoft.com/office/drawing/2014/main" id="{9ABBD5C8-320C-4FD3-B16D-DF9709F0A3F9}"/>
                    </a:ext>
                  </a:extLst>
                </p:cNvPr>
                <p:cNvPicPr/>
                <p:nvPr/>
              </p:nvPicPr>
              <p:blipFill>
                <a:blip r:embed="rId61"/>
                <a:stretch>
                  <a:fillRect/>
                </a:stretch>
              </p:blipFill>
              <p:spPr>
                <a:xfrm>
                  <a:off x="3541257" y="2186918"/>
                  <a:ext cx="85680" cy="23256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72" name="Ink 71">
                  <a:extLst>
                    <a:ext uri="{FF2B5EF4-FFF2-40B4-BE49-F238E27FC236}">
                      <a16:creationId xmlns:a16="http://schemas.microsoft.com/office/drawing/2014/main" id="{242EB795-7C6E-40FE-A792-B604ADDC4D6F}"/>
                    </a:ext>
                  </a:extLst>
                </p14:cNvPr>
                <p14:cNvContentPartPr/>
                <p14:nvPr/>
              </p14:nvContentPartPr>
              <p14:xfrm>
                <a:off x="2945097" y="2463038"/>
                <a:ext cx="1828440" cy="84600"/>
              </p14:xfrm>
            </p:contentPart>
          </mc:Choice>
          <mc:Fallback xmlns="">
            <p:pic>
              <p:nvPicPr>
                <p:cNvPr id="72" name="Ink 71">
                  <a:extLst>
                    <a:ext uri="{FF2B5EF4-FFF2-40B4-BE49-F238E27FC236}">
                      <a16:creationId xmlns:a16="http://schemas.microsoft.com/office/drawing/2014/main" id="{242EB795-7C6E-40FE-A792-B604ADDC4D6F}"/>
                    </a:ext>
                  </a:extLst>
                </p:cNvPr>
                <p:cNvPicPr/>
                <p:nvPr/>
              </p:nvPicPr>
              <p:blipFill>
                <a:blip r:embed="rId63"/>
                <a:stretch>
                  <a:fillRect/>
                </a:stretch>
              </p:blipFill>
              <p:spPr>
                <a:xfrm>
                  <a:off x="2940777" y="2458718"/>
                  <a:ext cx="1837080" cy="93240"/>
                </a:xfrm>
                <a:prstGeom prst="rect">
                  <a:avLst/>
                </a:prstGeom>
              </p:spPr>
            </p:pic>
          </mc:Fallback>
        </mc:AlternateContent>
      </p:grpSp>
      <p:grpSp>
        <p:nvGrpSpPr>
          <p:cNvPr id="87" name="Group 86">
            <a:extLst>
              <a:ext uri="{FF2B5EF4-FFF2-40B4-BE49-F238E27FC236}">
                <a16:creationId xmlns:a16="http://schemas.microsoft.com/office/drawing/2014/main" id="{AF082C2C-E264-4EDF-91E8-19018BEA3604}"/>
              </a:ext>
            </a:extLst>
          </p:cNvPr>
          <p:cNvGrpSpPr/>
          <p:nvPr/>
        </p:nvGrpSpPr>
        <p:grpSpPr>
          <a:xfrm>
            <a:off x="2940417" y="2666078"/>
            <a:ext cx="1247400" cy="171720"/>
            <a:chOff x="2940417" y="2666078"/>
            <a:chExt cx="1247400" cy="171720"/>
          </a:xfrm>
        </p:grpSpPr>
        <mc:AlternateContent xmlns:mc="http://schemas.openxmlformats.org/markup-compatibility/2006" xmlns:p14="http://schemas.microsoft.com/office/powerpoint/2010/main">
          <mc:Choice Requires="p14">
            <p:contentPart p14:bwMode="auto" r:id="rId64">
              <p14:nvContentPartPr>
                <p14:cNvPr id="74" name="Ink 73">
                  <a:extLst>
                    <a:ext uri="{FF2B5EF4-FFF2-40B4-BE49-F238E27FC236}">
                      <a16:creationId xmlns:a16="http://schemas.microsoft.com/office/drawing/2014/main" id="{E2DC2372-3F00-4641-A310-766F79B8828F}"/>
                    </a:ext>
                  </a:extLst>
                </p14:cNvPr>
                <p14:cNvContentPartPr/>
                <p14:nvPr/>
              </p14:nvContentPartPr>
              <p14:xfrm>
                <a:off x="2940417" y="2749598"/>
                <a:ext cx="68040" cy="88200"/>
              </p14:xfrm>
            </p:contentPart>
          </mc:Choice>
          <mc:Fallback xmlns="">
            <p:pic>
              <p:nvPicPr>
                <p:cNvPr id="74" name="Ink 73">
                  <a:extLst>
                    <a:ext uri="{FF2B5EF4-FFF2-40B4-BE49-F238E27FC236}">
                      <a16:creationId xmlns:a16="http://schemas.microsoft.com/office/drawing/2014/main" id="{E2DC2372-3F00-4641-A310-766F79B8828F}"/>
                    </a:ext>
                  </a:extLst>
                </p:cNvPr>
                <p:cNvPicPr/>
                <p:nvPr/>
              </p:nvPicPr>
              <p:blipFill>
                <a:blip r:embed="rId65"/>
                <a:stretch>
                  <a:fillRect/>
                </a:stretch>
              </p:blipFill>
              <p:spPr>
                <a:xfrm>
                  <a:off x="2936097" y="2745278"/>
                  <a:ext cx="76680" cy="9684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75" name="Ink 74">
                  <a:extLst>
                    <a:ext uri="{FF2B5EF4-FFF2-40B4-BE49-F238E27FC236}">
                      <a16:creationId xmlns:a16="http://schemas.microsoft.com/office/drawing/2014/main" id="{82CD5D70-D9AD-439F-ABA1-74AD526D5D66}"/>
                    </a:ext>
                  </a:extLst>
                </p14:cNvPr>
                <p14:cNvContentPartPr/>
                <p14:nvPr/>
              </p14:nvContentPartPr>
              <p14:xfrm>
                <a:off x="3082257" y="2784878"/>
                <a:ext cx="3240" cy="360"/>
              </p14:xfrm>
            </p:contentPart>
          </mc:Choice>
          <mc:Fallback xmlns="">
            <p:pic>
              <p:nvPicPr>
                <p:cNvPr id="75" name="Ink 74">
                  <a:extLst>
                    <a:ext uri="{FF2B5EF4-FFF2-40B4-BE49-F238E27FC236}">
                      <a16:creationId xmlns:a16="http://schemas.microsoft.com/office/drawing/2014/main" id="{82CD5D70-D9AD-439F-ABA1-74AD526D5D66}"/>
                    </a:ext>
                  </a:extLst>
                </p:cNvPr>
                <p:cNvPicPr/>
                <p:nvPr/>
              </p:nvPicPr>
              <p:blipFill>
                <a:blip r:embed="rId67"/>
                <a:stretch>
                  <a:fillRect/>
                </a:stretch>
              </p:blipFill>
              <p:spPr>
                <a:xfrm>
                  <a:off x="3077937" y="2780558"/>
                  <a:ext cx="118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76" name="Ink 75">
                  <a:extLst>
                    <a:ext uri="{FF2B5EF4-FFF2-40B4-BE49-F238E27FC236}">
                      <a16:creationId xmlns:a16="http://schemas.microsoft.com/office/drawing/2014/main" id="{A96F12AE-A523-459C-AFEE-917B9CDF547F}"/>
                    </a:ext>
                  </a:extLst>
                </p14:cNvPr>
                <p14:cNvContentPartPr/>
                <p14:nvPr/>
              </p14:nvContentPartPr>
              <p14:xfrm>
                <a:off x="3121857" y="2721518"/>
                <a:ext cx="56520" cy="106200"/>
              </p14:xfrm>
            </p:contentPart>
          </mc:Choice>
          <mc:Fallback xmlns="">
            <p:pic>
              <p:nvPicPr>
                <p:cNvPr id="76" name="Ink 75">
                  <a:extLst>
                    <a:ext uri="{FF2B5EF4-FFF2-40B4-BE49-F238E27FC236}">
                      <a16:creationId xmlns:a16="http://schemas.microsoft.com/office/drawing/2014/main" id="{A96F12AE-A523-459C-AFEE-917B9CDF547F}"/>
                    </a:ext>
                  </a:extLst>
                </p:cNvPr>
                <p:cNvPicPr/>
                <p:nvPr/>
              </p:nvPicPr>
              <p:blipFill>
                <a:blip r:embed="rId69"/>
                <a:stretch>
                  <a:fillRect/>
                </a:stretch>
              </p:blipFill>
              <p:spPr>
                <a:xfrm>
                  <a:off x="3117537" y="2717198"/>
                  <a:ext cx="65160" cy="11484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77" name="Ink 76">
                  <a:extLst>
                    <a:ext uri="{FF2B5EF4-FFF2-40B4-BE49-F238E27FC236}">
                      <a16:creationId xmlns:a16="http://schemas.microsoft.com/office/drawing/2014/main" id="{61C33078-B810-4587-A6A4-42D84EE583FB}"/>
                    </a:ext>
                  </a:extLst>
                </p14:cNvPr>
                <p14:cNvContentPartPr/>
                <p14:nvPr/>
              </p14:nvContentPartPr>
              <p14:xfrm>
                <a:off x="3133737" y="2721518"/>
                <a:ext cx="73800" cy="7920"/>
              </p14:xfrm>
            </p:contentPart>
          </mc:Choice>
          <mc:Fallback xmlns="">
            <p:pic>
              <p:nvPicPr>
                <p:cNvPr id="77" name="Ink 76">
                  <a:extLst>
                    <a:ext uri="{FF2B5EF4-FFF2-40B4-BE49-F238E27FC236}">
                      <a16:creationId xmlns:a16="http://schemas.microsoft.com/office/drawing/2014/main" id="{61C33078-B810-4587-A6A4-42D84EE583FB}"/>
                    </a:ext>
                  </a:extLst>
                </p:cNvPr>
                <p:cNvPicPr/>
                <p:nvPr/>
              </p:nvPicPr>
              <p:blipFill>
                <a:blip r:embed="rId71"/>
                <a:stretch>
                  <a:fillRect/>
                </a:stretch>
              </p:blipFill>
              <p:spPr>
                <a:xfrm>
                  <a:off x="3129417" y="2717198"/>
                  <a:ext cx="82440" cy="1656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79" name="Ink 78">
                  <a:extLst>
                    <a:ext uri="{FF2B5EF4-FFF2-40B4-BE49-F238E27FC236}">
                      <a16:creationId xmlns:a16="http://schemas.microsoft.com/office/drawing/2014/main" id="{5C9CABE6-4E9B-4141-83E3-87F86B150E5B}"/>
                    </a:ext>
                  </a:extLst>
                </p14:cNvPr>
                <p14:cNvContentPartPr/>
                <p14:nvPr/>
              </p14:nvContentPartPr>
              <p14:xfrm>
                <a:off x="3392217" y="2693798"/>
                <a:ext cx="28080" cy="104040"/>
              </p14:xfrm>
            </p:contentPart>
          </mc:Choice>
          <mc:Fallback xmlns="">
            <p:pic>
              <p:nvPicPr>
                <p:cNvPr id="79" name="Ink 78">
                  <a:extLst>
                    <a:ext uri="{FF2B5EF4-FFF2-40B4-BE49-F238E27FC236}">
                      <a16:creationId xmlns:a16="http://schemas.microsoft.com/office/drawing/2014/main" id="{5C9CABE6-4E9B-4141-83E3-87F86B150E5B}"/>
                    </a:ext>
                  </a:extLst>
                </p:cNvPr>
                <p:cNvPicPr/>
                <p:nvPr/>
              </p:nvPicPr>
              <p:blipFill>
                <a:blip r:embed="rId73"/>
                <a:stretch>
                  <a:fillRect/>
                </a:stretch>
              </p:blipFill>
              <p:spPr>
                <a:xfrm>
                  <a:off x="3387897" y="2689478"/>
                  <a:ext cx="3672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80" name="Ink 79">
                  <a:extLst>
                    <a:ext uri="{FF2B5EF4-FFF2-40B4-BE49-F238E27FC236}">
                      <a16:creationId xmlns:a16="http://schemas.microsoft.com/office/drawing/2014/main" id="{B58D5708-C6CE-436E-992C-2154E0E86019}"/>
                    </a:ext>
                  </a:extLst>
                </p14:cNvPr>
                <p14:cNvContentPartPr/>
                <p14:nvPr/>
              </p14:nvContentPartPr>
              <p14:xfrm>
                <a:off x="3350097" y="2749598"/>
                <a:ext cx="83520" cy="360"/>
              </p14:xfrm>
            </p:contentPart>
          </mc:Choice>
          <mc:Fallback xmlns="">
            <p:pic>
              <p:nvPicPr>
                <p:cNvPr id="80" name="Ink 79">
                  <a:extLst>
                    <a:ext uri="{FF2B5EF4-FFF2-40B4-BE49-F238E27FC236}">
                      <a16:creationId xmlns:a16="http://schemas.microsoft.com/office/drawing/2014/main" id="{B58D5708-C6CE-436E-992C-2154E0E86019}"/>
                    </a:ext>
                  </a:extLst>
                </p:cNvPr>
                <p:cNvPicPr/>
                <p:nvPr/>
              </p:nvPicPr>
              <p:blipFill>
                <a:blip r:embed="rId75"/>
                <a:stretch>
                  <a:fillRect/>
                </a:stretch>
              </p:blipFill>
              <p:spPr>
                <a:xfrm>
                  <a:off x="3345777" y="2745278"/>
                  <a:ext cx="9216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81" name="Ink 80">
                  <a:extLst>
                    <a:ext uri="{FF2B5EF4-FFF2-40B4-BE49-F238E27FC236}">
                      <a16:creationId xmlns:a16="http://schemas.microsoft.com/office/drawing/2014/main" id="{766E1BF5-C8AF-47F3-A2CC-CF96E0B3DCBC}"/>
                    </a:ext>
                  </a:extLst>
                </p14:cNvPr>
                <p14:cNvContentPartPr/>
                <p14:nvPr/>
              </p14:nvContentPartPr>
              <p14:xfrm>
                <a:off x="3566817" y="2704598"/>
                <a:ext cx="85320" cy="97920"/>
              </p14:xfrm>
            </p:contentPart>
          </mc:Choice>
          <mc:Fallback xmlns="">
            <p:pic>
              <p:nvPicPr>
                <p:cNvPr id="81" name="Ink 80">
                  <a:extLst>
                    <a:ext uri="{FF2B5EF4-FFF2-40B4-BE49-F238E27FC236}">
                      <a16:creationId xmlns:a16="http://schemas.microsoft.com/office/drawing/2014/main" id="{766E1BF5-C8AF-47F3-A2CC-CF96E0B3DCBC}"/>
                    </a:ext>
                  </a:extLst>
                </p:cNvPr>
                <p:cNvPicPr/>
                <p:nvPr/>
              </p:nvPicPr>
              <p:blipFill>
                <a:blip r:embed="rId77"/>
                <a:stretch>
                  <a:fillRect/>
                </a:stretch>
              </p:blipFill>
              <p:spPr>
                <a:xfrm>
                  <a:off x="3562497" y="2700278"/>
                  <a:ext cx="93960" cy="10656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82" name="Ink 81">
                  <a:extLst>
                    <a:ext uri="{FF2B5EF4-FFF2-40B4-BE49-F238E27FC236}">
                      <a16:creationId xmlns:a16="http://schemas.microsoft.com/office/drawing/2014/main" id="{8493DB77-04CA-44B7-A3CF-5B2B78681B2F}"/>
                    </a:ext>
                  </a:extLst>
                </p14:cNvPr>
                <p14:cNvContentPartPr/>
                <p14:nvPr/>
              </p14:nvContentPartPr>
              <p14:xfrm>
                <a:off x="3733857" y="2742758"/>
                <a:ext cx="360" cy="360"/>
              </p14:xfrm>
            </p:contentPart>
          </mc:Choice>
          <mc:Fallback xmlns="">
            <p:pic>
              <p:nvPicPr>
                <p:cNvPr id="82" name="Ink 81">
                  <a:extLst>
                    <a:ext uri="{FF2B5EF4-FFF2-40B4-BE49-F238E27FC236}">
                      <a16:creationId xmlns:a16="http://schemas.microsoft.com/office/drawing/2014/main" id="{8493DB77-04CA-44B7-A3CF-5B2B78681B2F}"/>
                    </a:ext>
                  </a:extLst>
                </p:cNvPr>
                <p:cNvPicPr/>
                <p:nvPr/>
              </p:nvPicPr>
              <p:blipFill>
                <a:blip r:embed="rId3"/>
                <a:stretch>
                  <a:fillRect/>
                </a:stretch>
              </p:blipFill>
              <p:spPr>
                <a:xfrm>
                  <a:off x="3729537" y="27384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83" name="Ink 82">
                  <a:extLst>
                    <a:ext uri="{FF2B5EF4-FFF2-40B4-BE49-F238E27FC236}">
                      <a16:creationId xmlns:a16="http://schemas.microsoft.com/office/drawing/2014/main" id="{7717E4D3-1A14-4BD6-BB56-CC41BA460A6B}"/>
                    </a:ext>
                  </a:extLst>
                </p14:cNvPr>
                <p14:cNvContentPartPr/>
                <p14:nvPr/>
              </p14:nvContentPartPr>
              <p14:xfrm>
                <a:off x="3808737" y="2676878"/>
                <a:ext cx="92160" cy="114480"/>
              </p14:xfrm>
            </p:contentPart>
          </mc:Choice>
          <mc:Fallback xmlns="">
            <p:pic>
              <p:nvPicPr>
                <p:cNvPr id="83" name="Ink 82">
                  <a:extLst>
                    <a:ext uri="{FF2B5EF4-FFF2-40B4-BE49-F238E27FC236}">
                      <a16:creationId xmlns:a16="http://schemas.microsoft.com/office/drawing/2014/main" id="{7717E4D3-1A14-4BD6-BB56-CC41BA460A6B}"/>
                    </a:ext>
                  </a:extLst>
                </p:cNvPr>
                <p:cNvPicPr/>
                <p:nvPr/>
              </p:nvPicPr>
              <p:blipFill>
                <a:blip r:embed="rId80"/>
                <a:stretch>
                  <a:fillRect/>
                </a:stretch>
              </p:blipFill>
              <p:spPr>
                <a:xfrm>
                  <a:off x="3804417" y="2672558"/>
                  <a:ext cx="100800" cy="123120"/>
                </a:xfrm>
                <a:prstGeom prst="rect">
                  <a:avLst/>
                </a:prstGeom>
              </p:spPr>
            </p:pic>
          </mc:Fallback>
        </mc:AlternateContent>
        <mc:AlternateContent xmlns:mc="http://schemas.openxmlformats.org/markup-compatibility/2006" xmlns:p14="http://schemas.microsoft.com/office/powerpoint/2010/main">
          <mc:Choice Requires="p14">
            <p:contentPart p14:bwMode="auto" r:id="rId81">
              <p14:nvContentPartPr>
                <p14:cNvPr id="84" name="Ink 83">
                  <a:extLst>
                    <a:ext uri="{FF2B5EF4-FFF2-40B4-BE49-F238E27FC236}">
                      <a16:creationId xmlns:a16="http://schemas.microsoft.com/office/drawing/2014/main" id="{2305226F-A32F-4E0D-BEB4-09C8163BBC31}"/>
                    </a:ext>
                  </a:extLst>
                </p14:cNvPr>
                <p14:cNvContentPartPr/>
                <p14:nvPr/>
              </p14:nvContentPartPr>
              <p14:xfrm>
                <a:off x="3888657" y="2666078"/>
                <a:ext cx="103320" cy="112680"/>
              </p14:xfrm>
            </p:contentPart>
          </mc:Choice>
          <mc:Fallback xmlns="">
            <p:pic>
              <p:nvPicPr>
                <p:cNvPr id="84" name="Ink 83">
                  <a:extLst>
                    <a:ext uri="{FF2B5EF4-FFF2-40B4-BE49-F238E27FC236}">
                      <a16:creationId xmlns:a16="http://schemas.microsoft.com/office/drawing/2014/main" id="{2305226F-A32F-4E0D-BEB4-09C8163BBC31}"/>
                    </a:ext>
                  </a:extLst>
                </p:cNvPr>
                <p:cNvPicPr/>
                <p:nvPr/>
              </p:nvPicPr>
              <p:blipFill>
                <a:blip r:embed="rId82"/>
                <a:stretch>
                  <a:fillRect/>
                </a:stretch>
              </p:blipFill>
              <p:spPr>
                <a:xfrm>
                  <a:off x="3884337" y="2661758"/>
                  <a:ext cx="111960" cy="121320"/>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85" name="Ink 84">
                  <a:extLst>
                    <a:ext uri="{FF2B5EF4-FFF2-40B4-BE49-F238E27FC236}">
                      <a16:creationId xmlns:a16="http://schemas.microsoft.com/office/drawing/2014/main" id="{D5EE0536-0E3B-4A6B-81D1-EB3FFB91D185}"/>
                    </a:ext>
                  </a:extLst>
                </p14:cNvPr>
                <p14:cNvContentPartPr/>
                <p14:nvPr/>
              </p14:nvContentPartPr>
              <p14:xfrm>
                <a:off x="4105017" y="2686958"/>
                <a:ext cx="20160" cy="82800"/>
              </p14:xfrm>
            </p:contentPart>
          </mc:Choice>
          <mc:Fallback xmlns="">
            <p:pic>
              <p:nvPicPr>
                <p:cNvPr id="85" name="Ink 84">
                  <a:extLst>
                    <a:ext uri="{FF2B5EF4-FFF2-40B4-BE49-F238E27FC236}">
                      <a16:creationId xmlns:a16="http://schemas.microsoft.com/office/drawing/2014/main" id="{D5EE0536-0E3B-4A6B-81D1-EB3FFB91D185}"/>
                    </a:ext>
                  </a:extLst>
                </p:cNvPr>
                <p:cNvPicPr/>
                <p:nvPr/>
              </p:nvPicPr>
              <p:blipFill>
                <a:blip r:embed="rId29"/>
                <a:stretch>
                  <a:fillRect/>
                </a:stretch>
              </p:blipFill>
              <p:spPr>
                <a:xfrm>
                  <a:off x="4100697" y="2682638"/>
                  <a:ext cx="28800" cy="9144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86" name="Ink 85">
                  <a:extLst>
                    <a:ext uri="{FF2B5EF4-FFF2-40B4-BE49-F238E27FC236}">
                      <a16:creationId xmlns:a16="http://schemas.microsoft.com/office/drawing/2014/main" id="{EFD931F9-B7D6-4A0C-ADF2-48A294C2F01D}"/>
                    </a:ext>
                  </a:extLst>
                </p14:cNvPr>
                <p14:cNvContentPartPr/>
                <p14:nvPr/>
              </p14:nvContentPartPr>
              <p14:xfrm>
                <a:off x="4062177" y="2716118"/>
                <a:ext cx="125640" cy="12960"/>
              </p14:xfrm>
            </p:contentPart>
          </mc:Choice>
          <mc:Fallback xmlns="">
            <p:pic>
              <p:nvPicPr>
                <p:cNvPr id="86" name="Ink 85">
                  <a:extLst>
                    <a:ext uri="{FF2B5EF4-FFF2-40B4-BE49-F238E27FC236}">
                      <a16:creationId xmlns:a16="http://schemas.microsoft.com/office/drawing/2014/main" id="{EFD931F9-B7D6-4A0C-ADF2-48A294C2F01D}"/>
                    </a:ext>
                  </a:extLst>
                </p:cNvPr>
                <p:cNvPicPr/>
                <p:nvPr/>
              </p:nvPicPr>
              <p:blipFill>
                <a:blip r:embed="rId85"/>
                <a:stretch>
                  <a:fillRect/>
                </a:stretch>
              </p:blipFill>
              <p:spPr>
                <a:xfrm>
                  <a:off x="4057857" y="2711798"/>
                  <a:ext cx="134280" cy="21600"/>
                </a:xfrm>
                <a:prstGeom prst="rect">
                  <a:avLst/>
                </a:prstGeom>
              </p:spPr>
            </p:pic>
          </mc:Fallback>
        </mc:AlternateContent>
      </p:grpSp>
      <p:grpSp>
        <p:nvGrpSpPr>
          <p:cNvPr id="100" name="Group 99">
            <a:extLst>
              <a:ext uri="{FF2B5EF4-FFF2-40B4-BE49-F238E27FC236}">
                <a16:creationId xmlns:a16="http://schemas.microsoft.com/office/drawing/2014/main" id="{A9F4159A-25B1-4432-866A-4E7FB4FD22E7}"/>
              </a:ext>
            </a:extLst>
          </p:cNvPr>
          <p:cNvGrpSpPr/>
          <p:nvPr/>
        </p:nvGrpSpPr>
        <p:grpSpPr>
          <a:xfrm>
            <a:off x="4300137" y="2589398"/>
            <a:ext cx="990000" cy="161640"/>
            <a:chOff x="4300137" y="2589398"/>
            <a:chExt cx="990000" cy="161640"/>
          </a:xfrm>
        </p:grpSpPr>
        <mc:AlternateContent xmlns:mc="http://schemas.openxmlformats.org/markup-compatibility/2006" xmlns:p14="http://schemas.microsoft.com/office/powerpoint/2010/main">
          <mc:Choice Requires="p14">
            <p:contentPart p14:bwMode="auto" r:id="rId86">
              <p14:nvContentPartPr>
                <p14:cNvPr id="88" name="Ink 87">
                  <a:extLst>
                    <a:ext uri="{FF2B5EF4-FFF2-40B4-BE49-F238E27FC236}">
                      <a16:creationId xmlns:a16="http://schemas.microsoft.com/office/drawing/2014/main" id="{7150333E-B932-465E-BDB6-198191C88484}"/>
                    </a:ext>
                  </a:extLst>
                </p14:cNvPr>
                <p14:cNvContentPartPr/>
                <p14:nvPr/>
              </p14:nvContentPartPr>
              <p14:xfrm>
                <a:off x="4300137" y="2671838"/>
                <a:ext cx="68400" cy="79200"/>
              </p14:xfrm>
            </p:contentPart>
          </mc:Choice>
          <mc:Fallback xmlns="">
            <p:pic>
              <p:nvPicPr>
                <p:cNvPr id="88" name="Ink 87">
                  <a:extLst>
                    <a:ext uri="{FF2B5EF4-FFF2-40B4-BE49-F238E27FC236}">
                      <a16:creationId xmlns:a16="http://schemas.microsoft.com/office/drawing/2014/main" id="{7150333E-B932-465E-BDB6-198191C88484}"/>
                    </a:ext>
                  </a:extLst>
                </p:cNvPr>
                <p:cNvPicPr/>
                <p:nvPr/>
              </p:nvPicPr>
              <p:blipFill>
                <a:blip r:embed="rId87"/>
                <a:stretch>
                  <a:fillRect/>
                </a:stretch>
              </p:blipFill>
              <p:spPr>
                <a:xfrm>
                  <a:off x="4295817" y="2667518"/>
                  <a:ext cx="77040" cy="8784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89" name="Ink 88">
                  <a:extLst>
                    <a:ext uri="{FF2B5EF4-FFF2-40B4-BE49-F238E27FC236}">
                      <a16:creationId xmlns:a16="http://schemas.microsoft.com/office/drawing/2014/main" id="{903AD705-D9ED-4493-9168-511B1DDDD9F4}"/>
                    </a:ext>
                  </a:extLst>
                </p14:cNvPr>
                <p14:cNvContentPartPr/>
                <p14:nvPr/>
              </p14:nvContentPartPr>
              <p14:xfrm>
                <a:off x="4411017" y="2729078"/>
                <a:ext cx="360" cy="2880"/>
              </p14:xfrm>
            </p:contentPart>
          </mc:Choice>
          <mc:Fallback xmlns="">
            <p:pic>
              <p:nvPicPr>
                <p:cNvPr id="89" name="Ink 88">
                  <a:extLst>
                    <a:ext uri="{FF2B5EF4-FFF2-40B4-BE49-F238E27FC236}">
                      <a16:creationId xmlns:a16="http://schemas.microsoft.com/office/drawing/2014/main" id="{903AD705-D9ED-4493-9168-511B1DDDD9F4}"/>
                    </a:ext>
                  </a:extLst>
                </p:cNvPr>
                <p:cNvPicPr/>
                <p:nvPr/>
              </p:nvPicPr>
              <p:blipFill>
                <a:blip r:embed="rId89"/>
                <a:stretch>
                  <a:fillRect/>
                </a:stretch>
              </p:blipFill>
              <p:spPr>
                <a:xfrm>
                  <a:off x="4406697" y="2724758"/>
                  <a:ext cx="9000" cy="1152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90" name="Ink 89">
                  <a:extLst>
                    <a:ext uri="{FF2B5EF4-FFF2-40B4-BE49-F238E27FC236}">
                      <a16:creationId xmlns:a16="http://schemas.microsoft.com/office/drawing/2014/main" id="{864DAD99-776D-47A1-A649-B066EA8886B1}"/>
                    </a:ext>
                  </a:extLst>
                </p14:cNvPr>
                <p14:cNvContentPartPr/>
                <p14:nvPr/>
              </p14:nvContentPartPr>
              <p14:xfrm>
                <a:off x="4452777" y="2652398"/>
                <a:ext cx="7920" cy="90000"/>
              </p14:xfrm>
            </p:contentPart>
          </mc:Choice>
          <mc:Fallback xmlns="">
            <p:pic>
              <p:nvPicPr>
                <p:cNvPr id="90" name="Ink 89">
                  <a:extLst>
                    <a:ext uri="{FF2B5EF4-FFF2-40B4-BE49-F238E27FC236}">
                      <a16:creationId xmlns:a16="http://schemas.microsoft.com/office/drawing/2014/main" id="{864DAD99-776D-47A1-A649-B066EA8886B1}"/>
                    </a:ext>
                  </a:extLst>
                </p:cNvPr>
                <p:cNvPicPr/>
                <p:nvPr/>
              </p:nvPicPr>
              <p:blipFill>
                <a:blip r:embed="rId91"/>
                <a:stretch>
                  <a:fillRect/>
                </a:stretch>
              </p:blipFill>
              <p:spPr>
                <a:xfrm>
                  <a:off x="4448457" y="2648078"/>
                  <a:ext cx="16560" cy="9864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91" name="Ink 90">
                  <a:extLst>
                    <a:ext uri="{FF2B5EF4-FFF2-40B4-BE49-F238E27FC236}">
                      <a16:creationId xmlns:a16="http://schemas.microsoft.com/office/drawing/2014/main" id="{6322F807-6C41-42E6-A1B0-4C5F248B647A}"/>
                    </a:ext>
                  </a:extLst>
                </p14:cNvPr>
                <p14:cNvContentPartPr/>
                <p14:nvPr/>
              </p14:nvContentPartPr>
              <p14:xfrm>
                <a:off x="4506417" y="2652038"/>
                <a:ext cx="65160" cy="78480"/>
              </p14:xfrm>
            </p:contentPart>
          </mc:Choice>
          <mc:Fallback xmlns="">
            <p:pic>
              <p:nvPicPr>
                <p:cNvPr id="91" name="Ink 90">
                  <a:extLst>
                    <a:ext uri="{FF2B5EF4-FFF2-40B4-BE49-F238E27FC236}">
                      <a16:creationId xmlns:a16="http://schemas.microsoft.com/office/drawing/2014/main" id="{6322F807-6C41-42E6-A1B0-4C5F248B647A}"/>
                    </a:ext>
                  </a:extLst>
                </p:cNvPr>
                <p:cNvPicPr/>
                <p:nvPr/>
              </p:nvPicPr>
              <p:blipFill>
                <a:blip r:embed="rId93"/>
                <a:stretch>
                  <a:fillRect/>
                </a:stretch>
              </p:blipFill>
              <p:spPr>
                <a:xfrm>
                  <a:off x="4502097" y="2647718"/>
                  <a:ext cx="73800" cy="8712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92" name="Ink 91">
                  <a:extLst>
                    <a:ext uri="{FF2B5EF4-FFF2-40B4-BE49-F238E27FC236}">
                      <a16:creationId xmlns:a16="http://schemas.microsoft.com/office/drawing/2014/main" id="{570943C6-E320-44AB-8D76-5609F373ABED}"/>
                    </a:ext>
                  </a:extLst>
                </p14:cNvPr>
                <p14:cNvContentPartPr/>
                <p14:nvPr/>
              </p14:nvContentPartPr>
              <p14:xfrm>
                <a:off x="4612257" y="2642678"/>
                <a:ext cx="58320" cy="104040"/>
              </p14:xfrm>
            </p:contentPart>
          </mc:Choice>
          <mc:Fallback xmlns="">
            <p:pic>
              <p:nvPicPr>
                <p:cNvPr id="92" name="Ink 91">
                  <a:extLst>
                    <a:ext uri="{FF2B5EF4-FFF2-40B4-BE49-F238E27FC236}">
                      <a16:creationId xmlns:a16="http://schemas.microsoft.com/office/drawing/2014/main" id="{570943C6-E320-44AB-8D76-5609F373ABED}"/>
                    </a:ext>
                  </a:extLst>
                </p:cNvPr>
                <p:cNvPicPr/>
                <p:nvPr/>
              </p:nvPicPr>
              <p:blipFill>
                <a:blip r:embed="rId95"/>
                <a:stretch>
                  <a:fillRect/>
                </a:stretch>
              </p:blipFill>
              <p:spPr>
                <a:xfrm>
                  <a:off x="4607937" y="2638358"/>
                  <a:ext cx="6696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93" name="Ink 92">
                  <a:extLst>
                    <a:ext uri="{FF2B5EF4-FFF2-40B4-BE49-F238E27FC236}">
                      <a16:creationId xmlns:a16="http://schemas.microsoft.com/office/drawing/2014/main" id="{9D44812A-A5A3-42E5-AF55-F1205B0D3AEA}"/>
                    </a:ext>
                  </a:extLst>
                </p14:cNvPr>
                <p14:cNvContentPartPr/>
                <p14:nvPr/>
              </p14:nvContentPartPr>
              <p14:xfrm>
                <a:off x="4767057" y="2624318"/>
                <a:ext cx="7920" cy="90360"/>
              </p14:xfrm>
            </p:contentPart>
          </mc:Choice>
          <mc:Fallback xmlns="">
            <p:pic>
              <p:nvPicPr>
                <p:cNvPr id="93" name="Ink 92">
                  <a:extLst>
                    <a:ext uri="{FF2B5EF4-FFF2-40B4-BE49-F238E27FC236}">
                      <a16:creationId xmlns:a16="http://schemas.microsoft.com/office/drawing/2014/main" id="{9D44812A-A5A3-42E5-AF55-F1205B0D3AEA}"/>
                    </a:ext>
                  </a:extLst>
                </p:cNvPr>
                <p:cNvPicPr/>
                <p:nvPr/>
              </p:nvPicPr>
              <p:blipFill>
                <a:blip r:embed="rId97"/>
                <a:stretch>
                  <a:fillRect/>
                </a:stretch>
              </p:blipFill>
              <p:spPr>
                <a:xfrm>
                  <a:off x="4762737" y="2619998"/>
                  <a:ext cx="1656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94" name="Ink 93">
                  <a:extLst>
                    <a:ext uri="{FF2B5EF4-FFF2-40B4-BE49-F238E27FC236}">
                      <a16:creationId xmlns:a16="http://schemas.microsoft.com/office/drawing/2014/main" id="{3E07791C-A239-417F-BCCC-C715632EBAC4}"/>
                    </a:ext>
                  </a:extLst>
                </p14:cNvPr>
                <p14:cNvContentPartPr/>
                <p14:nvPr/>
              </p14:nvContentPartPr>
              <p14:xfrm>
                <a:off x="4725297" y="2673278"/>
                <a:ext cx="76320" cy="14040"/>
              </p14:xfrm>
            </p:contentPart>
          </mc:Choice>
          <mc:Fallback xmlns="">
            <p:pic>
              <p:nvPicPr>
                <p:cNvPr id="94" name="Ink 93">
                  <a:extLst>
                    <a:ext uri="{FF2B5EF4-FFF2-40B4-BE49-F238E27FC236}">
                      <a16:creationId xmlns:a16="http://schemas.microsoft.com/office/drawing/2014/main" id="{3E07791C-A239-417F-BCCC-C715632EBAC4}"/>
                    </a:ext>
                  </a:extLst>
                </p:cNvPr>
                <p:cNvPicPr/>
                <p:nvPr/>
              </p:nvPicPr>
              <p:blipFill>
                <a:blip r:embed="rId99"/>
                <a:stretch>
                  <a:fillRect/>
                </a:stretch>
              </p:blipFill>
              <p:spPr>
                <a:xfrm>
                  <a:off x="4720977" y="2668958"/>
                  <a:ext cx="8496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96" name="Ink 95">
                  <a:extLst>
                    <a:ext uri="{FF2B5EF4-FFF2-40B4-BE49-F238E27FC236}">
                      <a16:creationId xmlns:a16="http://schemas.microsoft.com/office/drawing/2014/main" id="{45EEE506-88A2-4193-9C54-8C8449DFE730}"/>
                    </a:ext>
                  </a:extLst>
                </p14:cNvPr>
                <p14:cNvContentPartPr/>
                <p14:nvPr/>
              </p14:nvContentPartPr>
              <p14:xfrm>
                <a:off x="4936617" y="2603798"/>
                <a:ext cx="95760" cy="85320"/>
              </p14:xfrm>
            </p:contentPart>
          </mc:Choice>
          <mc:Fallback xmlns="">
            <p:pic>
              <p:nvPicPr>
                <p:cNvPr id="96" name="Ink 95">
                  <a:extLst>
                    <a:ext uri="{FF2B5EF4-FFF2-40B4-BE49-F238E27FC236}">
                      <a16:creationId xmlns:a16="http://schemas.microsoft.com/office/drawing/2014/main" id="{45EEE506-88A2-4193-9C54-8C8449DFE730}"/>
                    </a:ext>
                  </a:extLst>
                </p:cNvPr>
                <p:cNvPicPr/>
                <p:nvPr/>
              </p:nvPicPr>
              <p:blipFill>
                <a:blip r:embed="rId101"/>
                <a:stretch>
                  <a:fillRect/>
                </a:stretch>
              </p:blipFill>
              <p:spPr>
                <a:xfrm>
                  <a:off x="4932297" y="2599478"/>
                  <a:ext cx="10440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97" name="Ink 96">
                  <a:extLst>
                    <a:ext uri="{FF2B5EF4-FFF2-40B4-BE49-F238E27FC236}">
                      <a16:creationId xmlns:a16="http://schemas.microsoft.com/office/drawing/2014/main" id="{B715EBB9-3E3F-4D08-ACA5-9DC3F8F6B292}"/>
                    </a:ext>
                  </a:extLst>
                </p14:cNvPr>
                <p14:cNvContentPartPr/>
                <p14:nvPr/>
              </p14:nvContentPartPr>
              <p14:xfrm>
                <a:off x="5088177" y="2666078"/>
                <a:ext cx="360" cy="360"/>
              </p14:xfrm>
            </p:contentPart>
          </mc:Choice>
          <mc:Fallback xmlns="">
            <p:pic>
              <p:nvPicPr>
                <p:cNvPr id="97" name="Ink 96">
                  <a:extLst>
                    <a:ext uri="{FF2B5EF4-FFF2-40B4-BE49-F238E27FC236}">
                      <a16:creationId xmlns:a16="http://schemas.microsoft.com/office/drawing/2014/main" id="{B715EBB9-3E3F-4D08-ACA5-9DC3F8F6B292}"/>
                    </a:ext>
                  </a:extLst>
                </p:cNvPr>
                <p:cNvPicPr/>
                <p:nvPr/>
              </p:nvPicPr>
              <p:blipFill>
                <a:blip r:embed="rId3"/>
                <a:stretch>
                  <a:fillRect/>
                </a:stretch>
              </p:blipFill>
              <p:spPr>
                <a:xfrm>
                  <a:off x="5083857" y="26617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98" name="Ink 97">
                  <a:extLst>
                    <a:ext uri="{FF2B5EF4-FFF2-40B4-BE49-F238E27FC236}">
                      <a16:creationId xmlns:a16="http://schemas.microsoft.com/office/drawing/2014/main" id="{D3A830D0-F0D6-44F5-B9F2-36FF45C191DB}"/>
                    </a:ext>
                  </a:extLst>
                </p14:cNvPr>
                <p14:cNvContentPartPr/>
                <p14:nvPr/>
              </p14:nvContentPartPr>
              <p14:xfrm>
                <a:off x="5131737" y="2589398"/>
                <a:ext cx="61920" cy="89280"/>
              </p14:xfrm>
            </p:contentPart>
          </mc:Choice>
          <mc:Fallback xmlns="">
            <p:pic>
              <p:nvPicPr>
                <p:cNvPr id="98" name="Ink 97">
                  <a:extLst>
                    <a:ext uri="{FF2B5EF4-FFF2-40B4-BE49-F238E27FC236}">
                      <a16:creationId xmlns:a16="http://schemas.microsoft.com/office/drawing/2014/main" id="{D3A830D0-F0D6-44F5-B9F2-36FF45C191DB}"/>
                    </a:ext>
                  </a:extLst>
                </p:cNvPr>
                <p:cNvPicPr/>
                <p:nvPr/>
              </p:nvPicPr>
              <p:blipFill>
                <a:blip r:embed="rId104"/>
                <a:stretch>
                  <a:fillRect/>
                </a:stretch>
              </p:blipFill>
              <p:spPr>
                <a:xfrm>
                  <a:off x="5127417" y="2585078"/>
                  <a:ext cx="70560" cy="97920"/>
                </a:xfrm>
                <a:prstGeom prst="rect">
                  <a:avLst/>
                </a:prstGeom>
              </p:spPr>
            </p:pic>
          </mc:Fallback>
        </mc:AlternateContent>
        <mc:AlternateContent xmlns:mc="http://schemas.openxmlformats.org/markup-compatibility/2006" xmlns:p14="http://schemas.microsoft.com/office/powerpoint/2010/main">
          <mc:Choice Requires="p14">
            <p:contentPart p14:bwMode="auto" r:id="rId105">
              <p14:nvContentPartPr>
                <p14:cNvPr id="99" name="Ink 98">
                  <a:extLst>
                    <a:ext uri="{FF2B5EF4-FFF2-40B4-BE49-F238E27FC236}">
                      <a16:creationId xmlns:a16="http://schemas.microsoft.com/office/drawing/2014/main" id="{20F5E6BA-171F-4F0C-A1E4-124FE3399DBA}"/>
                    </a:ext>
                  </a:extLst>
                </p14:cNvPr>
                <p14:cNvContentPartPr/>
                <p14:nvPr/>
              </p14:nvContentPartPr>
              <p14:xfrm>
                <a:off x="5229297" y="2595518"/>
                <a:ext cx="60840" cy="72360"/>
              </p14:xfrm>
            </p:contentPart>
          </mc:Choice>
          <mc:Fallback xmlns="">
            <p:pic>
              <p:nvPicPr>
                <p:cNvPr id="99" name="Ink 98">
                  <a:extLst>
                    <a:ext uri="{FF2B5EF4-FFF2-40B4-BE49-F238E27FC236}">
                      <a16:creationId xmlns:a16="http://schemas.microsoft.com/office/drawing/2014/main" id="{20F5E6BA-171F-4F0C-A1E4-124FE3399DBA}"/>
                    </a:ext>
                  </a:extLst>
                </p:cNvPr>
                <p:cNvPicPr/>
                <p:nvPr/>
              </p:nvPicPr>
              <p:blipFill>
                <a:blip r:embed="rId106"/>
                <a:stretch>
                  <a:fillRect/>
                </a:stretch>
              </p:blipFill>
              <p:spPr>
                <a:xfrm>
                  <a:off x="5224977" y="2591198"/>
                  <a:ext cx="69480" cy="81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07">
            <p14:nvContentPartPr>
              <p14:cNvPr id="101" name="Ink 100">
                <a:extLst>
                  <a:ext uri="{FF2B5EF4-FFF2-40B4-BE49-F238E27FC236}">
                    <a16:creationId xmlns:a16="http://schemas.microsoft.com/office/drawing/2014/main" id="{D9CAB537-CA15-47F7-898B-A67370E7504E}"/>
                  </a:ext>
                </a:extLst>
              </p14:cNvPr>
              <p14:cNvContentPartPr/>
              <p14:nvPr/>
            </p14:nvContentPartPr>
            <p14:xfrm>
              <a:off x="5576697" y="2351798"/>
              <a:ext cx="88920" cy="360"/>
            </p14:xfrm>
          </p:contentPart>
        </mc:Choice>
        <mc:Fallback xmlns="">
          <p:pic>
            <p:nvPicPr>
              <p:cNvPr id="101" name="Ink 100">
                <a:extLst>
                  <a:ext uri="{FF2B5EF4-FFF2-40B4-BE49-F238E27FC236}">
                    <a16:creationId xmlns:a16="http://schemas.microsoft.com/office/drawing/2014/main" id="{D9CAB537-CA15-47F7-898B-A67370E7504E}"/>
                  </a:ext>
                </a:extLst>
              </p:cNvPr>
              <p:cNvPicPr/>
              <p:nvPr/>
            </p:nvPicPr>
            <p:blipFill>
              <a:blip r:embed="rId108"/>
              <a:stretch>
                <a:fillRect/>
              </a:stretch>
            </p:blipFill>
            <p:spPr>
              <a:xfrm>
                <a:off x="5572377" y="2347478"/>
                <a:ext cx="97560" cy="9000"/>
              </a:xfrm>
              <a:prstGeom prst="rect">
                <a:avLst/>
              </a:prstGeom>
            </p:spPr>
          </p:pic>
        </mc:Fallback>
      </mc:AlternateContent>
      <p:grpSp>
        <p:nvGrpSpPr>
          <p:cNvPr id="104" name="Group 103">
            <a:extLst>
              <a:ext uri="{FF2B5EF4-FFF2-40B4-BE49-F238E27FC236}">
                <a16:creationId xmlns:a16="http://schemas.microsoft.com/office/drawing/2014/main" id="{673549E1-D675-42AA-BE35-08B353582A17}"/>
              </a:ext>
            </a:extLst>
          </p:cNvPr>
          <p:cNvGrpSpPr/>
          <p:nvPr/>
        </p:nvGrpSpPr>
        <p:grpSpPr>
          <a:xfrm>
            <a:off x="5583897" y="2416238"/>
            <a:ext cx="111600" cy="5760"/>
            <a:chOff x="5583897" y="2416238"/>
            <a:chExt cx="111600" cy="5760"/>
          </a:xfrm>
        </p:grpSpPr>
        <mc:AlternateContent xmlns:mc="http://schemas.openxmlformats.org/markup-compatibility/2006" xmlns:p14="http://schemas.microsoft.com/office/powerpoint/2010/main">
          <mc:Choice Requires="p14">
            <p:contentPart p14:bwMode="auto" r:id="rId109">
              <p14:nvContentPartPr>
                <p14:cNvPr id="102" name="Ink 101">
                  <a:extLst>
                    <a:ext uri="{FF2B5EF4-FFF2-40B4-BE49-F238E27FC236}">
                      <a16:creationId xmlns:a16="http://schemas.microsoft.com/office/drawing/2014/main" id="{385105F5-29F1-4053-8C51-F613A2E39263}"/>
                    </a:ext>
                  </a:extLst>
                </p14:cNvPr>
                <p14:cNvContentPartPr/>
                <p14:nvPr/>
              </p14:nvContentPartPr>
              <p14:xfrm>
                <a:off x="5583897" y="2416238"/>
                <a:ext cx="37440" cy="5760"/>
              </p14:xfrm>
            </p:contentPart>
          </mc:Choice>
          <mc:Fallback xmlns="">
            <p:pic>
              <p:nvPicPr>
                <p:cNvPr id="102" name="Ink 101">
                  <a:extLst>
                    <a:ext uri="{FF2B5EF4-FFF2-40B4-BE49-F238E27FC236}">
                      <a16:creationId xmlns:a16="http://schemas.microsoft.com/office/drawing/2014/main" id="{385105F5-29F1-4053-8C51-F613A2E39263}"/>
                    </a:ext>
                  </a:extLst>
                </p:cNvPr>
                <p:cNvPicPr/>
                <p:nvPr/>
              </p:nvPicPr>
              <p:blipFill>
                <a:blip r:embed="rId110"/>
                <a:stretch>
                  <a:fillRect/>
                </a:stretch>
              </p:blipFill>
              <p:spPr>
                <a:xfrm>
                  <a:off x="5579577" y="2411918"/>
                  <a:ext cx="46080" cy="14400"/>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103" name="Ink 102">
                  <a:extLst>
                    <a:ext uri="{FF2B5EF4-FFF2-40B4-BE49-F238E27FC236}">
                      <a16:creationId xmlns:a16="http://schemas.microsoft.com/office/drawing/2014/main" id="{397FCE79-ED80-4ED5-A468-FF0165DA9002}"/>
                    </a:ext>
                  </a:extLst>
                </p14:cNvPr>
                <p14:cNvContentPartPr/>
                <p14:nvPr/>
              </p14:nvContentPartPr>
              <p14:xfrm>
                <a:off x="5597937" y="2421638"/>
                <a:ext cx="97560" cy="360"/>
              </p14:xfrm>
            </p:contentPart>
          </mc:Choice>
          <mc:Fallback xmlns="">
            <p:pic>
              <p:nvPicPr>
                <p:cNvPr id="103" name="Ink 102">
                  <a:extLst>
                    <a:ext uri="{FF2B5EF4-FFF2-40B4-BE49-F238E27FC236}">
                      <a16:creationId xmlns:a16="http://schemas.microsoft.com/office/drawing/2014/main" id="{397FCE79-ED80-4ED5-A468-FF0165DA9002}"/>
                    </a:ext>
                  </a:extLst>
                </p:cNvPr>
                <p:cNvPicPr/>
                <p:nvPr/>
              </p:nvPicPr>
              <p:blipFill>
                <a:blip r:embed="rId112"/>
                <a:stretch>
                  <a:fillRect/>
                </a:stretch>
              </p:blipFill>
              <p:spPr>
                <a:xfrm>
                  <a:off x="5593617" y="2417318"/>
                  <a:ext cx="106200" cy="9000"/>
                </a:xfrm>
                <a:prstGeom prst="rect">
                  <a:avLst/>
                </a:prstGeom>
              </p:spPr>
            </p:pic>
          </mc:Fallback>
        </mc:AlternateContent>
      </p:grpSp>
    </p:spTree>
    <p:extLst>
      <p:ext uri="{BB962C8B-B14F-4D97-AF65-F5344CB8AC3E}">
        <p14:creationId xmlns:p14="http://schemas.microsoft.com/office/powerpoint/2010/main" val="1236711108"/>
      </p:ext>
    </p:extLst>
  </p:cSld>
  <p:clrMapOvr>
    <a:masterClrMapping/>
  </p:clrMapOvr>
  <p:transition spd="med">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EECB27-EAA2-4EE0-A357-855C3ABB6A5B}"/>
              </a:ext>
            </a:extLst>
          </p:cNvPr>
          <p:cNvSpPr>
            <a:spLocks noGrp="1"/>
          </p:cNvSpPr>
          <p:nvPr>
            <p:ph type="title"/>
          </p:nvPr>
        </p:nvSpPr>
        <p:spPr>
          <a:xfrm>
            <a:off x="0" y="0"/>
            <a:ext cx="7955280" cy="640080"/>
          </a:xfrm>
        </p:spPr>
        <p:txBody>
          <a:bodyPr/>
          <a:lstStyle/>
          <a:p>
            <a:r>
              <a:rPr lang="en-US" dirty="0"/>
              <a:t>Harmonic Mean - </a:t>
            </a:r>
            <a:r>
              <a:rPr lang="en-US" sz="2400" dirty="0">
                <a:solidFill>
                  <a:schemeClr val="bg2">
                    <a:lumMod val="50000"/>
                    <a:lumOff val="50000"/>
                  </a:schemeClr>
                </a:solidFill>
              </a:rPr>
              <a:t>Continued</a:t>
            </a:r>
            <a:endParaRPr lang="en-US" dirty="0">
              <a:solidFill>
                <a:schemeClr val="bg2">
                  <a:lumMod val="50000"/>
                  <a:lumOff val="50000"/>
                </a:schemeClr>
              </a:solidFill>
            </a:endParaRPr>
          </a:p>
        </p:txBody>
      </p:sp>
      <p:sp>
        <p:nvSpPr>
          <p:cNvPr id="4" name="Content Placeholder 3">
            <a:extLst>
              <a:ext uri="{FF2B5EF4-FFF2-40B4-BE49-F238E27FC236}">
                <a16:creationId xmlns:a16="http://schemas.microsoft.com/office/drawing/2014/main" id="{B5302A69-3D48-4326-8584-D4306A30249E}"/>
              </a:ext>
            </a:extLst>
          </p:cNvPr>
          <p:cNvSpPr>
            <a:spLocks noGrp="1"/>
          </p:cNvSpPr>
          <p:nvPr>
            <p:ph sz="half" idx="1"/>
          </p:nvPr>
        </p:nvSpPr>
        <p:spPr>
          <a:xfrm>
            <a:off x="176598" y="854632"/>
            <a:ext cx="7955280" cy="3811163"/>
          </a:xfrm>
        </p:spPr>
        <p:txBody>
          <a:bodyPr/>
          <a:lstStyle/>
          <a:p>
            <a:r>
              <a:rPr lang="en-US" dirty="0">
                <a:solidFill>
                  <a:schemeClr val="bg2">
                    <a:lumMod val="50000"/>
                    <a:lumOff val="50000"/>
                  </a:schemeClr>
                </a:solidFill>
                <a:latin typeface="Inter"/>
              </a:rPr>
              <a:t>The Harmonic mean is the reciprocal of the average of the reciprocals</a:t>
            </a:r>
          </a:p>
          <a:p>
            <a:r>
              <a:rPr lang="en-US" dirty="0">
                <a:solidFill>
                  <a:schemeClr val="bg2">
                    <a:lumMod val="50000"/>
                    <a:lumOff val="50000"/>
                  </a:schemeClr>
                </a:solidFill>
                <a:latin typeface="Inter"/>
              </a:rPr>
              <a:t>The formula is : </a:t>
            </a:r>
          </a:p>
          <a:p>
            <a:pPr lvl="1"/>
            <a:endParaRPr lang="en-US" dirty="0"/>
          </a:p>
        </p:txBody>
      </p:sp>
      <p:pic>
        <p:nvPicPr>
          <p:cNvPr id="6" name="Picture 5">
            <a:extLst>
              <a:ext uri="{FF2B5EF4-FFF2-40B4-BE49-F238E27FC236}">
                <a16:creationId xmlns:a16="http://schemas.microsoft.com/office/drawing/2014/main" id="{1E1A9138-205F-4B7A-8E4D-495313CAAA7C}"/>
              </a:ext>
            </a:extLst>
          </p:cNvPr>
          <p:cNvPicPr>
            <a:picLocks noChangeAspect="1"/>
          </p:cNvPicPr>
          <p:nvPr/>
        </p:nvPicPr>
        <p:blipFill>
          <a:blip r:embed="rId2"/>
          <a:stretch>
            <a:fillRect/>
          </a:stretch>
        </p:blipFill>
        <p:spPr>
          <a:xfrm>
            <a:off x="947555" y="1570570"/>
            <a:ext cx="5791147" cy="537436"/>
          </a:xfrm>
          <a:prstGeom prst="rect">
            <a:avLst/>
          </a:prstGeom>
        </p:spPr>
      </p:pic>
      <p:sp>
        <p:nvSpPr>
          <p:cNvPr id="7" name="TextBox 6">
            <a:extLst>
              <a:ext uri="{FF2B5EF4-FFF2-40B4-BE49-F238E27FC236}">
                <a16:creationId xmlns:a16="http://schemas.microsoft.com/office/drawing/2014/main" id="{DDA14BC5-E68B-44F9-AF61-3F4A96899004}"/>
              </a:ext>
            </a:extLst>
          </p:cNvPr>
          <p:cNvSpPr txBox="1"/>
          <p:nvPr/>
        </p:nvSpPr>
        <p:spPr>
          <a:xfrm>
            <a:off x="2132117" y="2014781"/>
            <a:ext cx="5003026" cy="30777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i="1" dirty="0">
                <a:solidFill>
                  <a:schemeClr val="bg2"/>
                </a:solidFill>
                <a:latin typeface="+mn-lt"/>
              </a:rPr>
              <a:t>a1, a2,a3,.. are the values and n being how many values</a:t>
            </a:r>
          </a:p>
        </p:txBody>
      </p:sp>
      <p:sp>
        <p:nvSpPr>
          <p:cNvPr id="9" name="TextBox 8">
            <a:extLst>
              <a:ext uri="{FF2B5EF4-FFF2-40B4-BE49-F238E27FC236}">
                <a16:creationId xmlns:a16="http://schemas.microsoft.com/office/drawing/2014/main" id="{E971881A-FAFB-4FE7-9BFB-69C4060B8AA2}"/>
              </a:ext>
            </a:extLst>
          </p:cNvPr>
          <p:cNvSpPr txBox="1"/>
          <p:nvPr/>
        </p:nvSpPr>
        <p:spPr>
          <a:xfrm>
            <a:off x="69800" y="2553863"/>
            <a:ext cx="8669351" cy="1200329"/>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Why Harmonic Mean ?</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Inter"/>
                <a:cs typeface="Arial" panose="020B0604020202020204" pitchFamily="34" charset="0"/>
              </a:rPr>
              <a:t>Ex : Example : A car is travelling at 80 km/</a:t>
            </a:r>
            <a:r>
              <a:rPr lang="en-US" sz="1800" dirty="0" err="1">
                <a:solidFill>
                  <a:schemeClr val="bg2">
                    <a:lumMod val="50000"/>
                    <a:lumOff val="50000"/>
                  </a:schemeClr>
                </a:solidFill>
                <a:latin typeface="Inter"/>
                <a:cs typeface="Arial" panose="020B0604020202020204" pitchFamily="34" charset="0"/>
              </a:rPr>
              <a:t>hr</a:t>
            </a:r>
            <a:r>
              <a:rPr lang="en-US" sz="1800" dirty="0">
                <a:solidFill>
                  <a:schemeClr val="bg2">
                    <a:lumMod val="50000"/>
                    <a:lumOff val="50000"/>
                  </a:schemeClr>
                </a:solidFill>
                <a:latin typeface="Inter"/>
                <a:cs typeface="Arial" panose="020B0604020202020204" pitchFamily="34" charset="0"/>
              </a:rPr>
              <a:t> for 20km and then a another 20km at 50 km/</a:t>
            </a:r>
            <a:r>
              <a:rPr lang="en-US" sz="1800" dirty="0" err="1">
                <a:solidFill>
                  <a:schemeClr val="bg2">
                    <a:lumMod val="50000"/>
                    <a:lumOff val="50000"/>
                  </a:schemeClr>
                </a:solidFill>
                <a:latin typeface="Inter"/>
                <a:cs typeface="Arial" panose="020B0604020202020204" pitchFamily="34" charset="0"/>
              </a:rPr>
              <a:t>hr</a:t>
            </a:r>
            <a:r>
              <a:rPr lang="en-US" sz="1800" dirty="0">
                <a:solidFill>
                  <a:schemeClr val="bg2">
                    <a:lumMod val="50000"/>
                    <a:lumOff val="50000"/>
                  </a:schemeClr>
                </a:solidFill>
                <a:latin typeface="Inter"/>
                <a:cs typeface="Arial" panose="020B0604020202020204" pitchFamily="34" charset="0"/>
              </a:rPr>
              <a:t>, what is cars average speed? </a:t>
            </a:r>
          </a:p>
        </p:txBody>
      </p:sp>
    </p:spTree>
    <p:extLst>
      <p:ext uri="{BB962C8B-B14F-4D97-AF65-F5344CB8AC3E}">
        <p14:creationId xmlns:p14="http://schemas.microsoft.com/office/powerpoint/2010/main" val="3158841867"/>
      </p:ext>
    </p:extLst>
  </p:cSld>
  <p:clrMapOvr>
    <a:masterClrMapping/>
  </p:clrMapOvr>
  <p:transition spd="med">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CFC01E-EA6B-43E8-BBC9-193147DFA0CA}"/>
              </a:ext>
            </a:extLst>
          </p:cNvPr>
          <p:cNvSpPr>
            <a:spLocks noGrp="1"/>
          </p:cNvSpPr>
          <p:nvPr>
            <p:ph type="title"/>
          </p:nvPr>
        </p:nvSpPr>
        <p:spPr>
          <a:xfrm>
            <a:off x="99816" y="27981"/>
            <a:ext cx="7955280" cy="640080"/>
          </a:xfrm>
        </p:spPr>
        <p:txBody>
          <a:bodyPr/>
          <a:lstStyle/>
          <a:p>
            <a:r>
              <a:rPr lang="en-US" dirty="0"/>
              <a:t>Harmonic Mean</a:t>
            </a:r>
          </a:p>
        </p:txBody>
      </p:sp>
      <p:sp>
        <p:nvSpPr>
          <p:cNvPr id="4" name="Content Placeholder 3">
            <a:extLst>
              <a:ext uri="{FF2B5EF4-FFF2-40B4-BE49-F238E27FC236}">
                <a16:creationId xmlns:a16="http://schemas.microsoft.com/office/drawing/2014/main" id="{E713E63C-EBD1-4963-862B-4E27D9C33808}"/>
              </a:ext>
            </a:extLst>
          </p:cNvPr>
          <p:cNvSpPr>
            <a:spLocks noGrp="1"/>
          </p:cNvSpPr>
          <p:nvPr>
            <p:ph sz="half" idx="1"/>
          </p:nvPr>
        </p:nvSpPr>
        <p:spPr>
          <a:xfrm>
            <a:off x="99816" y="640691"/>
            <a:ext cx="8967402" cy="3862118"/>
          </a:xfrm>
        </p:spPr>
        <p:txBody>
          <a:bodyPr/>
          <a:lstStyle/>
          <a:p>
            <a:pPr>
              <a:buFont typeface="Wingdings" panose="05000000000000000000" pitchFamily="2" charset="2"/>
              <a:buChar char="q"/>
            </a:pPr>
            <a:r>
              <a:rPr lang="en-US" sz="2000" b="1" dirty="0">
                <a:solidFill>
                  <a:schemeClr val="bg2">
                    <a:lumMod val="50000"/>
                    <a:lumOff val="50000"/>
                  </a:schemeClr>
                </a:solidFill>
                <a:latin typeface="Inter"/>
                <a:cs typeface="Arial" panose="020B0604020202020204" pitchFamily="34" charset="0"/>
              </a:rPr>
              <a:t>Find harmonic mean of 4, 6, 8, 100  </a:t>
            </a:r>
          </a:p>
          <a:p>
            <a:endParaRPr lang="en-US" dirty="0">
              <a:solidFill>
                <a:schemeClr val="bg2">
                  <a:lumMod val="50000"/>
                  <a:lumOff val="50000"/>
                </a:schemeClr>
              </a:solidFill>
              <a:latin typeface="Inter"/>
            </a:endParaRPr>
          </a:p>
        </p:txBody>
      </p:sp>
    </p:spTree>
    <p:extLst>
      <p:ext uri="{BB962C8B-B14F-4D97-AF65-F5344CB8AC3E}">
        <p14:creationId xmlns:p14="http://schemas.microsoft.com/office/powerpoint/2010/main" val="3983213857"/>
      </p:ext>
    </p:extLst>
  </p:cSld>
  <p:clrMapOvr>
    <a:masterClrMapping/>
  </p:clrMapOvr>
  <p:transition spd="med">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CBCE88-F32A-46E6-B441-39E55F5DE739}"/>
              </a:ext>
            </a:extLst>
          </p:cNvPr>
          <p:cNvSpPr>
            <a:spLocks noGrp="1"/>
          </p:cNvSpPr>
          <p:nvPr>
            <p:ph type="title"/>
          </p:nvPr>
        </p:nvSpPr>
        <p:spPr>
          <a:xfrm>
            <a:off x="0" y="0"/>
            <a:ext cx="7955280" cy="640080"/>
          </a:xfrm>
        </p:spPr>
        <p:txBody>
          <a:bodyPr/>
          <a:lstStyle/>
          <a:p>
            <a:r>
              <a:rPr lang="en-US" dirty="0"/>
              <a:t>Conclusion : Mean, Median, Mode</a:t>
            </a:r>
          </a:p>
        </p:txBody>
      </p:sp>
      <p:sp>
        <p:nvSpPr>
          <p:cNvPr id="4" name="Content Placeholder 3">
            <a:extLst>
              <a:ext uri="{FF2B5EF4-FFF2-40B4-BE49-F238E27FC236}">
                <a16:creationId xmlns:a16="http://schemas.microsoft.com/office/drawing/2014/main" id="{0A4320CA-59D2-4476-A3FC-D912E3A0EBDE}"/>
              </a:ext>
            </a:extLst>
          </p:cNvPr>
          <p:cNvSpPr>
            <a:spLocks noGrp="1"/>
          </p:cNvSpPr>
          <p:nvPr>
            <p:ph sz="half" idx="1"/>
          </p:nvPr>
        </p:nvSpPr>
        <p:spPr>
          <a:xfrm>
            <a:off x="155657" y="744781"/>
            <a:ext cx="7955280" cy="3017520"/>
          </a:xfrm>
        </p:spPr>
        <p:txBody>
          <a:bodyPr>
            <a:normAutofit lnSpcReduction="10000"/>
          </a:bodyPr>
          <a:lstStyle/>
          <a:p>
            <a:r>
              <a:rPr lang="en-US" sz="2800" b="1" dirty="0">
                <a:solidFill>
                  <a:schemeClr val="bg2">
                    <a:lumMod val="50000"/>
                    <a:lumOff val="50000"/>
                  </a:schemeClr>
                </a:solidFill>
              </a:rPr>
              <a:t>A measure of central tendency is a measure that tells us where the middle of a bunch of data lies. The three most common measures of central tendency are the mean, the median, and the mode.</a:t>
            </a:r>
          </a:p>
          <a:p>
            <a:r>
              <a:rPr lang="en-US" sz="2800" b="1" dirty="0">
                <a:solidFill>
                  <a:schemeClr val="bg2">
                    <a:lumMod val="50000"/>
                    <a:lumOff val="50000"/>
                  </a:schemeClr>
                </a:solidFill>
              </a:rPr>
              <a:t>Use the one that best suits your data. Or better still use all three !</a:t>
            </a:r>
          </a:p>
        </p:txBody>
      </p:sp>
    </p:spTree>
    <p:extLst>
      <p:ext uri="{BB962C8B-B14F-4D97-AF65-F5344CB8AC3E}">
        <p14:creationId xmlns:p14="http://schemas.microsoft.com/office/powerpoint/2010/main" val="142900990"/>
      </p:ext>
    </p:extLst>
  </p:cSld>
  <p:clrMapOvr>
    <a:masterClrMapping/>
  </p:clrMapOvr>
  <p:transition spd="med">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C462B2-9098-4F9E-B15A-40E3AA3A6352}"/>
              </a:ext>
            </a:extLst>
          </p:cNvPr>
          <p:cNvSpPr>
            <a:spLocks noGrp="1"/>
          </p:cNvSpPr>
          <p:nvPr>
            <p:ph type="title"/>
          </p:nvPr>
        </p:nvSpPr>
        <p:spPr>
          <a:xfrm>
            <a:off x="0" y="27981"/>
            <a:ext cx="7955280" cy="640080"/>
          </a:xfrm>
        </p:spPr>
        <p:txBody>
          <a:bodyPr/>
          <a:lstStyle/>
          <a:p>
            <a:r>
              <a:rPr lang="en-US" dirty="0"/>
              <a:t>The Mean from a Frequency Table</a:t>
            </a:r>
          </a:p>
        </p:txBody>
      </p:sp>
      <p:sp>
        <p:nvSpPr>
          <p:cNvPr id="4" name="Content Placeholder 3">
            <a:extLst>
              <a:ext uri="{FF2B5EF4-FFF2-40B4-BE49-F238E27FC236}">
                <a16:creationId xmlns:a16="http://schemas.microsoft.com/office/drawing/2014/main" id="{71B3E98E-0974-4A9D-8EB5-A9CB714EE14D}"/>
              </a:ext>
            </a:extLst>
          </p:cNvPr>
          <p:cNvSpPr>
            <a:spLocks noGrp="1"/>
          </p:cNvSpPr>
          <p:nvPr>
            <p:ph sz="half" idx="1"/>
          </p:nvPr>
        </p:nvSpPr>
        <p:spPr>
          <a:xfrm>
            <a:off x="48861" y="765783"/>
            <a:ext cx="6728867" cy="1251481"/>
          </a:xfrm>
        </p:spPr>
        <p:txBody>
          <a:bodyPr/>
          <a:lstStyle/>
          <a:p>
            <a:r>
              <a:rPr lang="en-US" dirty="0">
                <a:solidFill>
                  <a:schemeClr val="bg2">
                    <a:lumMod val="50000"/>
                    <a:lumOff val="50000"/>
                  </a:schemeClr>
                </a:solidFill>
                <a:latin typeface="Inter"/>
              </a:rPr>
              <a:t>It is easy to calculate Mean : Add up all the numbers, then divide by how many numbers there are. </a:t>
            </a:r>
          </a:p>
          <a:p>
            <a:pPr lvl="1"/>
            <a:r>
              <a:rPr lang="en-US" sz="1400" dirty="0">
                <a:solidFill>
                  <a:schemeClr val="bg2">
                    <a:lumMod val="50000"/>
                    <a:lumOff val="50000"/>
                  </a:schemeClr>
                </a:solidFill>
                <a:latin typeface="Inter"/>
              </a:rPr>
              <a:t>Ex : What is the Mean of these numbers?</a:t>
            </a:r>
          </a:p>
          <a:p>
            <a:pPr lvl="2"/>
            <a:r>
              <a:rPr lang="en-US" sz="1400" dirty="0">
                <a:solidFill>
                  <a:schemeClr val="bg2">
                    <a:lumMod val="50000"/>
                    <a:lumOff val="50000"/>
                  </a:schemeClr>
                </a:solidFill>
                <a:latin typeface="Inter"/>
              </a:rPr>
              <a:t>6, 11, 7</a:t>
            </a:r>
          </a:p>
          <a:p>
            <a:pPr lvl="2"/>
            <a:r>
              <a:rPr lang="en-US" sz="1400" dirty="0">
                <a:solidFill>
                  <a:schemeClr val="bg2">
                    <a:lumMod val="50000"/>
                    <a:lumOff val="50000"/>
                  </a:schemeClr>
                </a:solidFill>
                <a:latin typeface="Inter"/>
              </a:rPr>
              <a:t>Add the numbers &amp; Divide by 3 : (6 + 11 + 7) / 3. </a:t>
            </a:r>
            <a:r>
              <a:rPr lang="en-US" sz="1400" b="1" i="1" dirty="0">
                <a:solidFill>
                  <a:schemeClr val="bg2">
                    <a:lumMod val="50000"/>
                    <a:lumOff val="50000"/>
                  </a:schemeClr>
                </a:solidFill>
                <a:latin typeface="Inter"/>
              </a:rPr>
              <a:t>Mean is 8 </a:t>
            </a:r>
          </a:p>
          <a:p>
            <a:pPr lvl="2"/>
            <a:endParaRPr lang="en-US" sz="1400" b="1" i="1" dirty="0">
              <a:solidFill>
                <a:schemeClr val="bg2">
                  <a:lumMod val="50000"/>
                  <a:lumOff val="50000"/>
                </a:schemeClr>
              </a:solidFill>
              <a:latin typeface="Inter"/>
            </a:endParaRPr>
          </a:p>
          <a:p>
            <a:pPr lvl="2"/>
            <a:endParaRPr lang="en-US" sz="1400" b="1" i="1" dirty="0">
              <a:solidFill>
                <a:schemeClr val="bg2">
                  <a:lumMod val="50000"/>
                  <a:lumOff val="50000"/>
                </a:schemeClr>
              </a:solidFill>
              <a:latin typeface="Inter"/>
            </a:endParaRPr>
          </a:p>
        </p:txBody>
      </p:sp>
      <p:sp>
        <p:nvSpPr>
          <p:cNvPr id="7" name="TextBox 6">
            <a:extLst>
              <a:ext uri="{FF2B5EF4-FFF2-40B4-BE49-F238E27FC236}">
                <a16:creationId xmlns:a16="http://schemas.microsoft.com/office/drawing/2014/main" id="{CBFD15FC-B763-4689-A555-569FEEEBA5DC}"/>
              </a:ext>
            </a:extLst>
          </p:cNvPr>
          <p:cNvSpPr txBox="1"/>
          <p:nvPr/>
        </p:nvSpPr>
        <p:spPr>
          <a:xfrm>
            <a:off x="48860" y="2205512"/>
            <a:ext cx="6950779"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ut sometimes we don't have a simple list of numbers, it might be a </a:t>
            </a:r>
            <a:r>
              <a:rPr lang="en-US" sz="1400" b="1" dirty="0">
                <a:solidFill>
                  <a:schemeClr val="bg2">
                    <a:lumMod val="50000"/>
                    <a:lumOff val="50000"/>
                  </a:schemeClr>
                </a:solidFill>
                <a:latin typeface="Inter"/>
                <a:cs typeface="Arial" panose="020B0604020202020204" pitchFamily="34" charset="0"/>
              </a:rPr>
              <a:t>frequency table </a:t>
            </a:r>
            <a:r>
              <a:rPr lang="en-US" sz="1400" dirty="0">
                <a:solidFill>
                  <a:schemeClr val="bg2">
                    <a:lumMod val="50000"/>
                    <a:lumOff val="50000"/>
                  </a:schemeClr>
                </a:solidFill>
                <a:latin typeface="Inter"/>
                <a:cs typeface="Arial" panose="020B0604020202020204" pitchFamily="34" charset="0"/>
              </a:rPr>
              <a:t>like this (the "frequency" says how often they occur):</a:t>
            </a:r>
            <a:endParaRPr lang="en-US" sz="1400" dirty="0">
              <a:solidFill>
                <a:schemeClr val="bg2"/>
              </a:solidFill>
              <a:latin typeface="+mn-lt"/>
            </a:endParaRPr>
          </a:p>
        </p:txBody>
      </p:sp>
      <p:pic>
        <p:nvPicPr>
          <p:cNvPr id="9" name="Picture 8">
            <a:extLst>
              <a:ext uri="{FF2B5EF4-FFF2-40B4-BE49-F238E27FC236}">
                <a16:creationId xmlns:a16="http://schemas.microsoft.com/office/drawing/2014/main" id="{05C3B33C-63E7-4CA8-AE9F-A05162C62A6E}"/>
              </a:ext>
            </a:extLst>
          </p:cNvPr>
          <p:cNvPicPr>
            <a:picLocks noChangeAspect="1"/>
          </p:cNvPicPr>
          <p:nvPr/>
        </p:nvPicPr>
        <p:blipFill>
          <a:blip r:embed="rId2"/>
          <a:stretch>
            <a:fillRect/>
          </a:stretch>
        </p:blipFill>
        <p:spPr>
          <a:xfrm>
            <a:off x="6924311" y="1689362"/>
            <a:ext cx="2219689" cy="1878713"/>
          </a:xfrm>
          <a:prstGeom prst="rect">
            <a:avLst/>
          </a:prstGeom>
        </p:spPr>
      </p:pic>
      <p:sp>
        <p:nvSpPr>
          <p:cNvPr id="13" name="TextBox 12">
            <a:extLst>
              <a:ext uri="{FF2B5EF4-FFF2-40B4-BE49-F238E27FC236}">
                <a16:creationId xmlns:a16="http://schemas.microsoft.com/office/drawing/2014/main" id="{0A0536CE-DB43-41F4-904B-13D49F0C36A6}"/>
              </a:ext>
            </a:extLst>
          </p:cNvPr>
          <p:cNvSpPr txBox="1"/>
          <p:nvPr/>
        </p:nvSpPr>
        <p:spPr>
          <a:xfrm>
            <a:off x="160543" y="2916980"/>
            <a:ext cx="7063915"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rgbClr val="007DB8"/>
                </a:solidFill>
                <a:latin typeface="Arial" panose="020B0604020202020204" pitchFamily="34" charset="0"/>
                <a:cs typeface="Arial" panose="020B0604020202020204" pitchFamily="34" charset="0"/>
              </a:rPr>
              <a:t>Method 1 : </a:t>
            </a:r>
            <a:r>
              <a:rPr lang="en-US" sz="1800" b="1" dirty="0">
                <a:solidFill>
                  <a:schemeClr val="bg2">
                    <a:lumMod val="50000"/>
                    <a:lumOff val="50000"/>
                  </a:schemeClr>
                </a:solidFill>
                <a:latin typeface="Arial" panose="020B0604020202020204" pitchFamily="34" charset="0"/>
                <a:cs typeface="Arial" panose="020B0604020202020204" pitchFamily="34" charset="0"/>
              </a:rPr>
              <a:t>We can list all the numbers</a:t>
            </a:r>
          </a:p>
        </p:txBody>
      </p:sp>
    </p:spTree>
    <p:extLst>
      <p:ext uri="{BB962C8B-B14F-4D97-AF65-F5344CB8AC3E}">
        <p14:creationId xmlns:p14="http://schemas.microsoft.com/office/powerpoint/2010/main" val="4077311094"/>
      </p:ext>
    </p:extLst>
  </p:cSld>
  <p:clrMapOvr>
    <a:masterClrMapping/>
  </p:clrMapOvr>
  <p:transition spd="med">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247FCC-648D-405D-B74C-DC5AA1A2FA39}"/>
              </a:ext>
            </a:extLst>
          </p:cNvPr>
          <p:cNvSpPr>
            <a:spLocks noGrp="1"/>
          </p:cNvSpPr>
          <p:nvPr>
            <p:ph type="title"/>
          </p:nvPr>
        </p:nvSpPr>
        <p:spPr>
          <a:xfrm>
            <a:off x="0" y="0"/>
            <a:ext cx="7955280" cy="640080"/>
          </a:xfrm>
        </p:spPr>
        <p:txBody>
          <a:bodyPr/>
          <a:lstStyle/>
          <a:p>
            <a:r>
              <a:rPr lang="en-US" dirty="0"/>
              <a:t>The Mean from a Frequency Table - </a:t>
            </a:r>
            <a:r>
              <a:rPr lang="en-US" b="1" dirty="0">
                <a:solidFill>
                  <a:schemeClr val="bg2">
                    <a:lumMod val="50000"/>
                    <a:lumOff val="50000"/>
                  </a:schemeClr>
                </a:solidFill>
              </a:rPr>
              <a:t>Continued</a:t>
            </a:r>
          </a:p>
        </p:txBody>
      </p:sp>
      <p:sp>
        <p:nvSpPr>
          <p:cNvPr id="5" name="Content Placeholder 4">
            <a:extLst>
              <a:ext uri="{FF2B5EF4-FFF2-40B4-BE49-F238E27FC236}">
                <a16:creationId xmlns:a16="http://schemas.microsoft.com/office/drawing/2014/main" id="{CF1C8607-03FF-4056-8357-79E38FF403FC}"/>
              </a:ext>
            </a:extLst>
          </p:cNvPr>
          <p:cNvSpPr txBox="1">
            <a:spLocks noGrp="1"/>
          </p:cNvSpPr>
          <p:nvPr>
            <p:ph sz="half" idx="1"/>
          </p:nvPr>
        </p:nvSpPr>
        <p:spPr>
          <a:xfrm>
            <a:off x="121305" y="697773"/>
            <a:ext cx="7954963" cy="276999"/>
          </a:xfrm>
          <a:prstGeom prst="rect">
            <a:avLst/>
          </a:prstGeom>
          <a:noFill/>
        </p:spPr>
        <p:txBody>
          <a:bodyPr wrap="square" rtlCol="0">
            <a:spAutoFit/>
          </a:bodyPr>
          <a:lstStyle/>
          <a:p>
            <a:pPr marL="0" indent="0">
              <a:spcBef>
                <a:spcPts val="0"/>
              </a:spcBef>
              <a:spcAft>
                <a:spcPts val="0"/>
              </a:spcAft>
              <a:buClr>
                <a:schemeClr val="bg1"/>
              </a:buClr>
              <a:buNone/>
            </a:pPr>
            <a:r>
              <a:rPr lang="en-US" sz="1800" b="1" dirty="0">
                <a:solidFill>
                  <a:srgbClr val="007DB8"/>
                </a:solidFill>
                <a:latin typeface="Arial" panose="020B0604020202020204" pitchFamily="34" charset="0"/>
                <a:cs typeface="Arial" panose="020B0604020202020204" pitchFamily="34" charset="0"/>
              </a:rPr>
              <a:t>Method </a:t>
            </a:r>
            <a:r>
              <a:rPr lang="en-US" sz="1800" b="1" dirty="0">
                <a:solidFill>
                  <a:srgbClr val="007DB8"/>
                </a:solidFill>
              </a:rPr>
              <a:t>2</a:t>
            </a:r>
            <a:r>
              <a:rPr lang="en-US" sz="1800" b="1" dirty="0">
                <a:solidFill>
                  <a:srgbClr val="007DB8"/>
                </a:solidFill>
                <a:latin typeface="Arial" panose="020B0604020202020204" pitchFamily="34" charset="0"/>
                <a:cs typeface="Arial" panose="020B0604020202020204" pitchFamily="34" charset="0"/>
              </a:rPr>
              <a:t> : </a:t>
            </a:r>
            <a:r>
              <a:rPr lang="en-US" sz="1800" b="1" dirty="0">
                <a:solidFill>
                  <a:schemeClr val="bg2">
                    <a:lumMod val="50000"/>
                    <a:lumOff val="50000"/>
                  </a:schemeClr>
                </a:solidFill>
              </a:rPr>
              <a:t>It is easier to use multiplication: </a:t>
            </a:r>
            <a:endParaRPr lang="en-US" sz="1800" b="1" dirty="0">
              <a:solidFill>
                <a:schemeClr val="bg2">
                  <a:lumMod val="50000"/>
                  <a:lumOff val="50000"/>
                </a:schemeClr>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D12F7D83-572C-4B8E-B64D-C75A5FADBC65}"/>
              </a:ext>
            </a:extLst>
          </p:cNvPr>
          <p:cNvPicPr>
            <a:picLocks noChangeAspect="1"/>
          </p:cNvPicPr>
          <p:nvPr/>
        </p:nvPicPr>
        <p:blipFill>
          <a:blip r:embed="rId2"/>
          <a:stretch>
            <a:fillRect/>
          </a:stretch>
        </p:blipFill>
        <p:spPr>
          <a:xfrm>
            <a:off x="6845435" y="751822"/>
            <a:ext cx="2219689" cy="1878713"/>
          </a:xfrm>
          <a:prstGeom prst="rect">
            <a:avLst/>
          </a:prstGeom>
        </p:spPr>
      </p:pic>
      <p:pic>
        <p:nvPicPr>
          <p:cNvPr id="8" name="Picture 7">
            <a:extLst>
              <a:ext uri="{FF2B5EF4-FFF2-40B4-BE49-F238E27FC236}">
                <a16:creationId xmlns:a16="http://schemas.microsoft.com/office/drawing/2014/main" id="{C513CFDB-808F-4A44-B1A6-71130FF08E65}"/>
              </a:ext>
            </a:extLst>
          </p:cNvPr>
          <p:cNvPicPr>
            <a:picLocks noChangeAspect="1"/>
          </p:cNvPicPr>
          <p:nvPr/>
        </p:nvPicPr>
        <p:blipFill>
          <a:blip r:embed="rId3"/>
          <a:stretch>
            <a:fillRect/>
          </a:stretch>
        </p:blipFill>
        <p:spPr>
          <a:xfrm>
            <a:off x="1719262" y="3832562"/>
            <a:ext cx="3431381" cy="1039474"/>
          </a:xfrm>
          <a:prstGeom prst="rect">
            <a:avLst/>
          </a:prstGeom>
        </p:spPr>
      </p:pic>
      <p:sp>
        <p:nvSpPr>
          <p:cNvPr id="9" name="TextBox 8">
            <a:extLst>
              <a:ext uri="{FF2B5EF4-FFF2-40B4-BE49-F238E27FC236}">
                <a16:creationId xmlns:a16="http://schemas.microsoft.com/office/drawing/2014/main" id="{45E930DC-77C7-4B7D-8DBE-B633640ED210}"/>
              </a:ext>
            </a:extLst>
          </p:cNvPr>
          <p:cNvSpPr txBox="1"/>
          <p:nvPr/>
        </p:nvSpPr>
        <p:spPr>
          <a:xfrm>
            <a:off x="309769" y="4167633"/>
            <a:ext cx="1336020"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Notation : </a:t>
            </a:r>
            <a:endParaRPr lang="en-US" sz="1400" b="1" dirty="0">
              <a:solidFill>
                <a:schemeClr val="accent1"/>
              </a:solidFill>
              <a:latin typeface="+mn-lt"/>
            </a:endParaRPr>
          </a:p>
        </p:txBody>
      </p:sp>
    </p:spTree>
    <p:extLst>
      <p:ext uri="{BB962C8B-B14F-4D97-AF65-F5344CB8AC3E}">
        <p14:creationId xmlns:p14="http://schemas.microsoft.com/office/powerpoint/2010/main" val="1490276767"/>
      </p:ext>
    </p:extLst>
  </p:cSld>
  <p:clrMapOvr>
    <a:masterClrMapping/>
  </p:clrMapOvr>
  <p:transition spd="med">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7F4E04-8B25-441E-9B3E-D8CC37F76D72}"/>
              </a:ext>
            </a:extLst>
          </p:cNvPr>
          <p:cNvSpPr>
            <a:spLocks noGrp="1"/>
          </p:cNvSpPr>
          <p:nvPr>
            <p:ph type="title"/>
          </p:nvPr>
        </p:nvSpPr>
        <p:spPr>
          <a:xfrm>
            <a:off x="0" y="62480"/>
            <a:ext cx="7955280" cy="640080"/>
          </a:xfrm>
        </p:spPr>
        <p:txBody>
          <a:bodyPr/>
          <a:lstStyle/>
          <a:p>
            <a:r>
              <a:rPr lang="en-US" dirty="0"/>
              <a:t>Another example of Mean from a Freq Table</a:t>
            </a:r>
          </a:p>
        </p:txBody>
      </p:sp>
      <p:sp>
        <p:nvSpPr>
          <p:cNvPr id="4" name="Content Placeholder 3">
            <a:extLst>
              <a:ext uri="{FF2B5EF4-FFF2-40B4-BE49-F238E27FC236}">
                <a16:creationId xmlns:a16="http://schemas.microsoft.com/office/drawing/2014/main" id="{29F6A6DF-D96F-4002-BBEA-EFA3FFF52633}"/>
              </a:ext>
            </a:extLst>
          </p:cNvPr>
          <p:cNvSpPr>
            <a:spLocks noGrp="1"/>
          </p:cNvSpPr>
          <p:nvPr>
            <p:ph sz="half" idx="1"/>
          </p:nvPr>
        </p:nvSpPr>
        <p:spPr>
          <a:xfrm>
            <a:off x="85856" y="821564"/>
            <a:ext cx="7955280" cy="3017520"/>
          </a:xfrm>
        </p:spPr>
        <p:txBody>
          <a:bodyPr/>
          <a:lstStyle/>
          <a:p>
            <a:pPr marL="0" indent="0">
              <a:buNone/>
            </a:pPr>
            <a:r>
              <a:rPr lang="en-US" dirty="0">
                <a:solidFill>
                  <a:schemeClr val="bg2">
                    <a:lumMod val="50000"/>
                    <a:lumOff val="50000"/>
                  </a:schemeClr>
                </a:solidFill>
                <a:latin typeface="Inter"/>
              </a:rPr>
              <a:t>Isabella went up and down the street to find out how many parking spaces each house has. Here are her results:</a:t>
            </a:r>
          </a:p>
          <a:p>
            <a:endParaRPr lang="en-US" dirty="0">
              <a:solidFill>
                <a:srgbClr val="333333"/>
              </a:solidFill>
              <a:latin typeface="Verdana" panose="020B0604030504040204" pitchFamily="34" charset="0"/>
            </a:endParaRPr>
          </a:p>
          <a:p>
            <a:pPr marL="0" indent="0">
              <a:buNone/>
            </a:pPr>
            <a:r>
              <a:rPr lang="en-US" dirty="0">
                <a:solidFill>
                  <a:schemeClr val="bg2">
                    <a:lumMod val="50000"/>
                    <a:lumOff val="50000"/>
                  </a:schemeClr>
                </a:solidFill>
                <a:latin typeface="Inter"/>
              </a:rPr>
              <a:t>What is the mean number of Parking Spaces?</a:t>
            </a:r>
          </a:p>
        </p:txBody>
      </p:sp>
      <p:pic>
        <p:nvPicPr>
          <p:cNvPr id="6" name="Picture 5">
            <a:extLst>
              <a:ext uri="{FF2B5EF4-FFF2-40B4-BE49-F238E27FC236}">
                <a16:creationId xmlns:a16="http://schemas.microsoft.com/office/drawing/2014/main" id="{56085063-4095-4C3B-B988-BF3C9872C324}"/>
              </a:ext>
            </a:extLst>
          </p:cNvPr>
          <p:cNvPicPr>
            <a:picLocks noChangeAspect="1"/>
          </p:cNvPicPr>
          <p:nvPr/>
        </p:nvPicPr>
        <p:blipFill>
          <a:blip r:embed="rId2"/>
          <a:stretch>
            <a:fillRect/>
          </a:stretch>
        </p:blipFill>
        <p:spPr>
          <a:xfrm>
            <a:off x="6878768" y="1114905"/>
            <a:ext cx="2179375" cy="1732997"/>
          </a:xfrm>
          <a:prstGeom prst="rect">
            <a:avLst/>
          </a:prstGeom>
        </p:spPr>
      </p:pic>
    </p:spTree>
    <p:extLst>
      <p:ext uri="{BB962C8B-B14F-4D97-AF65-F5344CB8AC3E}">
        <p14:creationId xmlns:p14="http://schemas.microsoft.com/office/powerpoint/2010/main" val="832144514"/>
      </p:ext>
    </p:extLst>
  </p:cSld>
  <p:clrMapOvr>
    <a:masterClrMapping/>
  </p:clrMapOvr>
  <p:transition spd="med">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8465CC-6FD4-40D5-ABD5-0BE485707A80}"/>
              </a:ext>
            </a:extLst>
          </p:cNvPr>
          <p:cNvSpPr>
            <a:spLocks noGrp="1"/>
          </p:cNvSpPr>
          <p:nvPr>
            <p:ph type="title"/>
          </p:nvPr>
        </p:nvSpPr>
        <p:spPr>
          <a:xfrm>
            <a:off x="0"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51F75A8C-3E42-4490-9BF3-6D0824C8CED9}"/>
              </a:ext>
            </a:extLst>
          </p:cNvPr>
          <p:cNvSpPr>
            <a:spLocks noGrp="1"/>
          </p:cNvSpPr>
          <p:nvPr>
            <p:ph sz="half" idx="1"/>
          </p:nvPr>
        </p:nvSpPr>
        <p:spPr>
          <a:xfrm>
            <a:off x="0" y="779086"/>
            <a:ext cx="7754950" cy="3771377"/>
          </a:xfrm>
        </p:spPr>
        <p:txBody>
          <a:bodyPr/>
          <a:lstStyle/>
          <a:p>
            <a:pPr algn="l"/>
            <a:r>
              <a:rPr lang="en-US" dirty="0">
                <a:solidFill>
                  <a:schemeClr val="bg2">
                    <a:lumMod val="50000"/>
                    <a:lumOff val="50000"/>
                  </a:schemeClr>
                </a:solidFill>
                <a:latin typeface="Inter"/>
              </a:rPr>
              <a:t>When we do a simple </a:t>
            </a:r>
            <a:r>
              <a:rPr lang="en-US" dirty="0">
                <a:solidFill>
                  <a:schemeClr val="bg2">
                    <a:lumMod val="50000"/>
                    <a:lumOff val="50000"/>
                  </a:schemeClr>
                </a:solidFill>
                <a:latin typeface="Inter"/>
                <a:hlinkClick r:id="rId2">
                  <a:extLst>
                    <a:ext uri="{A12FA001-AC4F-418D-AE19-62706E023703}">
                      <ahyp:hlinkClr xmlns:ahyp="http://schemas.microsoft.com/office/drawing/2018/hyperlinkcolor" val="tx"/>
                    </a:ext>
                  </a:extLst>
                </a:hlinkClick>
              </a:rPr>
              <a:t>mean</a:t>
            </a:r>
            <a:r>
              <a:rPr lang="en-US" dirty="0">
                <a:solidFill>
                  <a:schemeClr val="bg2">
                    <a:lumMod val="50000"/>
                    <a:lumOff val="50000"/>
                  </a:schemeClr>
                </a:solidFill>
                <a:latin typeface="Inter"/>
              </a:rPr>
              <a:t> (or average), we give equal weight to each number.</a:t>
            </a:r>
          </a:p>
          <a:p>
            <a:pPr algn="l"/>
            <a:r>
              <a:rPr lang="en-US" dirty="0">
                <a:solidFill>
                  <a:schemeClr val="bg2">
                    <a:lumMod val="50000"/>
                    <a:lumOff val="50000"/>
                  </a:schemeClr>
                </a:solidFill>
                <a:latin typeface="Inter"/>
              </a:rPr>
              <a:t>What is the mean of 1, 2, 3 and 4 ? </a:t>
            </a:r>
          </a:p>
          <a:p>
            <a:endParaRPr lang="en-US" dirty="0"/>
          </a:p>
        </p:txBody>
      </p:sp>
      <p:pic>
        <p:nvPicPr>
          <p:cNvPr id="6" name="Picture 5">
            <a:extLst>
              <a:ext uri="{FF2B5EF4-FFF2-40B4-BE49-F238E27FC236}">
                <a16:creationId xmlns:a16="http://schemas.microsoft.com/office/drawing/2014/main" id="{37AAEF72-07AA-4AF0-B6D5-AC806A1EAAEA}"/>
              </a:ext>
            </a:extLst>
          </p:cNvPr>
          <p:cNvPicPr>
            <a:picLocks noChangeAspect="1"/>
          </p:cNvPicPr>
          <p:nvPr/>
        </p:nvPicPr>
        <p:blipFill>
          <a:blip r:embed="rId3"/>
          <a:stretch>
            <a:fillRect/>
          </a:stretch>
        </p:blipFill>
        <p:spPr>
          <a:xfrm>
            <a:off x="7586231" y="779086"/>
            <a:ext cx="1557769" cy="1077635"/>
          </a:xfrm>
          <a:prstGeom prst="rect">
            <a:avLst/>
          </a:prstGeom>
        </p:spPr>
      </p:pic>
    </p:spTree>
    <p:extLst>
      <p:ext uri="{BB962C8B-B14F-4D97-AF65-F5344CB8AC3E}">
        <p14:creationId xmlns:p14="http://schemas.microsoft.com/office/powerpoint/2010/main" val="421686646"/>
      </p:ext>
    </p:extLst>
  </p:cSld>
  <p:clrMapOvr>
    <a:masterClrMapping/>
  </p:clrMapOvr>
  <p:transition spd="med">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007897-F972-49B5-A559-CC66DAECA555}"/>
              </a:ext>
            </a:extLst>
          </p:cNvPr>
          <p:cNvSpPr>
            <a:spLocks noGrp="1"/>
          </p:cNvSpPr>
          <p:nvPr>
            <p:ph type="title"/>
          </p:nvPr>
        </p:nvSpPr>
        <p:spPr>
          <a:xfrm>
            <a:off x="71894"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8B99626D-700C-462B-8E1D-46027AF50B0A}"/>
              </a:ext>
            </a:extLst>
          </p:cNvPr>
          <p:cNvSpPr>
            <a:spLocks noGrp="1"/>
          </p:cNvSpPr>
          <p:nvPr>
            <p:ph sz="half" idx="1"/>
          </p:nvPr>
        </p:nvSpPr>
        <p:spPr>
          <a:xfrm>
            <a:off x="71894" y="758742"/>
            <a:ext cx="8255428" cy="3017520"/>
          </a:xfrm>
        </p:spPr>
        <p:txBody>
          <a:bodyPr/>
          <a:lstStyle/>
          <a:p>
            <a:r>
              <a:rPr lang="en-US" dirty="0">
                <a:solidFill>
                  <a:schemeClr val="bg2">
                    <a:lumMod val="50000"/>
                    <a:lumOff val="50000"/>
                  </a:schemeClr>
                </a:solidFill>
                <a:latin typeface="Inter"/>
              </a:rPr>
              <a:t>Now let's change the weight of 3 to 0.7, and the weights of the other numbers to 0.1 </a:t>
            </a:r>
            <a:r>
              <a:rPr lang="en-US" sz="1800" b="1" dirty="0">
                <a:solidFill>
                  <a:schemeClr val="bg2">
                    <a:lumMod val="50000"/>
                    <a:lumOff val="50000"/>
                  </a:schemeClr>
                </a:solidFill>
                <a:latin typeface="Inter"/>
              </a:rPr>
              <a:t>so the total of the weights is still 1:</a:t>
            </a:r>
            <a:endParaRPr lang="en-US" b="1" dirty="0">
              <a:solidFill>
                <a:schemeClr val="bg2">
                  <a:lumMod val="50000"/>
                  <a:lumOff val="50000"/>
                </a:schemeClr>
              </a:solidFill>
              <a:latin typeface="Inter"/>
            </a:endParaRPr>
          </a:p>
        </p:txBody>
      </p:sp>
      <p:pic>
        <p:nvPicPr>
          <p:cNvPr id="6" name="Picture 5">
            <a:extLst>
              <a:ext uri="{FF2B5EF4-FFF2-40B4-BE49-F238E27FC236}">
                <a16:creationId xmlns:a16="http://schemas.microsoft.com/office/drawing/2014/main" id="{0A5A856D-0F57-43ED-9EC3-EAA12B3858F9}"/>
              </a:ext>
            </a:extLst>
          </p:cNvPr>
          <p:cNvPicPr>
            <a:picLocks noChangeAspect="1"/>
          </p:cNvPicPr>
          <p:nvPr/>
        </p:nvPicPr>
        <p:blipFill>
          <a:blip r:embed="rId2"/>
          <a:stretch>
            <a:fillRect/>
          </a:stretch>
        </p:blipFill>
        <p:spPr>
          <a:xfrm>
            <a:off x="7217079" y="1356077"/>
            <a:ext cx="1926921" cy="1589548"/>
          </a:xfrm>
          <a:prstGeom prst="rect">
            <a:avLst/>
          </a:prstGeom>
        </p:spPr>
      </p:pic>
      <p:sp>
        <p:nvSpPr>
          <p:cNvPr id="7" name="TextBox 6">
            <a:extLst>
              <a:ext uri="{FF2B5EF4-FFF2-40B4-BE49-F238E27FC236}">
                <a16:creationId xmlns:a16="http://schemas.microsoft.com/office/drawing/2014/main" id="{586C4650-B4D2-4078-9665-6627666C6CB4}"/>
              </a:ext>
            </a:extLst>
          </p:cNvPr>
          <p:cNvSpPr txBox="1"/>
          <p:nvPr/>
        </p:nvSpPr>
        <p:spPr>
          <a:xfrm>
            <a:off x="1383115" y="4481258"/>
            <a:ext cx="5332837"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When should I use Weighted mean ? </a:t>
            </a:r>
          </a:p>
        </p:txBody>
      </p:sp>
      <p:pic>
        <p:nvPicPr>
          <p:cNvPr id="9" name="Picture 8">
            <a:extLst>
              <a:ext uri="{FF2B5EF4-FFF2-40B4-BE49-F238E27FC236}">
                <a16:creationId xmlns:a16="http://schemas.microsoft.com/office/drawing/2014/main" id="{515CA4EC-C0A9-4FF0-B09F-3C87F72A000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500359" y="4054287"/>
            <a:ext cx="1716720" cy="1015010"/>
          </a:xfrm>
          <a:prstGeom prst="rect">
            <a:avLst/>
          </a:prstGeom>
        </p:spPr>
      </p:pic>
    </p:spTree>
    <p:extLst>
      <p:ext uri="{BB962C8B-B14F-4D97-AF65-F5344CB8AC3E}">
        <p14:creationId xmlns:p14="http://schemas.microsoft.com/office/powerpoint/2010/main" val="3603259149"/>
      </p:ext>
    </p:extLst>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1651A-6ED4-4C8B-8D44-5EDBA939BABF}"/>
              </a:ext>
            </a:extLst>
          </p:cNvPr>
          <p:cNvSpPr>
            <a:spLocks noGrp="1"/>
          </p:cNvSpPr>
          <p:nvPr>
            <p:ph type="title"/>
          </p:nvPr>
        </p:nvSpPr>
        <p:spPr/>
        <p:txBody>
          <a:bodyPr/>
          <a:lstStyle/>
          <a:p>
            <a:r>
              <a:rPr lang="en-US" dirty="0"/>
              <a:t>What is Statistics ? </a:t>
            </a:r>
          </a:p>
        </p:txBody>
      </p:sp>
      <p:sp>
        <p:nvSpPr>
          <p:cNvPr id="3" name="Content Placeholder 2">
            <a:extLst>
              <a:ext uri="{FF2B5EF4-FFF2-40B4-BE49-F238E27FC236}">
                <a16:creationId xmlns:a16="http://schemas.microsoft.com/office/drawing/2014/main" id="{E8A42226-9FEF-40B1-B486-27D94ECAAFDE}"/>
              </a:ext>
            </a:extLst>
          </p:cNvPr>
          <p:cNvSpPr>
            <a:spLocks noGrp="1"/>
          </p:cNvSpPr>
          <p:nvPr>
            <p:ph sz="half" idx="1"/>
          </p:nvPr>
        </p:nvSpPr>
        <p:spPr/>
        <p:txBody>
          <a:bodyPr/>
          <a:lstStyle/>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Uncertainty is rampant ! we use statistics to answer questions about things that are unknown (e.g. : number of cars in Bangalore ?) , but just as importantly, we use statistics to get an idea of how sure we are of our answers. Sometimes it is useful to know that you don’t know.!! </a:t>
            </a: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Statistical tools are used to make most out of limited information!! </a:t>
            </a:r>
          </a:p>
          <a:p>
            <a:endParaRPr lang="en-US" dirty="0"/>
          </a:p>
        </p:txBody>
      </p:sp>
      <p:pic>
        <p:nvPicPr>
          <p:cNvPr id="5" name="Picture 4" descr="Text, whiteboard&#10;&#10;Description automatically generated">
            <a:extLst>
              <a:ext uri="{FF2B5EF4-FFF2-40B4-BE49-F238E27FC236}">
                <a16:creationId xmlns:a16="http://schemas.microsoft.com/office/drawing/2014/main" id="{51F1782B-1A57-4E62-8628-08331F40875E}"/>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21911" y="174424"/>
            <a:ext cx="1465548" cy="977032"/>
          </a:xfrm>
          <a:prstGeom prst="rect">
            <a:avLst/>
          </a:prstGeom>
        </p:spPr>
      </p:pic>
    </p:spTree>
    <p:extLst>
      <p:ext uri="{BB962C8B-B14F-4D97-AF65-F5344CB8AC3E}">
        <p14:creationId xmlns:p14="http://schemas.microsoft.com/office/powerpoint/2010/main" val="2976966562"/>
      </p:ext>
    </p:extLst>
  </p:cSld>
  <p:clrMapOvr>
    <a:masterClrMapping/>
  </p:clrMapOvr>
  <p:transition spd="med">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E8170F-5441-4F00-8D1A-03BC63DB25FC}"/>
              </a:ext>
            </a:extLst>
          </p:cNvPr>
          <p:cNvSpPr>
            <a:spLocks noGrp="1"/>
          </p:cNvSpPr>
          <p:nvPr>
            <p:ph type="title"/>
          </p:nvPr>
        </p:nvSpPr>
        <p:spPr>
          <a:xfrm>
            <a:off x="0" y="0"/>
            <a:ext cx="7955280" cy="640080"/>
          </a:xfrm>
        </p:spPr>
        <p:txBody>
          <a:bodyPr/>
          <a:lstStyle/>
          <a:p>
            <a:r>
              <a:rPr lang="en-US" dirty="0"/>
              <a:t>Weighted Mean – Example </a:t>
            </a:r>
          </a:p>
        </p:txBody>
      </p:sp>
      <p:pic>
        <p:nvPicPr>
          <p:cNvPr id="6" name="Content Placeholder 5" descr="A camera on a tripod&#10;&#10;Description automatically generated">
            <a:extLst>
              <a:ext uri="{FF2B5EF4-FFF2-40B4-BE49-F238E27FC236}">
                <a16:creationId xmlns:a16="http://schemas.microsoft.com/office/drawing/2014/main" id="{5FA604C4-BA58-4823-9F14-A808A90C361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28594" y="1281936"/>
            <a:ext cx="2631645" cy="2026655"/>
          </a:xfrm>
        </p:spPr>
      </p:pic>
      <p:sp>
        <p:nvSpPr>
          <p:cNvPr id="7" name="TextBox 6">
            <a:extLst>
              <a:ext uri="{FF2B5EF4-FFF2-40B4-BE49-F238E27FC236}">
                <a16:creationId xmlns:a16="http://schemas.microsoft.com/office/drawing/2014/main" id="{9BE58714-D8FF-4A6D-B0FC-0DB2E076BB69}"/>
              </a:ext>
            </a:extLst>
          </p:cNvPr>
          <p:cNvSpPr txBox="1"/>
          <p:nvPr/>
        </p:nvSpPr>
        <p:spPr>
          <a:xfrm>
            <a:off x="0" y="640080"/>
            <a:ext cx="6428594" cy="2154436"/>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eighted means can help with decisions where some things are more important than other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Question : </a:t>
            </a:r>
            <a:r>
              <a:rPr lang="en-US" sz="1400" dirty="0">
                <a:solidFill>
                  <a:schemeClr val="bg2">
                    <a:lumMod val="50000"/>
                    <a:lumOff val="50000"/>
                  </a:schemeClr>
                </a:solidFill>
                <a:latin typeface="Inter"/>
                <a:cs typeface="Arial" panose="020B0604020202020204" pitchFamily="34" charset="0"/>
              </a:rPr>
              <a:t>Mike wants to buy a new camera, and decides on the following rating system:</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Image Quality </a:t>
            </a:r>
            <a:r>
              <a:rPr lang="en-US" sz="1400" b="1" dirty="0">
                <a:solidFill>
                  <a:schemeClr val="bg2">
                    <a:lumMod val="50000"/>
                    <a:lumOff val="50000"/>
                  </a:schemeClr>
                </a:solidFill>
                <a:latin typeface="Inter"/>
                <a:cs typeface="Arial" panose="020B0604020202020204" pitchFamily="34" charset="0"/>
              </a:rPr>
              <a:t>5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attery Life     </a:t>
            </a:r>
            <a:r>
              <a:rPr lang="en-US" sz="1400" b="1" dirty="0">
                <a:solidFill>
                  <a:schemeClr val="bg2">
                    <a:lumMod val="50000"/>
                    <a:lumOff val="50000"/>
                  </a:schemeClr>
                </a:solidFill>
                <a:latin typeface="Inter"/>
                <a:cs typeface="Arial" panose="020B0604020202020204" pitchFamily="34" charset="0"/>
              </a:rPr>
              <a:t>3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Zoom Range   </a:t>
            </a:r>
            <a:r>
              <a:rPr lang="en-US" sz="1400" b="1" dirty="0">
                <a:solidFill>
                  <a:schemeClr val="bg2">
                    <a:lumMod val="50000"/>
                    <a:lumOff val="50000"/>
                  </a:schemeClr>
                </a:solidFill>
                <a:latin typeface="Inter"/>
                <a:cs typeface="Arial" panose="020B0604020202020204" pitchFamily="34" charset="0"/>
              </a:rPr>
              <a:t>20%</a:t>
            </a:r>
          </a:p>
          <a:p>
            <a:pPr>
              <a:spcBef>
                <a:spcPts val="0"/>
              </a:spcBef>
              <a:spcAft>
                <a:spcPts val="0"/>
              </a:spcAft>
              <a:buClr>
                <a:schemeClr val="bg1"/>
              </a:buClr>
            </a:pPr>
            <a:endParaRPr lang="en-US" sz="1400" dirty="0">
              <a:solidFill>
                <a:schemeClr val="bg2"/>
              </a:solidFill>
              <a:latin typeface="+mn-lt"/>
            </a:endParaRPr>
          </a:p>
        </p:txBody>
      </p:sp>
    </p:spTree>
    <p:extLst>
      <p:ext uri="{BB962C8B-B14F-4D97-AF65-F5344CB8AC3E}">
        <p14:creationId xmlns:p14="http://schemas.microsoft.com/office/powerpoint/2010/main" val="2701245991"/>
      </p:ext>
    </p:extLst>
  </p:cSld>
  <p:clrMapOvr>
    <a:masterClrMapping/>
  </p:clrMapOvr>
  <p:transition spd="med">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78E4DC-81E1-4BC8-9DB3-611736E8964A}"/>
              </a:ext>
            </a:extLst>
          </p:cNvPr>
          <p:cNvSpPr>
            <a:spLocks noGrp="1"/>
          </p:cNvSpPr>
          <p:nvPr>
            <p:ph type="title"/>
          </p:nvPr>
        </p:nvSpPr>
        <p:spPr>
          <a:xfrm>
            <a:off x="302240" y="232918"/>
            <a:ext cx="7955280" cy="640080"/>
          </a:xfrm>
        </p:spPr>
        <p:txBody>
          <a:bodyPr/>
          <a:lstStyle/>
          <a:p>
            <a:r>
              <a:rPr lang="en-US" dirty="0"/>
              <a:t>What if the weights don’t add to 1 ?</a:t>
            </a:r>
          </a:p>
        </p:txBody>
      </p:sp>
      <p:pic>
        <p:nvPicPr>
          <p:cNvPr id="6" name="Content Placeholder 5" descr="A yellow hat with black text&#10;&#10;Description automatically generated with low confidence">
            <a:extLst>
              <a:ext uri="{FF2B5EF4-FFF2-40B4-BE49-F238E27FC236}">
                <a16:creationId xmlns:a16="http://schemas.microsoft.com/office/drawing/2014/main" id="{B1B54872-4DCF-42B3-BC9A-C2750AC2AF5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56173" y="90401"/>
            <a:ext cx="921701" cy="925115"/>
          </a:xfrm>
        </p:spPr>
      </p:pic>
      <p:sp>
        <p:nvSpPr>
          <p:cNvPr id="2" name="TextBox 1">
            <a:extLst>
              <a:ext uri="{FF2B5EF4-FFF2-40B4-BE49-F238E27FC236}">
                <a16:creationId xmlns:a16="http://schemas.microsoft.com/office/drawing/2014/main" id="{AE6428D7-E78E-45E0-A9C6-6B3B8B9B4A7E}"/>
              </a:ext>
            </a:extLst>
          </p:cNvPr>
          <p:cNvSpPr txBox="1"/>
          <p:nvPr/>
        </p:nvSpPr>
        <p:spPr>
          <a:xfrm>
            <a:off x="181484" y="1015515"/>
            <a:ext cx="6728867" cy="30623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en the weights don't add to 1, divide by the sum of weights.</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Example: Adrian usually eats lunch 7 times a week, but some weeks only gets 1, 2, or 5 lunch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lgn="l"/>
            <a:r>
              <a:rPr lang="en-US" sz="1400" dirty="0">
                <a:solidFill>
                  <a:schemeClr val="bg2">
                    <a:lumMod val="50000"/>
                    <a:lumOff val="50000"/>
                  </a:schemeClr>
                </a:solidFill>
                <a:latin typeface="Inter"/>
                <a:cs typeface="Arial" panose="020B0604020202020204" pitchFamily="34" charset="0"/>
              </a:rPr>
              <a:t>Alex had lunch:</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2 weeks: only one lunch for the whole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14 weeks: 2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8 weeks: 5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32 weeks: 7 lunches each week</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at is the mean number of lunches Alex having each week?</a:t>
            </a:r>
          </a:p>
          <a:p>
            <a:pPr>
              <a:spcBef>
                <a:spcPts val="0"/>
              </a:spcBef>
              <a:spcAft>
                <a:spcPts val="0"/>
              </a:spcAft>
              <a:buClr>
                <a:schemeClr val="bg1"/>
              </a:buClr>
            </a:pPr>
            <a:endParaRPr lang="en-US" sz="1400" dirty="0">
              <a:solidFill>
                <a:schemeClr val="bg2"/>
              </a:solidFill>
              <a:latin typeface="+mn-lt"/>
            </a:endParaRPr>
          </a:p>
        </p:txBody>
      </p:sp>
    </p:spTree>
    <p:extLst>
      <p:ext uri="{BB962C8B-B14F-4D97-AF65-F5344CB8AC3E}">
        <p14:creationId xmlns:p14="http://schemas.microsoft.com/office/powerpoint/2010/main" val="1541171692"/>
      </p:ext>
    </p:extLst>
  </p:cSld>
  <p:clrMapOvr>
    <a:masterClrMapping/>
  </p:clrMapOvr>
  <p:transition spd="med">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463494-2B80-433F-975F-08D7A84349CD}"/>
              </a:ext>
            </a:extLst>
          </p:cNvPr>
          <p:cNvSpPr>
            <a:spLocks noGrp="1"/>
          </p:cNvSpPr>
          <p:nvPr>
            <p:ph type="title"/>
          </p:nvPr>
        </p:nvSpPr>
        <p:spPr>
          <a:xfrm>
            <a:off x="0" y="83421"/>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4EB52728-6157-4065-A402-BCEDE421A612}"/>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41269" y="0"/>
            <a:ext cx="1688223" cy="998162"/>
          </a:xfrm>
        </p:spPr>
      </p:pic>
      <p:sp>
        <p:nvSpPr>
          <p:cNvPr id="8" name="TextBox 7">
            <a:extLst>
              <a:ext uri="{FF2B5EF4-FFF2-40B4-BE49-F238E27FC236}">
                <a16:creationId xmlns:a16="http://schemas.microsoft.com/office/drawing/2014/main" id="{9B2D573D-0295-44A9-AEDB-1A984B1AD36C}"/>
              </a:ext>
            </a:extLst>
          </p:cNvPr>
          <p:cNvSpPr txBox="1"/>
          <p:nvPr/>
        </p:nvSpPr>
        <p:spPr>
          <a:xfrm>
            <a:off x="104702" y="1081583"/>
            <a:ext cx="6428594" cy="1338828"/>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dirty="0">
                <a:solidFill>
                  <a:schemeClr val="bg2">
                    <a:lumMod val="50000"/>
                    <a:lumOff val="50000"/>
                  </a:schemeClr>
                </a:solidFill>
                <a:latin typeface="Inter"/>
                <a:cs typeface="Arial" panose="020B0604020202020204" pitchFamily="34" charset="0"/>
              </a:rPr>
              <a:t>Use “Weeks” as the weighting</a:t>
            </a: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Solution : </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4E664255-7746-4696-9615-CC824F9301BD}"/>
              </a:ext>
            </a:extLst>
          </p:cNvPr>
          <p:cNvPicPr>
            <a:picLocks noChangeAspect="1"/>
          </p:cNvPicPr>
          <p:nvPr/>
        </p:nvPicPr>
        <p:blipFill>
          <a:blip r:embed="rId4"/>
          <a:stretch>
            <a:fillRect/>
          </a:stretch>
        </p:blipFill>
        <p:spPr>
          <a:xfrm>
            <a:off x="5752099" y="3070904"/>
            <a:ext cx="3233429" cy="1619759"/>
          </a:xfrm>
          <a:prstGeom prst="rect">
            <a:avLst/>
          </a:prstGeom>
        </p:spPr>
      </p:pic>
    </p:spTree>
    <p:extLst>
      <p:ext uri="{BB962C8B-B14F-4D97-AF65-F5344CB8AC3E}">
        <p14:creationId xmlns:p14="http://schemas.microsoft.com/office/powerpoint/2010/main" val="2216126519"/>
      </p:ext>
    </p:extLst>
  </p:cSld>
  <p:clrMapOvr>
    <a:masterClrMapping/>
  </p:clrMapOvr>
  <p:transition spd="med">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7D7890-7B45-4CAF-9C2B-2740282A16C3}"/>
              </a:ext>
            </a:extLst>
          </p:cNvPr>
          <p:cNvSpPr>
            <a:spLocks noGrp="1"/>
          </p:cNvSpPr>
          <p:nvPr>
            <p:ph type="title"/>
          </p:nvPr>
        </p:nvSpPr>
        <p:spPr>
          <a:xfrm>
            <a:off x="0" y="27981"/>
            <a:ext cx="7955280" cy="640080"/>
          </a:xfrm>
        </p:spPr>
        <p:txBody>
          <a:bodyPr/>
          <a:lstStyle/>
          <a:p>
            <a:r>
              <a:rPr lang="en-US" dirty="0"/>
              <a:t>What if the weights don’t add to 1 ?</a:t>
            </a:r>
          </a:p>
        </p:txBody>
      </p:sp>
      <p:sp>
        <p:nvSpPr>
          <p:cNvPr id="4" name="Content Placeholder 3">
            <a:extLst>
              <a:ext uri="{FF2B5EF4-FFF2-40B4-BE49-F238E27FC236}">
                <a16:creationId xmlns:a16="http://schemas.microsoft.com/office/drawing/2014/main" id="{C00C7600-583F-4D5F-8694-F5771CA467EA}"/>
              </a:ext>
            </a:extLst>
          </p:cNvPr>
          <p:cNvSpPr>
            <a:spLocks noGrp="1"/>
          </p:cNvSpPr>
          <p:nvPr>
            <p:ph sz="half" idx="1"/>
          </p:nvPr>
        </p:nvSpPr>
        <p:spPr>
          <a:xfrm>
            <a:off x="99816" y="856465"/>
            <a:ext cx="7955280" cy="3017520"/>
          </a:xfrm>
        </p:spPr>
        <p:txBody>
          <a:bodyPr/>
          <a:lstStyle/>
          <a:p>
            <a:r>
              <a:rPr lang="en-US" sz="2000" kern="1200" dirty="0">
                <a:solidFill>
                  <a:schemeClr val="bg2">
                    <a:lumMod val="50000"/>
                    <a:lumOff val="50000"/>
                  </a:schemeClr>
                </a:solidFill>
                <a:latin typeface="Inter"/>
                <a:ea typeface="+mn-ea"/>
              </a:rPr>
              <a:t>But it is often better to use a table to make sure you have all the numbers correct:</a:t>
            </a:r>
          </a:p>
          <a:p>
            <a:pPr marL="0" indent="0" algn="l">
              <a:buNone/>
            </a:pPr>
            <a:r>
              <a:rPr lang="en-US" sz="2000" b="1" kern="1200" dirty="0">
                <a:solidFill>
                  <a:schemeClr val="bg2">
                    <a:lumMod val="50000"/>
                    <a:lumOff val="50000"/>
                  </a:schemeClr>
                </a:solidFill>
                <a:latin typeface="Inter"/>
                <a:ea typeface="+mn-ea"/>
              </a:rPr>
              <a:t>Example (continued):</a:t>
            </a:r>
          </a:p>
          <a:p>
            <a:pPr algn="l"/>
            <a:r>
              <a:rPr lang="en-US" sz="2000" kern="1200" dirty="0">
                <a:solidFill>
                  <a:schemeClr val="bg2">
                    <a:lumMod val="50000"/>
                    <a:lumOff val="50000"/>
                  </a:schemeClr>
                </a:solidFill>
                <a:latin typeface="Inter"/>
                <a:ea typeface="+mn-ea"/>
              </a:rPr>
              <a:t>Let's use:</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for the number of weeks (the weight)</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for lunches (the value we want the mean of)</a:t>
            </a:r>
          </a:p>
          <a:p>
            <a:pPr algn="l"/>
            <a:r>
              <a:rPr lang="en-US" sz="2000" kern="1200" dirty="0">
                <a:solidFill>
                  <a:schemeClr val="bg2">
                    <a:lumMod val="50000"/>
                    <a:lumOff val="50000"/>
                  </a:schemeClr>
                </a:solidFill>
                <a:latin typeface="Inter"/>
                <a:ea typeface="+mn-ea"/>
              </a:rPr>
              <a:t>Multiply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by </a:t>
            </a: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sum up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and sum up </a:t>
            </a:r>
            <a:r>
              <a:rPr lang="en-US" sz="2000" b="1" kern="1200" dirty="0" err="1">
                <a:solidFill>
                  <a:schemeClr val="bg2">
                    <a:lumMod val="50000"/>
                    <a:lumOff val="50000"/>
                  </a:schemeClr>
                </a:solidFill>
                <a:latin typeface="Inter"/>
                <a:ea typeface="+mn-ea"/>
              </a:rPr>
              <a:t>wx</a:t>
            </a:r>
            <a:endParaRPr lang="en-US" sz="2000" kern="1200" dirty="0">
              <a:solidFill>
                <a:schemeClr val="bg2">
                  <a:lumMod val="50000"/>
                  <a:lumOff val="50000"/>
                </a:schemeClr>
              </a:solidFill>
              <a:latin typeface="Inter"/>
              <a:ea typeface="+mn-ea"/>
            </a:endParaRPr>
          </a:p>
          <a:p>
            <a:pPr marL="0" indent="0">
              <a:buNone/>
            </a:pPr>
            <a:endParaRPr lang="en-US" dirty="0"/>
          </a:p>
        </p:txBody>
      </p:sp>
    </p:spTree>
    <p:extLst>
      <p:ext uri="{BB962C8B-B14F-4D97-AF65-F5344CB8AC3E}">
        <p14:creationId xmlns:p14="http://schemas.microsoft.com/office/powerpoint/2010/main" val="2167338885"/>
      </p:ext>
    </p:extLst>
  </p:cSld>
  <p:clrMapOvr>
    <a:masterClrMapping/>
  </p:clrMapOvr>
  <p:transition spd="med">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502489-34AB-4B78-A9F8-548C875B7302}"/>
              </a:ext>
            </a:extLst>
          </p:cNvPr>
          <p:cNvSpPr>
            <a:spLocks noGrp="1"/>
          </p:cNvSpPr>
          <p:nvPr>
            <p:ph type="title"/>
          </p:nvPr>
        </p:nvSpPr>
        <p:spPr>
          <a:xfrm>
            <a:off x="0" y="0"/>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D782ECDC-620D-4681-B615-F5287CCEE213}"/>
              </a:ext>
            </a:extLst>
          </p:cNvPr>
          <p:cNvPicPr>
            <a:picLocks noGrp="1" noChangeAspect="1"/>
          </p:cNvPicPr>
          <p:nvPr>
            <p:ph sz="half" idx="1"/>
          </p:nvPr>
        </p:nvPicPr>
        <p:blipFill>
          <a:blip r:embed="rId2"/>
          <a:stretch>
            <a:fillRect/>
          </a:stretch>
        </p:blipFill>
        <p:spPr>
          <a:xfrm>
            <a:off x="369948" y="755247"/>
            <a:ext cx="3395776" cy="2463603"/>
          </a:xfrm>
        </p:spPr>
      </p:pic>
      <p:sp>
        <p:nvSpPr>
          <p:cNvPr id="7" name="TextBox 6">
            <a:extLst>
              <a:ext uri="{FF2B5EF4-FFF2-40B4-BE49-F238E27FC236}">
                <a16:creationId xmlns:a16="http://schemas.microsoft.com/office/drawing/2014/main" id="{D6C86B2D-9211-4100-BBC8-0EF99C9983B8}"/>
              </a:ext>
            </a:extLst>
          </p:cNvPr>
          <p:cNvSpPr txBox="1"/>
          <p:nvPr/>
        </p:nvSpPr>
        <p:spPr>
          <a:xfrm>
            <a:off x="4213395" y="808998"/>
            <a:ext cx="4204669"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Divide </a:t>
            </a:r>
            <a:r>
              <a:rPr lang="el-GR" sz="1100" b="1" i="0" dirty="0">
                <a:solidFill>
                  <a:srgbClr val="333333"/>
                </a:solidFill>
                <a:effectLst/>
                <a:latin typeface="Verdana" panose="020B0604030504040204" pitchFamily="34" charset="0"/>
              </a:rPr>
              <a:t>Σ</a:t>
            </a:r>
            <a:r>
              <a:rPr lang="en-US" sz="1100" b="1" i="0" dirty="0" err="1">
                <a:solidFill>
                  <a:srgbClr val="333333"/>
                </a:solidFill>
                <a:effectLst/>
                <a:latin typeface="Verdana" panose="020B0604030504040204" pitchFamily="34" charset="0"/>
              </a:rPr>
              <a:t>wx</a:t>
            </a:r>
            <a:r>
              <a:rPr lang="en-US" sz="1100" b="0" i="0" dirty="0">
                <a:solidFill>
                  <a:srgbClr val="333333"/>
                </a:solidFill>
                <a:effectLst/>
                <a:latin typeface="Verdana" panose="020B0604030504040204" pitchFamily="34" charset="0"/>
              </a:rPr>
              <a:t> by </a:t>
            </a:r>
            <a:r>
              <a:rPr lang="el-GR" sz="1100" b="1" i="0" dirty="0">
                <a:solidFill>
                  <a:srgbClr val="333333"/>
                </a:solidFill>
                <a:effectLst/>
                <a:latin typeface="Verdana" panose="020B0604030504040204" pitchFamily="34" charset="0"/>
              </a:rPr>
              <a:t>Σ</a:t>
            </a:r>
            <a:r>
              <a:rPr lang="en-US" sz="1100" b="1" i="0" dirty="0">
                <a:solidFill>
                  <a:srgbClr val="333333"/>
                </a:solidFill>
                <a:effectLst/>
                <a:latin typeface="Verdana" panose="020B0604030504040204" pitchFamily="34" charset="0"/>
              </a:rPr>
              <a:t>w</a:t>
            </a:r>
            <a:r>
              <a:rPr lang="en-US" sz="1100" b="0" i="0" dirty="0">
                <a:solidFill>
                  <a:srgbClr val="333333"/>
                </a:solidFill>
                <a:effectLst/>
                <a:latin typeface="Verdana" panose="020B0604030504040204" pitchFamily="34" charset="0"/>
              </a:rPr>
              <a:t>:</a:t>
            </a:r>
            <a:endParaRPr lang="en-US" sz="1400" dirty="0">
              <a:solidFill>
                <a:schemeClr val="bg2"/>
              </a:solidFill>
              <a:latin typeface="+mn-lt"/>
            </a:endParaRPr>
          </a:p>
        </p:txBody>
      </p:sp>
    </p:spTree>
    <p:extLst>
      <p:ext uri="{BB962C8B-B14F-4D97-AF65-F5344CB8AC3E}">
        <p14:creationId xmlns:p14="http://schemas.microsoft.com/office/powerpoint/2010/main" val="2987937793"/>
      </p:ext>
    </p:extLst>
  </p:cSld>
  <p:clrMapOvr>
    <a:masterClrMapping/>
  </p:clrMapOvr>
  <p:transition spd="med">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8A6EC3-9EEB-4520-A0E7-3537EBC315EA}"/>
              </a:ext>
            </a:extLst>
          </p:cNvPr>
          <p:cNvSpPr>
            <a:spLocks noGrp="1"/>
          </p:cNvSpPr>
          <p:nvPr>
            <p:ph type="title"/>
          </p:nvPr>
        </p:nvSpPr>
        <p:spPr>
          <a:xfrm>
            <a:off x="0" y="0"/>
            <a:ext cx="7955280" cy="640080"/>
          </a:xfrm>
        </p:spPr>
        <p:txBody>
          <a:bodyPr/>
          <a:lstStyle/>
          <a:p>
            <a:r>
              <a:rPr lang="en-US" dirty="0"/>
              <a:t>Weighted Mean : Summary</a:t>
            </a:r>
          </a:p>
        </p:txBody>
      </p:sp>
      <p:sp>
        <p:nvSpPr>
          <p:cNvPr id="4" name="Content Placeholder 3">
            <a:extLst>
              <a:ext uri="{FF2B5EF4-FFF2-40B4-BE49-F238E27FC236}">
                <a16:creationId xmlns:a16="http://schemas.microsoft.com/office/drawing/2014/main" id="{CF701619-2E8D-4182-BCFA-D371984D8E07}"/>
              </a:ext>
            </a:extLst>
          </p:cNvPr>
          <p:cNvSpPr>
            <a:spLocks noGrp="1"/>
          </p:cNvSpPr>
          <p:nvPr>
            <p:ph sz="half" idx="1"/>
          </p:nvPr>
        </p:nvSpPr>
        <p:spPr>
          <a:xfrm>
            <a:off x="62822" y="711976"/>
            <a:ext cx="8229600" cy="4020568"/>
          </a:xfrm>
        </p:spPr>
        <p:txBody>
          <a:bodyPr>
            <a:normAutofit/>
          </a:bodyPr>
          <a:lstStyle/>
          <a:p>
            <a:pPr>
              <a:buFont typeface="Arial" panose="020B0604020202020204" pitchFamily="34" charset="0"/>
              <a:buChar char="•"/>
            </a:pPr>
            <a:r>
              <a:rPr lang="en-US" sz="2400" b="1" kern="1200" dirty="0">
                <a:solidFill>
                  <a:schemeClr val="bg2">
                    <a:lumMod val="50000"/>
                    <a:lumOff val="50000"/>
                  </a:schemeClr>
                </a:solidFill>
                <a:latin typeface="Inter"/>
                <a:ea typeface="+mn-ea"/>
              </a:rPr>
              <a:t>Weighted Mean: </a:t>
            </a:r>
            <a:r>
              <a:rPr lang="en-US" sz="2400" kern="1200" dirty="0">
                <a:solidFill>
                  <a:schemeClr val="bg2">
                    <a:lumMod val="50000"/>
                    <a:lumOff val="50000"/>
                  </a:schemeClr>
                </a:solidFill>
                <a:latin typeface="Inter"/>
                <a:ea typeface="+mn-ea"/>
              </a:rPr>
              <a:t>A mean where some values contribute more than others.</a:t>
            </a:r>
          </a:p>
          <a:p>
            <a:pPr>
              <a:buFont typeface="Arial" panose="020B0604020202020204" pitchFamily="34" charset="0"/>
              <a:buChar char="•"/>
            </a:pPr>
            <a:r>
              <a:rPr lang="en-US" sz="2400" kern="1200" dirty="0">
                <a:solidFill>
                  <a:schemeClr val="bg2">
                    <a:lumMod val="50000"/>
                    <a:lumOff val="50000"/>
                  </a:schemeClr>
                </a:solidFill>
                <a:latin typeface="Inter"/>
                <a:ea typeface="+mn-ea"/>
              </a:rPr>
              <a:t>When the weights add to 1: just multiply each weight by the matching value and sum it all up</a:t>
            </a:r>
          </a:p>
          <a:p>
            <a:pPr>
              <a:buFont typeface="Arial" panose="020B0604020202020204" pitchFamily="34" charset="0"/>
              <a:buChar char="•"/>
            </a:pPr>
            <a:r>
              <a:rPr lang="en-US" sz="2400" kern="1200" dirty="0">
                <a:solidFill>
                  <a:schemeClr val="bg2">
                    <a:lumMod val="50000"/>
                    <a:lumOff val="50000"/>
                  </a:schemeClr>
                </a:solidFill>
                <a:latin typeface="Inter"/>
                <a:ea typeface="+mn-ea"/>
              </a:rPr>
              <a:t>Otherwise, multiply each weight </a:t>
            </a:r>
            <a:r>
              <a:rPr lang="en-US" sz="2400" b="1" kern="1200" dirty="0">
                <a:solidFill>
                  <a:schemeClr val="bg2">
                    <a:lumMod val="50000"/>
                    <a:lumOff val="50000"/>
                  </a:schemeClr>
                </a:solidFill>
                <a:latin typeface="Inter"/>
                <a:ea typeface="+mn-ea"/>
              </a:rPr>
              <a:t>w</a:t>
            </a:r>
            <a:r>
              <a:rPr lang="en-US" sz="2400" kern="1200" dirty="0">
                <a:solidFill>
                  <a:schemeClr val="bg2">
                    <a:lumMod val="50000"/>
                    <a:lumOff val="50000"/>
                  </a:schemeClr>
                </a:solidFill>
                <a:latin typeface="Inter"/>
                <a:ea typeface="+mn-ea"/>
              </a:rPr>
              <a:t> by its matching value </a:t>
            </a:r>
            <a:r>
              <a:rPr lang="en-US" sz="2400" b="1" kern="1200" dirty="0">
                <a:solidFill>
                  <a:schemeClr val="bg2">
                    <a:lumMod val="50000"/>
                    <a:lumOff val="50000"/>
                  </a:schemeClr>
                </a:solidFill>
                <a:latin typeface="Inter"/>
                <a:ea typeface="+mn-ea"/>
              </a:rPr>
              <a:t>x</a:t>
            </a:r>
            <a:r>
              <a:rPr lang="en-US" sz="2400" kern="1200" dirty="0">
                <a:solidFill>
                  <a:schemeClr val="bg2">
                    <a:lumMod val="50000"/>
                    <a:lumOff val="50000"/>
                  </a:schemeClr>
                </a:solidFill>
                <a:latin typeface="Inter"/>
                <a:ea typeface="+mn-ea"/>
              </a:rPr>
              <a:t>, sum that all up, and divide by the sum of weights:</a:t>
            </a:r>
          </a:p>
        </p:txBody>
      </p:sp>
      <p:pic>
        <p:nvPicPr>
          <p:cNvPr id="5" name="Picture 4">
            <a:extLst>
              <a:ext uri="{FF2B5EF4-FFF2-40B4-BE49-F238E27FC236}">
                <a16:creationId xmlns:a16="http://schemas.microsoft.com/office/drawing/2014/main" id="{0D4ADD21-A252-44ED-9CF5-2BCC2F3D1F9E}"/>
              </a:ext>
            </a:extLst>
          </p:cNvPr>
          <p:cNvPicPr>
            <a:picLocks noChangeAspect="1"/>
          </p:cNvPicPr>
          <p:nvPr/>
        </p:nvPicPr>
        <p:blipFill>
          <a:blip r:embed="rId2"/>
          <a:stretch>
            <a:fillRect/>
          </a:stretch>
        </p:blipFill>
        <p:spPr>
          <a:xfrm>
            <a:off x="2463122" y="3393299"/>
            <a:ext cx="3429000" cy="1038225"/>
          </a:xfrm>
          <a:prstGeom prst="rect">
            <a:avLst/>
          </a:prstGeom>
        </p:spPr>
      </p:pic>
    </p:spTree>
    <p:extLst>
      <p:ext uri="{BB962C8B-B14F-4D97-AF65-F5344CB8AC3E}">
        <p14:creationId xmlns:p14="http://schemas.microsoft.com/office/powerpoint/2010/main" val="2486453715"/>
      </p:ext>
    </p:extLst>
  </p:cSld>
  <p:clrMapOvr>
    <a:masterClrMapping/>
  </p:clrMapOvr>
  <p:transition spd="med">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4234"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Variability</a:t>
            </a:r>
            <a:br>
              <a:rPr lang="en-US" dirty="0"/>
            </a:br>
            <a:br>
              <a:rPr lang="en-US" dirty="0"/>
            </a:br>
            <a:r>
              <a:rPr lang="en-US" dirty="0"/>
              <a:t> </a:t>
            </a:r>
          </a:p>
        </p:txBody>
      </p:sp>
    </p:spTree>
    <p:extLst>
      <p:ext uri="{BB962C8B-B14F-4D97-AF65-F5344CB8AC3E}">
        <p14:creationId xmlns:p14="http://schemas.microsoft.com/office/powerpoint/2010/main" val="2675433104"/>
      </p:ext>
    </p:extLst>
  </p:cSld>
  <p:clrMapOvr>
    <a:masterClrMapping/>
  </p:clrMapOvr>
  <p:transition spd="med">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3D5C2-409B-4595-BFEF-49120103B5E7}"/>
              </a:ext>
            </a:extLst>
          </p:cNvPr>
          <p:cNvSpPr>
            <a:spLocks noGrp="1"/>
          </p:cNvSpPr>
          <p:nvPr>
            <p:ph type="title"/>
          </p:nvPr>
        </p:nvSpPr>
        <p:spPr>
          <a:xfrm>
            <a:off x="0" y="49589"/>
            <a:ext cx="8229600" cy="637794"/>
          </a:xfrm>
        </p:spPr>
        <p:txBody>
          <a:bodyPr/>
          <a:lstStyle/>
          <a:p>
            <a:r>
              <a:rPr lang="en-US" dirty="0"/>
              <a:t>Measure of Variability </a:t>
            </a:r>
          </a:p>
        </p:txBody>
      </p:sp>
      <p:sp>
        <p:nvSpPr>
          <p:cNvPr id="3" name="TextBox 2">
            <a:extLst>
              <a:ext uri="{FF2B5EF4-FFF2-40B4-BE49-F238E27FC236}">
                <a16:creationId xmlns:a16="http://schemas.microsoft.com/office/drawing/2014/main" id="{8B0A8520-70DC-4944-9F76-6EF1C18E6612}"/>
              </a:ext>
            </a:extLst>
          </p:cNvPr>
          <p:cNvSpPr txBox="1"/>
          <p:nvPr/>
        </p:nvSpPr>
        <p:spPr>
          <a:xfrm>
            <a:off x="104701" y="687383"/>
            <a:ext cx="8732171" cy="3862596"/>
          </a:xfrm>
          <a:prstGeom prst="rect">
            <a:avLst/>
          </a:prstGeom>
          <a:noFill/>
        </p:spPr>
        <p:txBody>
          <a:bodyPr wrap="square" rtlCol="0">
            <a:spAutoFit/>
          </a:bodyPr>
          <a:lstStyle/>
          <a:p>
            <a:pPr>
              <a:spcBef>
                <a:spcPts val="0"/>
              </a:spcBef>
              <a:spcAft>
                <a:spcPts val="0"/>
              </a:spcAft>
              <a:buClr>
                <a:schemeClr val="bg1"/>
              </a:buClr>
            </a:pPr>
            <a:r>
              <a:rPr lang="en-US" sz="2000" b="1" dirty="0">
                <a:solidFill>
                  <a:schemeClr val="bg2">
                    <a:lumMod val="50000"/>
                    <a:lumOff val="50000"/>
                  </a:schemeClr>
                </a:solidFill>
                <a:latin typeface="Inter"/>
                <a:cs typeface="Arial" panose="020B0604020202020204" pitchFamily="34" charset="0"/>
              </a:rPr>
              <a:t>Variability</a:t>
            </a:r>
            <a:r>
              <a:rPr lang="en-US" sz="2000" dirty="0">
                <a:solidFill>
                  <a:schemeClr val="bg2">
                    <a:lumMod val="50000"/>
                    <a:lumOff val="50000"/>
                  </a:schemeClr>
                </a:solidFill>
                <a:latin typeface="Inter"/>
                <a:cs typeface="Arial" panose="020B0604020202020204" pitchFamily="34" charset="0"/>
              </a:rPr>
              <a:t> describes how </a:t>
            </a:r>
            <a:r>
              <a:rPr lang="en-US" sz="2000" b="1" i="1" dirty="0">
                <a:solidFill>
                  <a:schemeClr val="bg2">
                    <a:lumMod val="50000"/>
                    <a:lumOff val="50000"/>
                  </a:schemeClr>
                </a:solidFill>
                <a:latin typeface="Inter"/>
                <a:cs typeface="Arial" panose="020B0604020202020204" pitchFamily="34" charset="0"/>
              </a:rPr>
              <a:t>far apart data points lie from each other </a:t>
            </a:r>
            <a:r>
              <a:rPr lang="en-US" sz="2000" dirty="0">
                <a:solidFill>
                  <a:schemeClr val="bg2">
                    <a:lumMod val="50000"/>
                    <a:lumOff val="50000"/>
                  </a:schemeClr>
                </a:solidFill>
                <a:latin typeface="Inter"/>
                <a:cs typeface="Arial" panose="020B0604020202020204" pitchFamily="34" charset="0"/>
              </a:rPr>
              <a:t>and from the center of a distribution. Along with measures of central tendency, measures of variability give you descriptive statistics that summarize your data.</a:t>
            </a:r>
          </a:p>
          <a:p>
            <a:pPr>
              <a:spcBef>
                <a:spcPts val="0"/>
              </a:spcBef>
              <a:spcAft>
                <a:spcPts val="0"/>
              </a:spcAft>
              <a:buClr>
                <a:schemeClr val="bg1"/>
              </a:buClr>
            </a:pPr>
            <a:endParaRPr lang="en-US" sz="1100" b="1" dirty="0">
              <a:solidFill>
                <a:srgbClr val="000000"/>
              </a:solidFill>
              <a:latin typeface="Lato" panose="020F0502020204030203"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Variability is also referred to as </a:t>
            </a:r>
            <a:r>
              <a:rPr lang="en-US" sz="2000" b="1" dirty="0">
                <a:solidFill>
                  <a:schemeClr val="bg2">
                    <a:lumMod val="50000"/>
                    <a:lumOff val="50000"/>
                  </a:schemeClr>
                </a:solidFill>
                <a:latin typeface="Inter"/>
                <a:cs typeface="Arial" panose="020B0604020202020204" pitchFamily="34" charset="0"/>
              </a:rPr>
              <a:t>spread</a:t>
            </a:r>
            <a:r>
              <a:rPr lang="en-US" sz="2000" dirty="0">
                <a:solidFill>
                  <a:schemeClr val="bg2">
                    <a:lumMod val="50000"/>
                    <a:lumOff val="50000"/>
                  </a:schemeClr>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scatter</a:t>
            </a:r>
            <a:r>
              <a:rPr lang="en-US" sz="2000" dirty="0">
                <a:solidFill>
                  <a:schemeClr val="bg2">
                    <a:lumMod val="50000"/>
                    <a:lumOff val="50000"/>
                  </a:schemeClr>
                </a:solidFill>
                <a:latin typeface="Inter"/>
                <a:cs typeface="Arial" panose="020B0604020202020204" pitchFamily="34" charset="0"/>
              </a:rPr>
              <a:t> or </a:t>
            </a:r>
            <a:r>
              <a:rPr lang="en-US" sz="2000" b="1" dirty="0">
                <a:solidFill>
                  <a:schemeClr val="bg2">
                    <a:lumMod val="50000"/>
                    <a:lumOff val="50000"/>
                  </a:schemeClr>
                </a:solidFill>
                <a:latin typeface="Inter"/>
                <a:cs typeface="Arial" panose="020B0604020202020204" pitchFamily="34" charset="0"/>
              </a:rPr>
              <a:t>dispersion</a:t>
            </a:r>
            <a:r>
              <a:rPr lang="en-US" sz="2000" dirty="0">
                <a:solidFill>
                  <a:schemeClr val="bg2">
                    <a:lumMod val="50000"/>
                    <a:lumOff val="50000"/>
                  </a:schemeClr>
                </a:solidFill>
                <a:latin typeface="Inter"/>
                <a:cs typeface="Arial" panose="020B0604020202020204" pitchFamily="34" charset="0"/>
              </a:rPr>
              <a:t>. It is most commonly measured with the following:</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Range</a:t>
            </a:r>
            <a:r>
              <a:rPr lang="en-US" sz="2000" b="1" dirty="0">
                <a:solidFill>
                  <a:schemeClr val="accent1"/>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difference between the highest and lowest values</a:t>
            </a:r>
          </a:p>
          <a:p>
            <a:pPr>
              <a:spcBef>
                <a:spcPts val="0"/>
              </a:spcBef>
              <a:spcAft>
                <a:spcPts val="0"/>
              </a:spcAft>
              <a:buClr>
                <a:schemeClr val="bg1"/>
              </a:buClr>
            </a:pPr>
            <a:r>
              <a:rPr lang="en-US" sz="2000" b="1" u="sng" dirty="0">
                <a:solidFill>
                  <a:schemeClr val="accent1"/>
                </a:solidFill>
                <a:latin typeface="Inter"/>
                <a:cs typeface="Arial" panose="020B0604020202020204" pitchFamily="34" charset="0"/>
              </a:rPr>
              <a:t>Quartile:</a:t>
            </a:r>
            <a:r>
              <a:rPr lang="en-US" sz="2000" dirty="0">
                <a:solidFill>
                  <a:schemeClr val="bg2">
                    <a:lumMod val="50000"/>
                    <a:lumOff val="50000"/>
                  </a:schemeClr>
                </a:solidFill>
                <a:latin typeface="Inter"/>
                <a:cs typeface="Arial" panose="020B0604020202020204" pitchFamily="34" charset="0"/>
              </a:rPr>
              <a:t> 		that divide a list of numbers into quarters</a:t>
            </a:r>
            <a:endParaRPr lang="en-US" sz="2000" b="1" u="sng" dirty="0">
              <a:solidFill>
                <a:schemeClr val="accent1"/>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Interquartile rang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range of the middle half of a distributio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Standard deviation</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distance from the mea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5">
                  <a:extLst>
                    <a:ext uri="{A12FA001-AC4F-418D-AE19-62706E023703}">
                      <ahyp:hlinkClr xmlns:ahyp="http://schemas.microsoft.com/office/drawing/2018/hyperlinkcolor" val="tx"/>
                    </a:ext>
                  </a:extLst>
                </a:hlinkClick>
              </a:rPr>
              <a:t>Varianc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of squared distances from the mean</a:t>
            </a:r>
          </a:p>
          <a:p>
            <a:pPr>
              <a:spcBef>
                <a:spcPts val="0"/>
              </a:spcBef>
              <a:spcAft>
                <a:spcPts val="0"/>
              </a:spcAft>
              <a:buClr>
                <a:schemeClr val="bg1"/>
              </a:buClr>
            </a:pPr>
            <a:endParaRPr lang="en-US" sz="1400" dirty="0">
              <a:solidFill>
                <a:schemeClr val="bg2"/>
              </a:solidFill>
              <a:latin typeface="+mn-lt"/>
            </a:endParaRPr>
          </a:p>
        </p:txBody>
      </p:sp>
    </p:spTree>
    <p:extLst>
      <p:ext uri="{BB962C8B-B14F-4D97-AF65-F5344CB8AC3E}">
        <p14:creationId xmlns:p14="http://schemas.microsoft.com/office/powerpoint/2010/main" val="891461818"/>
      </p:ext>
    </p:extLst>
  </p:cSld>
  <p:clrMapOvr>
    <a:masterClrMapping/>
  </p:clrMapOvr>
  <p:transition spd="med">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D8BA4-EE20-4594-86BE-1831B7FC5366}"/>
              </a:ext>
            </a:extLst>
          </p:cNvPr>
          <p:cNvSpPr>
            <a:spLocks noGrp="1"/>
          </p:cNvSpPr>
          <p:nvPr>
            <p:ph type="title"/>
          </p:nvPr>
        </p:nvSpPr>
        <p:spPr>
          <a:xfrm>
            <a:off x="0" y="0"/>
            <a:ext cx="8229600" cy="637794"/>
          </a:xfrm>
        </p:spPr>
        <p:txBody>
          <a:bodyPr/>
          <a:lstStyle/>
          <a:p>
            <a:r>
              <a:rPr lang="en-US" dirty="0"/>
              <a:t>Why does variability matters? </a:t>
            </a:r>
          </a:p>
        </p:txBody>
      </p:sp>
      <p:pic>
        <p:nvPicPr>
          <p:cNvPr id="4" name="Picture 3">
            <a:extLst>
              <a:ext uri="{FF2B5EF4-FFF2-40B4-BE49-F238E27FC236}">
                <a16:creationId xmlns:a16="http://schemas.microsoft.com/office/drawing/2014/main" id="{B28A3692-9C0A-4265-A9CA-4E9ADB430840}"/>
              </a:ext>
            </a:extLst>
          </p:cNvPr>
          <p:cNvPicPr>
            <a:picLocks noChangeAspect="1"/>
          </p:cNvPicPr>
          <p:nvPr/>
        </p:nvPicPr>
        <p:blipFill>
          <a:blip r:embed="rId2"/>
          <a:stretch>
            <a:fillRect/>
          </a:stretch>
        </p:blipFill>
        <p:spPr>
          <a:xfrm>
            <a:off x="5535261" y="832512"/>
            <a:ext cx="3280672" cy="2508493"/>
          </a:xfrm>
          <a:prstGeom prst="rect">
            <a:avLst/>
          </a:prstGeom>
        </p:spPr>
      </p:pic>
      <p:sp>
        <p:nvSpPr>
          <p:cNvPr id="5" name="TextBox 4">
            <a:extLst>
              <a:ext uri="{FF2B5EF4-FFF2-40B4-BE49-F238E27FC236}">
                <a16:creationId xmlns:a16="http://schemas.microsoft.com/office/drawing/2014/main" id="{C16DED31-9843-4D58-962A-5B07E801B359}"/>
              </a:ext>
            </a:extLst>
          </p:cNvPr>
          <p:cNvSpPr txBox="1"/>
          <p:nvPr/>
        </p:nvSpPr>
        <p:spPr>
          <a:xfrm>
            <a:off x="-1" y="481631"/>
            <a:ext cx="5349651" cy="4170372"/>
          </a:xfrm>
          <a:prstGeom prst="rect">
            <a:avLst/>
          </a:prstGeom>
          <a:noFill/>
        </p:spPr>
        <p:txBody>
          <a:bodyPr wrap="square" rtlCol="0">
            <a:spAutoFit/>
          </a:bodyPr>
          <a:lstStyle/>
          <a:p>
            <a:pPr>
              <a:spcBef>
                <a:spcPts val="0"/>
              </a:spcBef>
              <a:spcAft>
                <a:spcPts val="0"/>
              </a:spcAft>
              <a:buClr>
                <a:schemeClr val="bg1"/>
              </a:buClr>
            </a:pPr>
            <a:r>
              <a:rPr lang="en-US" dirty="0">
                <a:solidFill>
                  <a:schemeClr val="bg2">
                    <a:lumMod val="50000"/>
                    <a:lumOff val="50000"/>
                  </a:schemeClr>
                </a:solidFill>
                <a:latin typeface="Inter"/>
                <a:cs typeface="Arial" panose="020B0604020202020204" pitchFamily="34" charset="0"/>
              </a:rPr>
              <a:t>Ex : Variability in normal distribution </a:t>
            </a:r>
          </a:p>
          <a:p>
            <a:pPr>
              <a:spcBef>
                <a:spcPts val="0"/>
              </a:spcBef>
              <a:spcAft>
                <a:spcPts val="0"/>
              </a:spcAft>
              <a:buClr>
                <a:schemeClr val="bg1"/>
              </a:buClr>
            </a:pPr>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bg2">
                    <a:lumMod val="50000"/>
                    <a:lumOff val="50000"/>
                  </a:schemeClr>
                </a:solidFill>
                <a:latin typeface="Inter"/>
                <a:cs typeface="Arial" panose="020B0604020202020204" pitchFamily="34" charset="0"/>
              </a:rPr>
              <a:t>Using </a:t>
            </a:r>
            <a:r>
              <a:rPr lang="en-US" dirty="0">
                <a:solidFill>
                  <a:schemeClr val="bg2">
                    <a:lumMod val="50000"/>
                    <a:lumOff val="50000"/>
                  </a:schemeClr>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simple random samples</a:t>
            </a:r>
            <a:r>
              <a:rPr lang="en-US" dirty="0">
                <a:solidFill>
                  <a:schemeClr val="bg2">
                    <a:lumMod val="50000"/>
                    <a:lumOff val="50000"/>
                  </a:schemeClr>
                </a:solidFill>
                <a:latin typeface="Inter"/>
                <a:cs typeface="Arial" panose="020B0604020202020204" pitchFamily="34" charset="0"/>
              </a:rPr>
              <a:t>, you collect data from 3 groups:</a:t>
            </a:r>
          </a:p>
          <a:p>
            <a:pPr algn="l"/>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accent1"/>
                </a:solidFill>
                <a:latin typeface="Inter"/>
                <a:cs typeface="Arial" panose="020B0604020202020204" pitchFamily="34" charset="0"/>
              </a:rPr>
              <a:t>Sample A: </a:t>
            </a:r>
            <a:r>
              <a:rPr lang="en-US" dirty="0">
                <a:solidFill>
                  <a:schemeClr val="bg2">
                    <a:lumMod val="50000"/>
                    <a:lumOff val="50000"/>
                  </a:schemeClr>
                </a:solidFill>
                <a:latin typeface="Inter"/>
                <a:cs typeface="Arial" panose="020B0604020202020204" pitchFamily="34" charset="0"/>
              </a:rPr>
              <a:t>high school students,</a:t>
            </a:r>
          </a:p>
          <a:p>
            <a:pPr algn="l"/>
            <a:r>
              <a:rPr lang="en-US" dirty="0">
                <a:solidFill>
                  <a:schemeClr val="accent1"/>
                </a:solidFill>
                <a:latin typeface="Inter"/>
                <a:cs typeface="Arial" panose="020B0604020202020204" pitchFamily="34" charset="0"/>
              </a:rPr>
              <a:t>Sample B: </a:t>
            </a:r>
            <a:r>
              <a:rPr lang="en-US" dirty="0">
                <a:solidFill>
                  <a:schemeClr val="bg2">
                    <a:lumMod val="50000"/>
                    <a:lumOff val="50000"/>
                  </a:schemeClr>
                </a:solidFill>
                <a:latin typeface="Inter"/>
                <a:cs typeface="Arial" panose="020B0604020202020204" pitchFamily="34" charset="0"/>
              </a:rPr>
              <a:t>college students,</a:t>
            </a:r>
          </a:p>
          <a:p>
            <a:pPr algn="l"/>
            <a:r>
              <a:rPr lang="en-US" dirty="0">
                <a:solidFill>
                  <a:schemeClr val="accent1"/>
                </a:solidFill>
                <a:latin typeface="Inter"/>
                <a:cs typeface="Arial" panose="020B0604020202020204" pitchFamily="34" charset="0"/>
              </a:rPr>
              <a:t>Sample C: </a:t>
            </a:r>
            <a:r>
              <a:rPr lang="en-US" dirty="0">
                <a:solidFill>
                  <a:schemeClr val="bg2">
                    <a:lumMod val="50000"/>
                    <a:lumOff val="50000"/>
                  </a:schemeClr>
                </a:solidFill>
                <a:latin typeface="Inter"/>
                <a:cs typeface="Arial" panose="020B0604020202020204" pitchFamily="34" charset="0"/>
              </a:rPr>
              <a:t>adult full-time employees.</a:t>
            </a: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sz="1100" b="0" i="0" dirty="0">
              <a:solidFill>
                <a:srgbClr val="0D405F"/>
              </a:solidFill>
              <a:effectLst/>
              <a:latin typeface="Inter"/>
            </a:endParaRPr>
          </a:p>
          <a:p>
            <a:pPr>
              <a:spcBef>
                <a:spcPts val="0"/>
              </a:spcBef>
              <a:spcAft>
                <a:spcPts val="0"/>
              </a:spcAft>
              <a:buClr>
                <a:schemeClr val="bg1"/>
              </a:buClr>
            </a:pPr>
            <a:endParaRPr lang="en-US" sz="1400" dirty="0" err="1">
              <a:solidFill>
                <a:schemeClr val="bg2"/>
              </a:solidFill>
              <a:latin typeface="+mn-lt"/>
            </a:endParaRPr>
          </a:p>
        </p:txBody>
      </p:sp>
      <p:sp>
        <p:nvSpPr>
          <p:cNvPr id="6" name="TextBox 5">
            <a:extLst>
              <a:ext uri="{FF2B5EF4-FFF2-40B4-BE49-F238E27FC236}">
                <a16:creationId xmlns:a16="http://schemas.microsoft.com/office/drawing/2014/main" id="{DA648542-B575-4307-A4F5-A40FCCDE0A16}"/>
              </a:ext>
            </a:extLst>
          </p:cNvPr>
          <p:cNvSpPr txBox="1"/>
          <p:nvPr/>
        </p:nvSpPr>
        <p:spPr>
          <a:xfrm>
            <a:off x="62821" y="3657600"/>
            <a:ext cx="8829894" cy="1384995"/>
          </a:xfrm>
          <a:prstGeom prst="rect">
            <a:avLst/>
          </a:prstGeom>
          <a:noFill/>
        </p:spPr>
        <p:txBody>
          <a:bodyPr wrap="square" rtlCol="0">
            <a:spAutoFit/>
          </a:bodyPr>
          <a:lstStyle/>
          <a:p>
            <a:pPr algn="l"/>
            <a:r>
              <a:rPr lang="en-US" sz="1400" dirty="0">
                <a:solidFill>
                  <a:schemeClr val="bg2">
                    <a:lumMod val="50000"/>
                    <a:lumOff val="50000"/>
                  </a:schemeClr>
                </a:solidFill>
                <a:latin typeface="Inter"/>
                <a:cs typeface="Arial" panose="020B0604020202020204" pitchFamily="34" charset="0"/>
              </a:rPr>
              <a:t>All three of your samples have the same average phone use, at 195 minutes or 3 hours and 15 minutes. This is the x-axis value where the peak of the curves are.</a:t>
            </a:r>
          </a:p>
          <a:p>
            <a:pPr algn="l"/>
            <a:endParaRPr lang="en-US" sz="1400" dirty="0">
              <a:solidFill>
                <a:schemeClr val="bg2">
                  <a:lumMod val="50000"/>
                  <a:lumOff val="50000"/>
                </a:schemeClr>
              </a:solidFill>
              <a:latin typeface="Inter"/>
              <a:cs typeface="Arial" panose="020B0604020202020204" pitchFamily="34" charset="0"/>
            </a:endParaRPr>
          </a:p>
          <a:p>
            <a:pPr algn="l"/>
            <a:r>
              <a:rPr lang="en-US" sz="1400" dirty="0">
                <a:solidFill>
                  <a:schemeClr val="bg2">
                    <a:lumMod val="50000"/>
                    <a:lumOff val="50000"/>
                  </a:schemeClr>
                </a:solidFill>
                <a:latin typeface="Inter"/>
                <a:cs typeface="Arial" panose="020B0604020202020204" pitchFamily="34" charset="0"/>
              </a:rPr>
              <a:t>Although the data follows a </a:t>
            </a:r>
            <a:r>
              <a:rPr lang="en-US" sz="1400" dirty="0">
                <a:solidFill>
                  <a:schemeClr val="bg2">
                    <a:lumMod val="50000"/>
                    <a:lumOff val="50000"/>
                  </a:schemeClr>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normal distribution</a:t>
            </a:r>
            <a:r>
              <a:rPr lang="en-US" sz="1400" dirty="0">
                <a:solidFill>
                  <a:schemeClr val="bg2">
                    <a:lumMod val="50000"/>
                    <a:lumOff val="50000"/>
                  </a:schemeClr>
                </a:solidFill>
                <a:latin typeface="Inter"/>
                <a:cs typeface="Arial" panose="020B0604020202020204" pitchFamily="34" charset="0"/>
              </a:rPr>
              <a:t>, each sample has different spreads. Sample A has the largest variability while Sample C has the smallest variability.</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306192768"/>
      </p:ext>
    </p:extLst>
  </p:cSld>
  <p:clrMapOvr>
    <a:masterClrMapping/>
  </p:clrMapOvr>
  <p:transition spd="med">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7BF18-BDD0-4811-8BF9-7AA8D82CBE88}"/>
              </a:ext>
            </a:extLst>
          </p:cNvPr>
          <p:cNvSpPr>
            <a:spLocks noGrp="1"/>
          </p:cNvSpPr>
          <p:nvPr>
            <p:ph type="title"/>
          </p:nvPr>
        </p:nvSpPr>
        <p:spPr>
          <a:xfrm>
            <a:off x="101213" y="77509"/>
            <a:ext cx="8229600" cy="637794"/>
          </a:xfrm>
        </p:spPr>
        <p:txBody>
          <a:bodyPr/>
          <a:lstStyle/>
          <a:p>
            <a:r>
              <a:rPr lang="en-US" dirty="0"/>
              <a:t>Range</a:t>
            </a:r>
          </a:p>
        </p:txBody>
      </p:sp>
      <p:sp>
        <p:nvSpPr>
          <p:cNvPr id="3" name="TextBox 2">
            <a:extLst>
              <a:ext uri="{FF2B5EF4-FFF2-40B4-BE49-F238E27FC236}">
                <a16:creationId xmlns:a16="http://schemas.microsoft.com/office/drawing/2014/main" id="{B75B9029-80C6-49D8-8997-614ABF93772C}"/>
              </a:ext>
            </a:extLst>
          </p:cNvPr>
          <p:cNvSpPr txBox="1"/>
          <p:nvPr/>
        </p:nvSpPr>
        <p:spPr>
          <a:xfrm>
            <a:off x="41881" y="663114"/>
            <a:ext cx="8885734" cy="2277547"/>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The range tells you the spread of your data from the lowest to the highest value in the distribution. It’s the easiest measure of variability to calculate.</a:t>
            </a:r>
          </a:p>
          <a:p>
            <a:pPr marL="342900" indent="-342900">
              <a:spcBef>
                <a:spcPts val="0"/>
              </a:spcBef>
              <a:spcAft>
                <a:spcPts val="0"/>
              </a:spcAft>
              <a:buClr>
                <a:schemeClr val="bg1"/>
              </a:buClr>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o </a:t>
            </a:r>
            <a:r>
              <a:rPr lang="en-US" sz="2000" b="1" i="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find the range</a:t>
            </a:r>
            <a:r>
              <a:rPr lang="en-US" sz="2000" dirty="0">
                <a:solidFill>
                  <a:schemeClr val="bg2">
                    <a:lumMod val="50000"/>
                    <a:lumOff val="50000"/>
                  </a:schemeClr>
                </a:solidFill>
                <a:latin typeface="Inter"/>
                <a:cs typeface="Arial" panose="020B0604020202020204" pitchFamily="34" charset="0"/>
              </a:rPr>
              <a:t>, simply subtract the lowest value from the highest value in the data set.</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100" dirty="0">
              <a:solidFill>
                <a:srgbClr val="0D405F"/>
              </a:solidFill>
              <a:latin typeface="Inter"/>
            </a:endParaRPr>
          </a:p>
          <a:p>
            <a:pPr>
              <a:spcBef>
                <a:spcPts val="0"/>
              </a:spcBef>
              <a:spcAft>
                <a:spcPts val="0"/>
              </a:spcAft>
              <a:buClr>
                <a:schemeClr val="bg1"/>
              </a:buClr>
            </a:pPr>
            <a:r>
              <a:rPr lang="en-US" sz="1100" b="1" dirty="0">
                <a:solidFill>
                  <a:schemeClr val="accent1"/>
                </a:solidFill>
                <a:latin typeface="Inter"/>
              </a:rPr>
              <a:t>Data (Minutes) 		72	110	134	190	238	287	305	324</a:t>
            </a:r>
            <a:endParaRPr lang="en-US" sz="1400" b="1" dirty="0">
              <a:solidFill>
                <a:schemeClr val="accent1"/>
              </a:solidFill>
              <a:latin typeface="+mn-lt"/>
            </a:endParaRPr>
          </a:p>
        </p:txBody>
      </p:sp>
    </p:spTree>
    <p:extLst>
      <p:ext uri="{BB962C8B-B14F-4D97-AF65-F5344CB8AC3E}">
        <p14:creationId xmlns:p14="http://schemas.microsoft.com/office/powerpoint/2010/main" val="3012658408"/>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C1809-55AB-431A-963D-57F0E70BE161}"/>
              </a:ext>
            </a:extLst>
          </p:cNvPr>
          <p:cNvSpPr>
            <a:spLocks noGrp="1"/>
          </p:cNvSpPr>
          <p:nvPr>
            <p:ph type="title"/>
          </p:nvPr>
        </p:nvSpPr>
        <p:spPr>
          <a:xfrm>
            <a:off x="73902" y="52680"/>
            <a:ext cx="7955280" cy="640080"/>
          </a:xfrm>
        </p:spPr>
        <p:txBody>
          <a:bodyPr/>
          <a:lstStyle/>
          <a:p>
            <a:r>
              <a:rPr lang="en-US" dirty="0"/>
              <a:t>Terminology </a:t>
            </a:r>
            <a:r>
              <a:rPr lang="en-US" sz="1600" b="1" dirty="0">
                <a:solidFill>
                  <a:schemeClr val="bg2">
                    <a:lumMod val="50000"/>
                    <a:lumOff val="50000"/>
                  </a:schemeClr>
                </a:solidFill>
              </a:rPr>
              <a:t>commonly used terminology in the discipline of statistics</a:t>
            </a:r>
            <a:br>
              <a:rPr lang="en-US" dirty="0"/>
            </a:br>
            <a:endParaRPr lang="en-US" dirty="0"/>
          </a:p>
        </p:txBody>
      </p:sp>
      <p:sp>
        <p:nvSpPr>
          <p:cNvPr id="3" name="Content Placeholder 2">
            <a:extLst>
              <a:ext uri="{FF2B5EF4-FFF2-40B4-BE49-F238E27FC236}">
                <a16:creationId xmlns:a16="http://schemas.microsoft.com/office/drawing/2014/main" id="{3F6397B1-9B77-4F28-B578-85539A60E080}"/>
              </a:ext>
            </a:extLst>
          </p:cNvPr>
          <p:cNvSpPr>
            <a:spLocks noGrp="1"/>
          </p:cNvSpPr>
          <p:nvPr>
            <p:ph sz="half" idx="1"/>
          </p:nvPr>
        </p:nvSpPr>
        <p:spPr>
          <a:xfrm>
            <a:off x="73903" y="692760"/>
            <a:ext cx="7898914" cy="2351065"/>
          </a:xfrm>
        </p:spPr>
        <p:txBody>
          <a:bodyPr/>
          <a:lstStyle/>
          <a:p>
            <a:r>
              <a:rPr lang="en-US" b="1" dirty="0">
                <a:solidFill>
                  <a:schemeClr val="bg1"/>
                </a:solidFill>
              </a:rPr>
              <a:t>Variable : </a:t>
            </a:r>
            <a:r>
              <a:rPr lang="en-US" dirty="0">
                <a:solidFill>
                  <a:schemeClr val="bg2">
                    <a:lumMod val="50000"/>
                    <a:lumOff val="50000"/>
                  </a:schemeClr>
                </a:solidFill>
              </a:rPr>
              <a:t>A variable is defined as an attribute of an object of study. Choosing which variables to measure is central to good experimental design.</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Ex : You are collecting data of weight of adults of male living in Australia, here our variable is weight</a:t>
            </a:r>
          </a:p>
          <a:p>
            <a:pPr lvl="1"/>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B4B84EB2-DAE0-4A07-91E6-E8997FB9F357}"/>
              </a:ext>
            </a:extLst>
          </p:cNvPr>
          <p:cNvPicPr>
            <a:picLocks noChangeAspect="1"/>
          </p:cNvPicPr>
          <p:nvPr/>
        </p:nvPicPr>
        <p:blipFill>
          <a:blip r:embed="rId2"/>
          <a:stretch>
            <a:fillRect/>
          </a:stretch>
        </p:blipFill>
        <p:spPr>
          <a:xfrm>
            <a:off x="73902" y="1730931"/>
            <a:ext cx="7427934" cy="702642"/>
          </a:xfrm>
          <a:prstGeom prst="rect">
            <a:avLst/>
          </a:prstGeom>
        </p:spPr>
      </p:pic>
      <p:sp>
        <p:nvSpPr>
          <p:cNvPr id="6" name="TextBox 5">
            <a:extLst>
              <a:ext uri="{FF2B5EF4-FFF2-40B4-BE49-F238E27FC236}">
                <a16:creationId xmlns:a16="http://schemas.microsoft.com/office/drawing/2014/main" id="{9D05D184-28F2-4052-BB33-D236DFC4C405}"/>
              </a:ext>
            </a:extLst>
          </p:cNvPr>
          <p:cNvSpPr txBox="1"/>
          <p:nvPr/>
        </p:nvSpPr>
        <p:spPr>
          <a:xfrm>
            <a:off x="73902" y="2863869"/>
            <a:ext cx="8575320" cy="1766446"/>
          </a:xfrm>
          <a:prstGeom prst="rect">
            <a:avLst/>
          </a:prstGeom>
          <a:noFill/>
        </p:spPr>
        <p:txBody>
          <a:bodyPr wrap="square" rtlCol="0">
            <a:spAutoFit/>
          </a:bodyPr>
          <a:lstStyle/>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a:t>
            </a:r>
            <a:r>
              <a:rPr lang="en-US" sz="1400" dirty="0">
                <a:solidFill>
                  <a:schemeClr val="bg1"/>
                </a:solidFill>
                <a:latin typeface="Arial" panose="020B0604020202020204" pitchFamily="34" charset="0"/>
                <a:cs typeface="Arial" panose="020B0604020202020204" pitchFamily="34" charset="0"/>
              </a:rPr>
              <a:t>Variables</a:t>
            </a:r>
            <a:r>
              <a:rPr lang="en-US" sz="1400" dirty="0">
                <a:solidFill>
                  <a:schemeClr val="bg2">
                    <a:lumMod val="50000"/>
                    <a:lumOff val="50000"/>
                  </a:schemeClr>
                </a:solidFill>
                <a:latin typeface="Arial" panose="020B0604020202020204" pitchFamily="34" charset="0"/>
                <a:cs typeface="Arial" panose="020B0604020202020204" pitchFamily="34" charset="0"/>
              </a:rPr>
              <a:t> are things you measure, manipulate and control in statistics and research.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ll studies analyze a variable, which can describe a person, place, thing or idea. A variable's value can change between groups or over time.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variable can also be called as a data item</a:t>
            </a:r>
          </a:p>
          <a:p>
            <a:pPr marL="742950" lvl="1" indent="-285750">
              <a:lnSpc>
                <a:spcPct val="107000"/>
              </a:lnSpc>
              <a:spcBef>
                <a:spcPts val="0"/>
              </a:spcBef>
              <a:spcAft>
                <a:spcPts val="800"/>
              </a:spcAft>
              <a:buFont typeface="Arial" panose="020B0604020202020204" pitchFamily="34" charset="0"/>
              <a:buChar char="•"/>
            </a:pPr>
            <a:r>
              <a:rPr lang="en-US" sz="1400" i="1" dirty="0">
                <a:solidFill>
                  <a:schemeClr val="bg2">
                    <a:lumMod val="50000"/>
                    <a:lumOff val="50000"/>
                  </a:schemeClr>
                </a:solidFill>
                <a:latin typeface="Arial" panose="020B0604020202020204" pitchFamily="34" charset="0"/>
                <a:cs typeface="Arial" panose="020B0604020202020204" pitchFamily="34" charset="0"/>
              </a:rPr>
              <a:t>Another example :  if the variable in an experiment is a person's eye color, its value can change from brown to blue to green from person to person</a:t>
            </a:r>
            <a:r>
              <a:rPr lang="en-US" sz="1400" dirty="0">
                <a:solidFill>
                  <a:schemeClr val="bg2">
                    <a:lumMod val="50000"/>
                    <a:lumOff val="50000"/>
                  </a:schemeClr>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508532574"/>
      </p:ext>
    </p:extLst>
  </p:cSld>
  <p:clrMapOvr>
    <a:masterClrMapping/>
  </p:clrMapOvr>
  <p:transition spd="med">
    <p:wipe dir="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571A17D-7635-493B-AB43-E07EB5D146FF}"/>
              </a:ext>
            </a:extLst>
          </p:cNvPr>
          <p:cNvSpPr/>
          <p:nvPr/>
        </p:nvSpPr>
        <p:spPr>
          <a:xfrm>
            <a:off x="614252" y="2968157"/>
            <a:ext cx="7915493" cy="459098"/>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1E17F21F-77D2-498D-ACC0-34D5250C6951}"/>
              </a:ext>
            </a:extLst>
          </p:cNvPr>
          <p:cNvSpPr>
            <a:spLocks noGrp="1"/>
          </p:cNvSpPr>
          <p:nvPr>
            <p:ph type="title"/>
          </p:nvPr>
        </p:nvSpPr>
        <p:spPr>
          <a:xfrm>
            <a:off x="66311" y="0"/>
            <a:ext cx="8229600" cy="637794"/>
          </a:xfrm>
        </p:spPr>
        <p:txBody>
          <a:bodyPr/>
          <a:lstStyle/>
          <a:p>
            <a:r>
              <a:rPr lang="en-US" dirty="0"/>
              <a:t>Range can be misleading</a:t>
            </a:r>
          </a:p>
        </p:txBody>
      </p:sp>
      <p:sp>
        <p:nvSpPr>
          <p:cNvPr id="3" name="TextBox 2">
            <a:extLst>
              <a:ext uri="{FF2B5EF4-FFF2-40B4-BE49-F238E27FC236}">
                <a16:creationId xmlns:a16="http://schemas.microsoft.com/office/drawing/2014/main" id="{82F50FE0-C1C2-4BB0-B826-A9131CC07860}"/>
              </a:ext>
            </a:extLst>
          </p:cNvPr>
          <p:cNvSpPr txBox="1"/>
          <p:nvPr/>
        </p:nvSpPr>
        <p:spPr>
          <a:xfrm>
            <a:off x="160544" y="704996"/>
            <a:ext cx="8592567" cy="1323439"/>
          </a:xfrm>
          <a:prstGeom prst="rect">
            <a:avLst/>
          </a:prstGeom>
          <a:noFill/>
        </p:spPr>
        <p:txBody>
          <a:bodyPr wrap="square" rtlCol="0">
            <a:spAutoFit/>
          </a:bodyPr>
          <a:lstStyle/>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Because only 2 numbers are used, the range is influenced by </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outliers</a:t>
            </a:r>
            <a:r>
              <a:rPr lang="en-US" sz="2000" dirty="0">
                <a:solidFill>
                  <a:schemeClr val="bg2">
                    <a:lumMod val="50000"/>
                    <a:lumOff val="50000"/>
                  </a:schemeClr>
                </a:solidFill>
                <a:latin typeface="Inter"/>
                <a:cs typeface="Arial" panose="020B0604020202020204" pitchFamily="34" charset="0"/>
              </a:rPr>
              <a:t> and doesn’t give you any information about the distribution of values. </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It’s best used in combination with other measures.</a:t>
            </a:r>
          </a:p>
        </p:txBody>
      </p:sp>
      <p:sp>
        <p:nvSpPr>
          <p:cNvPr id="4" name="TextBox 3">
            <a:extLst>
              <a:ext uri="{FF2B5EF4-FFF2-40B4-BE49-F238E27FC236}">
                <a16:creationId xmlns:a16="http://schemas.microsoft.com/office/drawing/2014/main" id="{85E3C32C-D87E-4DEA-9465-5133B118800A}"/>
              </a:ext>
            </a:extLst>
          </p:cNvPr>
          <p:cNvSpPr txBox="1"/>
          <p:nvPr/>
        </p:nvSpPr>
        <p:spPr>
          <a:xfrm>
            <a:off x="614253" y="2968157"/>
            <a:ext cx="7915493" cy="400110"/>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 we may be better off using </a:t>
            </a:r>
            <a:r>
              <a:rPr lang="en-US" sz="2000" b="1" dirty="0">
                <a:solidFill>
                  <a:schemeClr val="accent1"/>
                </a:solidFill>
                <a:latin typeface="Inter"/>
                <a:cs typeface="Arial" panose="020B0604020202020204" pitchFamily="34" charset="0"/>
              </a:rPr>
              <a:t>Interquartile Range </a:t>
            </a:r>
            <a:r>
              <a:rPr lang="en-US" sz="2000" dirty="0">
                <a:solidFill>
                  <a:schemeClr val="bg2">
                    <a:lumMod val="50000"/>
                    <a:lumOff val="50000"/>
                  </a:schemeClr>
                </a:solidFill>
                <a:latin typeface="Inter"/>
                <a:cs typeface="Arial" panose="020B0604020202020204" pitchFamily="34" charset="0"/>
              </a:rPr>
              <a:t>or </a:t>
            </a:r>
            <a:r>
              <a:rPr lang="en-US" sz="2000" b="1" dirty="0">
                <a:solidFill>
                  <a:schemeClr val="accent1"/>
                </a:solidFill>
                <a:latin typeface="Inter"/>
                <a:cs typeface="Arial" panose="020B0604020202020204" pitchFamily="34" charset="0"/>
              </a:rPr>
              <a:t>Standard Deviation</a:t>
            </a:r>
          </a:p>
        </p:txBody>
      </p:sp>
    </p:spTree>
    <p:extLst>
      <p:ext uri="{BB962C8B-B14F-4D97-AF65-F5344CB8AC3E}">
        <p14:creationId xmlns:p14="http://schemas.microsoft.com/office/powerpoint/2010/main" val="1368213410"/>
      </p:ext>
    </p:extLst>
  </p:cSld>
  <p:clrMapOvr>
    <a:masterClrMapping/>
  </p:clrMapOvr>
  <p:transition spd="med">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3BF71-DFC5-427E-A65C-107910B8233F}"/>
              </a:ext>
            </a:extLst>
          </p:cNvPr>
          <p:cNvSpPr>
            <a:spLocks noGrp="1"/>
          </p:cNvSpPr>
          <p:nvPr>
            <p:ph type="title"/>
          </p:nvPr>
        </p:nvSpPr>
        <p:spPr>
          <a:xfrm>
            <a:off x="73291" y="98450"/>
            <a:ext cx="8229600" cy="637794"/>
          </a:xfrm>
        </p:spPr>
        <p:txBody>
          <a:bodyPr/>
          <a:lstStyle/>
          <a:p>
            <a:r>
              <a:rPr lang="en-US" dirty="0"/>
              <a:t>Quartiles</a:t>
            </a:r>
          </a:p>
        </p:txBody>
      </p:sp>
      <p:sp>
        <p:nvSpPr>
          <p:cNvPr id="3" name="TextBox 2">
            <a:extLst>
              <a:ext uri="{FF2B5EF4-FFF2-40B4-BE49-F238E27FC236}">
                <a16:creationId xmlns:a16="http://schemas.microsoft.com/office/drawing/2014/main" id="{BB64782E-BA76-46E6-BA36-C05EB80808B3}"/>
              </a:ext>
            </a:extLst>
          </p:cNvPr>
          <p:cNvSpPr txBox="1"/>
          <p:nvPr/>
        </p:nvSpPr>
        <p:spPr>
          <a:xfrm>
            <a:off x="125643" y="795736"/>
            <a:ext cx="8055096" cy="2246769"/>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Quartiles are the values that divide a list of numbers into quart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Put the list of numbers in order</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n cut the list into four equal part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 Quartiles are at the "cuts"</a:t>
            </a:r>
          </a:p>
        </p:txBody>
      </p:sp>
      <p:pic>
        <p:nvPicPr>
          <p:cNvPr id="5" name="Picture 4" descr="Icon&#10;&#10;Description automatically generated">
            <a:extLst>
              <a:ext uri="{FF2B5EF4-FFF2-40B4-BE49-F238E27FC236}">
                <a16:creationId xmlns:a16="http://schemas.microsoft.com/office/drawing/2014/main" id="{C0D2230B-C88E-42F0-8B61-73C227906A0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315823" y="1919120"/>
            <a:ext cx="3046400" cy="3046400"/>
          </a:xfrm>
          <a:prstGeom prst="rect">
            <a:avLst/>
          </a:prstGeom>
        </p:spPr>
      </p:pic>
    </p:spTree>
    <p:extLst>
      <p:ext uri="{BB962C8B-B14F-4D97-AF65-F5344CB8AC3E}">
        <p14:creationId xmlns:p14="http://schemas.microsoft.com/office/powerpoint/2010/main" val="3035897662"/>
      </p:ext>
    </p:extLst>
  </p:cSld>
  <p:clrMapOvr>
    <a:masterClrMapping/>
  </p:clrMapOvr>
  <p:transition spd="med">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96CD2-A218-41FD-81FB-068327F9D7E8}"/>
              </a:ext>
            </a:extLst>
          </p:cNvPr>
          <p:cNvSpPr>
            <a:spLocks noGrp="1"/>
          </p:cNvSpPr>
          <p:nvPr>
            <p:ph type="title"/>
          </p:nvPr>
        </p:nvSpPr>
        <p:spPr>
          <a:xfrm>
            <a:off x="0" y="0"/>
            <a:ext cx="8229600" cy="637794"/>
          </a:xfrm>
        </p:spPr>
        <p:txBody>
          <a:bodyPr/>
          <a:lstStyle/>
          <a:p>
            <a:r>
              <a:rPr lang="en-US" dirty="0"/>
              <a:t>Quartile</a:t>
            </a:r>
          </a:p>
        </p:txBody>
      </p:sp>
      <p:sp>
        <p:nvSpPr>
          <p:cNvPr id="4" name="TextBox 3">
            <a:extLst>
              <a:ext uri="{FF2B5EF4-FFF2-40B4-BE49-F238E27FC236}">
                <a16:creationId xmlns:a16="http://schemas.microsoft.com/office/drawing/2014/main" id="{51564A6B-0B9B-4B53-869D-F275C99CECAC}"/>
              </a:ext>
            </a:extLst>
          </p:cNvPr>
          <p:cNvSpPr txBox="1"/>
          <p:nvPr/>
        </p:nvSpPr>
        <p:spPr>
          <a:xfrm>
            <a:off x="55841" y="540425"/>
            <a:ext cx="8173759"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Ex : 5, 7, 4, 4, 6, 2,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Put them in order </a:t>
            </a:r>
            <a:r>
              <a:rPr lang="en-US" sz="1800" dirty="0">
                <a:solidFill>
                  <a:schemeClr val="bg2">
                    <a:lumMod val="50000"/>
                    <a:lumOff val="50000"/>
                  </a:schemeClr>
                </a:solidFill>
                <a:latin typeface="Inter"/>
                <a:cs typeface="Arial" panose="020B0604020202020204" pitchFamily="34" charset="0"/>
              </a:rPr>
              <a:t>: 2, 4, 4, 5, 6, 7,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Cut the List into Quarters : </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800" b="1" dirty="0">
              <a:solidFill>
                <a:schemeClr val="bg2"/>
              </a:solidFill>
              <a:latin typeface="+mn-lt"/>
            </a:endParaRPr>
          </a:p>
        </p:txBody>
      </p:sp>
      <p:pic>
        <p:nvPicPr>
          <p:cNvPr id="6" name="Picture 5">
            <a:extLst>
              <a:ext uri="{FF2B5EF4-FFF2-40B4-BE49-F238E27FC236}">
                <a16:creationId xmlns:a16="http://schemas.microsoft.com/office/drawing/2014/main" id="{1B565FA1-179B-418E-89CE-CB7A5FE56550}"/>
              </a:ext>
            </a:extLst>
          </p:cNvPr>
          <p:cNvPicPr>
            <a:picLocks noChangeAspect="1"/>
          </p:cNvPicPr>
          <p:nvPr/>
        </p:nvPicPr>
        <p:blipFill>
          <a:blip r:embed="rId2"/>
          <a:stretch>
            <a:fillRect/>
          </a:stretch>
        </p:blipFill>
        <p:spPr>
          <a:xfrm>
            <a:off x="2272803" y="2132338"/>
            <a:ext cx="3080974" cy="1440083"/>
          </a:xfrm>
          <a:prstGeom prst="rect">
            <a:avLst/>
          </a:prstGeom>
        </p:spPr>
      </p:pic>
    </p:spTree>
    <p:extLst>
      <p:ext uri="{BB962C8B-B14F-4D97-AF65-F5344CB8AC3E}">
        <p14:creationId xmlns:p14="http://schemas.microsoft.com/office/powerpoint/2010/main" val="610422850"/>
      </p:ext>
    </p:extLst>
  </p:cSld>
  <p:clrMapOvr>
    <a:masterClrMapping/>
  </p:clrMapOvr>
  <p:transition spd="med">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8B1DF-923A-42F7-BB0D-328499793335}"/>
              </a:ext>
            </a:extLst>
          </p:cNvPr>
          <p:cNvSpPr>
            <a:spLocks noGrp="1"/>
          </p:cNvSpPr>
          <p:nvPr>
            <p:ph type="title"/>
          </p:nvPr>
        </p:nvSpPr>
        <p:spPr>
          <a:xfrm>
            <a:off x="0" y="56569"/>
            <a:ext cx="8229600" cy="637794"/>
          </a:xfrm>
        </p:spPr>
        <p:txBody>
          <a:bodyPr/>
          <a:lstStyle/>
          <a:p>
            <a:r>
              <a:rPr lang="en-US" dirty="0"/>
              <a:t>Quartile</a:t>
            </a:r>
          </a:p>
        </p:txBody>
      </p:sp>
      <p:sp>
        <p:nvSpPr>
          <p:cNvPr id="3" name="TextBox 2">
            <a:extLst>
              <a:ext uri="{FF2B5EF4-FFF2-40B4-BE49-F238E27FC236}">
                <a16:creationId xmlns:a16="http://schemas.microsoft.com/office/drawing/2014/main" id="{6D6F2D4B-88D4-4088-AF08-0BC82059D804}"/>
              </a:ext>
            </a:extLst>
          </p:cNvPr>
          <p:cNvSpPr txBox="1"/>
          <p:nvPr/>
        </p:nvSpPr>
        <p:spPr>
          <a:xfrm>
            <a:off x="0" y="459033"/>
            <a:ext cx="9018357" cy="4909036"/>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metimes a "cut" is between two numbers ... the Quartile is the average of the two numb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lgn="l"/>
            <a:r>
              <a:rPr lang="en-US" sz="1800" b="1" dirty="0">
                <a:solidFill>
                  <a:schemeClr val="bg2">
                    <a:lumMod val="50000"/>
                    <a:lumOff val="50000"/>
                  </a:schemeClr>
                </a:solidFill>
                <a:latin typeface="Inter"/>
                <a:cs typeface="Arial" panose="020B0604020202020204" pitchFamily="34" charset="0"/>
              </a:rPr>
              <a:t>Example: 1, 3, 3, 4, 5, 6, 6, 7, 8, 8</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The numbers are already in order</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Cut the list into quarters:</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lgn="l"/>
            <a:endParaRPr lang="en-US" sz="1800" dirty="0">
              <a:solidFill>
                <a:schemeClr val="bg2">
                  <a:lumMod val="50000"/>
                  <a:lumOff val="50000"/>
                </a:schemeClr>
              </a:solidFill>
              <a:latin typeface="Inter"/>
              <a:cs typeface="Arial" panose="020B0604020202020204" pitchFamily="34" charset="0"/>
            </a:endParaRPr>
          </a:p>
          <a:p>
            <a:pPr algn="l"/>
            <a:r>
              <a:rPr lang="en-US" sz="2000" dirty="0">
                <a:solidFill>
                  <a:schemeClr val="bg2">
                    <a:lumMod val="50000"/>
                    <a:lumOff val="50000"/>
                  </a:schemeClr>
                </a:solidFill>
                <a:latin typeface="Inter"/>
                <a:cs typeface="Arial" panose="020B0604020202020204" pitchFamily="34" charset="0"/>
              </a:rPr>
              <a:t>In this case Quartile 2 is halfway between 5 and 6:</a:t>
            </a:r>
          </a:p>
          <a:p>
            <a:pPr algn="l"/>
            <a:r>
              <a:rPr lang="en-US" sz="2000" dirty="0">
                <a:solidFill>
                  <a:schemeClr val="bg2">
                    <a:lumMod val="50000"/>
                    <a:lumOff val="50000"/>
                  </a:schemeClr>
                </a:solidFill>
                <a:latin typeface="Inter"/>
                <a:cs typeface="Arial" panose="020B0604020202020204" pitchFamily="34" charset="0"/>
              </a:rPr>
              <a:t>		Q2 = (5+6)/2 = 5.5</a:t>
            </a:r>
          </a:p>
          <a:p>
            <a:pPr algn="l"/>
            <a:r>
              <a:rPr lang="en-US" sz="2000" b="1" i="1" dirty="0">
                <a:solidFill>
                  <a:schemeClr val="bg2">
                    <a:lumMod val="50000"/>
                    <a:lumOff val="50000"/>
                  </a:schemeClr>
                </a:solidFill>
                <a:latin typeface="Inter"/>
                <a:cs typeface="Arial" panose="020B0604020202020204" pitchFamily="34" charset="0"/>
              </a:rPr>
              <a:t>And the result is:</a:t>
            </a:r>
          </a:p>
          <a:p>
            <a:pPr algn="l"/>
            <a:r>
              <a:rPr lang="en-US" sz="2000" dirty="0">
                <a:solidFill>
                  <a:schemeClr val="bg2">
                    <a:lumMod val="50000"/>
                    <a:lumOff val="50000"/>
                  </a:schemeClr>
                </a:solidFill>
                <a:latin typeface="Inter"/>
                <a:cs typeface="Arial" panose="020B0604020202020204" pitchFamily="34" charset="0"/>
              </a:rPr>
              <a:t>Quartile 1 (Q1) = 3</a:t>
            </a:r>
          </a:p>
          <a:p>
            <a:pPr algn="l"/>
            <a:r>
              <a:rPr lang="en-US" sz="2000" dirty="0">
                <a:solidFill>
                  <a:schemeClr val="bg2">
                    <a:lumMod val="50000"/>
                    <a:lumOff val="50000"/>
                  </a:schemeClr>
                </a:solidFill>
                <a:latin typeface="Inter"/>
                <a:cs typeface="Arial" panose="020B0604020202020204" pitchFamily="34" charset="0"/>
              </a:rPr>
              <a:t>Quartile 2 (Q2) = 5.5</a:t>
            </a:r>
          </a:p>
          <a:p>
            <a:pPr algn="l"/>
            <a:r>
              <a:rPr lang="en-US" sz="2000" dirty="0">
                <a:solidFill>
                  <a:schemeClr val="bg2">
                    <a:lumMod val="50000"/>
                    <a:lumOff val="50000"/>
                  </a:schemeClr>
                </a:solidFill>
                <a:latin typeface="Inter"/>
                <a:cs typeface="Arial" panose="020B0604020202020204" pitchFamily="34" charset="0"/>
              </a:rPr>
              <a:t>Quartile 3 (Q3) = 7</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B8D3FA8A-E1F8-48C3-893C-09F0E75760C3}"/>
              </a:ext>
            </a:extLst>
          </p:cNvPr>
          <p:cNvPicPr>
            <a:picLocks noChangeAspect="1"/>
          </p:cNvPicPr>
          <p:nvPr/>
        </p:nvPicPr>
        <p:blipFill>
          <a:blip r:embed="rId2"/>
          <a:stretch>
            <a:fillRect/>
          </a:stretch>
        </p:blipFill>
        <p:spPr>
          <a:xfrm>
            <a:off x="4114800" y="1155395"/>
            <a:ext cx="4204561" cy="1515671"/>
          </a:xfrm>
          <a:prstGeom prst="rect">
            <a:avLst/>
          </a:prstGeom>
        </p:spPr>
      </p:pic>
    </p:spTree>
    <p:extLst>
      <p:ext uri="{BB962C8B-B14F-4D97-AF65-F5344CB8AC3E}">
        <p14:creationId xmlns:p14="http://schemas.microsoft.com/office/powerpoint/2010/main" val="480427111"/>
      </p:ext>
    </p:extLst>
  </p:cSld>
  <p:clrMapOvr>
    <a:masterClrMapping/>
  </p:clrMapOvr>
  <p:transition spd="med">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19C6A-64C3-4584-B1ED-A04DC1EC1D56}"/>
              </a:ext>
            </a:extLst>
          </p:cNvPr>
          <p:cNvSpPr>
            <a:spLocks noGrp="1"/>
          </p:cNvSpPr>
          <p:nvPr>
            <p:ph type="title"/>
          </p:nvPr>
        </p:nvSpPr>
        <p:spPr>
          <a:xfrm>
            <a:off x="0" y="0"/>
            <a:ext cx="9144000" cy="637794"/>
          </a:xfrm>
        </p:spPr>
        <p:txBody>
          <a:bodyPr/>
          <a:lstStyle/>
          <a:p>
            <a:r>
              <a:rPr lang="en-US" dirty="0"/>
              <a:t>How to find Q1, Q2, Q3 ? lets do a small example to get the understanding</a:t>
            </a:r>
            <a:br>
              <a:rPr lang="en-US" sz="1800" dirty="0">
                <a:effectLst/>
                <a:latin typeface="Calibri" panose="020F0502020204030204" pitchFamily="34" charset="0"/>
                <a:ea typeface="DengXian" panose="02010600030101010101" pitchFamily="2" charset="-122"/>
                <a:cs typeface="Times New Roman" panose="02020603050405020304" pitchFamily="18" charset="0"/>
              </a:rPr>
            </a:br>
            <a:endParaRPr lang="en-US" dirty="0"/>
          </a:p>
        </p:txBody>
      </p:sp>
    </p:spTree>
    <p:extLst>
      <p:ext uri="{BB962C8B-B14F-4D97-AF65-F5344CB8AC3E}">
        <p14:creationId xmlns:p14="http://schemas.microsoft.com/office/powerpoint/2010/main" val="770549809"/>
      </p:ext>
    </p:extLst>
  </p:cSld>
  <p:clrMapOvr>
    <a:masterClrMapping/>
  </p:clrMapOvr>
  <p:transition spd="med">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3DDF7-9977-4F1F-89F2-D84EB59C0B3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EC723DC2-7B90-4304-AAC3-E683C7BC140B}"/>
              </a:ext>
            </a:extLst>
          </p:cNvPr>
          <p:cNvSpPr txBox="1"/>
          <p:nvPr/>
        </p:nvSpPr>
        <p:spPr>
          <a:xfrm>
            <a:off x="0" y="637794"/>
            <a:ext cx="9060238" cy="1846659"/>
          </a:xfrm>
          <a:prstGeom prst="rect">
            <a:avLst/>
          </a:prstGeom>
          <a:noFill/>
        </p:spPr>
        <p:txBody>
          <a:bodyPr wrap="square" rtlCol="0">
            <a:spAutoFit/>
          </a:bodyPr>
          <a:lstStyle/>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he</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 </a:t>
            </a:r>
            <a:r>
              <a:rPr lang="en-US" sz="2000" b="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interquartile range</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gives you the spread of the middle of your distribution.</a:t>
            </a:r>
          </a:p>
          <a:p>
            <a:pPr marL="342900" indent="-342900" algn="l">
              <a:buFont typeface="Wingdings" panose="05000000000000000000" pitchFamily="2" charset="2"/>
              <a:buChar char="Ø"/>
            </a:pPr>
            <a:endParaRPr lang="en-US" sz="2000" dirty="0">
              <a:solidFill>
                <a:schemeClr val="bg2">
                  <a:lumMod val="50000"/>
                  <a:lumOff val="50000"/>
                </a:schemeClr>
              </a:solidFill>
              <a:latin typeface="Inter"/>
              <a:cs typeface="Arial" panose="020B0604020202020204" pitchFamily="34" charset="0"/>
            </a:endParaRPr>
          </a:p>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For any distribution that’s ordered from low to high, the interquartile range contains half of the values. While the first quartile (Q1) contains the first 25% of values, the fourth quartile (Q4) contains the last 25% of values.</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D92FD61A-25F3-4C72-BB82-FCCE08F21D34}"/>
              </a:ext>
            </a:extLst>
          </p:cNvPr>
          <p:cNvPicPr>
            <a:picLocks noChangeAspect="1"/>
          </p:cNvPicPr>
          <p:nvPr/>
        </p:nvPicPr>
        <p:blipFill>
          <a:blip r:embed="rId3"/>
          <a:stretch>
            <a:fillRect/>
          </a:stretch>
        </p:blipFill>
        <p:spPr>
          <a:xfrm>
            <a:off x="2287928" y="2661167"/>
            <a:ext cx="4043392" cy="2032355"/>
          </a:xfrm>
          <a:prstGeom prst="rect">
            <a:avLst/>
          </a:prstGeom>
        </p:spPr>
      </p:pic>
    </p:spTree>
    <p:extLst>
      <p:ext uri="{BB962C8B-B14F-4D97-AF65-F5344CB8AC3E}">
        <p14:creationId xmlns:p14="http://schemas.microsoft.com/office/powerpoint/2010/main" val="1056268501"/>
      </p:ext>
    </p:extLst>
  </p:cSld>
  <p:clrMapOvr>
    <a:masterClrMapping/>
  </p:clrMapOvr>
  <p:transition spd="med">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6D149-A19F-47BE-87C4-806F1BF7BC68}"/>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C999203-3FC5-457B-83C4-A1677B14ED3D}"/>
              </a:ext>
            </a:extLst>
          </p:cNvPr>
          <p:cNvSpPr txBox="1"/>
          <p:nvPr/>
        </p:nvSpPr>
        <p:spPr>
          <a:xfrm>
            <a:off x="0" y="725937"/>
            <a:ext cx="9144000" cy="1169551"/>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400" dirty="0">
              <a:solidFill>
                <a:srgbClr val="0D405F"/>
              </a:solidFill>
              <a:latin typeface="Inter"/>
            </a:endParaRPr>
          </a:p>
          <a:p>
            <a:pPr>
              <a:spcBef>
                <a:spcPts val="0"/>
              </a:spcBef>
              <a:spcAft>
                <a:spcPts val="0"/>
              </a:spcAft>
              <a:buClr>
                <a:schemeClr val="bg1"/>
              </a:buClr>
            </a:pPr>
            <a:r>
              <a:rPr lang="en-US" sz="1400" b="1" dirty="0">
                <a:solidFill>
                  <a:schemeClr val="accent1"/>
                </a:solidFill>
                <a:latin typeface="Inter"/>
              </a:rPr>
              <a:t>Data (Minutes) 	72	110	134	190	238	287	305	324</a:t>
            </a:r>
            <a:endParaRPr lang="en-US" sz="1800" b="1" dirty="0">
              <a:solidFill>
                <a:schemeClr val="accent1"/>
              </a:solidFill>
              <a:latin typeface="+mn-lt"/>
            </a:endParaRP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015857233"/>
      </p:ext>
    </p:extLst>
  </p:cSld>
  <p:clrMapOvr>
    <a:masterClrMapping/>
  </p:clrMapOvr>
  <p:transition spd="med">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86A2A-E07A-42CE-BF96-41BC3D022BD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B8E5736-46E3-4A0C-8877-A0E746A30E1C}"/>
              </a:ext>
            </a:extLst>
          </p:cNvPr>
          <p:cNvSpPr txBox="1"/>
          <p:nvPr/>
        </p:nvSpPr>
        <p:spPr>
          <a:xfrm>
            <a:off x="56087" y="582111"/>
            <a:ext cx="8117426" cy="954107"/>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 To calculate it just subtract Quartile 1 from Quartile 3, like this:</a:t>
            </a:r>
          </a:p>
        </p:txBody>
      </p:sp>
      <p:pic>
        <p:nvPicPr>
          <p:cNvPr id="5" name="Picture 4">
            <a:extLst>
              <a:ext uri="{FF2B5EF4-FFF2-40B4-BE49-F238E27FC236}">
                <a16:creationId xmlns:a16="http://schemas.microsoft.com/office/drawing/2014/main" id="{88C503D7-DF26-4859-ABAA-04EB3D0015F5}"/>
              </a:ext>
            </a:extLst>
          </p:cNvPr>
          <p:cNvPicPr>
            <a:picLocks noChangeAspect="1"/>
          </p:cNvPicPr>
          <p:nvPr/>
        </p:nvPicPr>
        <p:blipFill>
          <a:blip r:embed="rId2"/>
          <a:stretch>
            <a:fillRect/>
          </a:stretch>
        </p:blipFill>
        <p:spPr>
          <a:xfrm>
            <a:off x="1571517" y="1726261"/>
            <a:ext cx="4166170" cy="1881022"/>
          </a:xfrm>
          <a:prstGeom prst="rect">
            <a:avLst/>
          </a:prstGeom>
        </p:spPr>
      </p:pic>
      <p:sp>
        <p:nvSpPr>
          <p:cNvPr id="6" name="TextBox 5">
            <a:extLst>
              <a:ext uri="{FF2B5EF4-FFF2-40B4-BE49-F238E27FC236}">
                <a16:creationId xmlns:a16="http://schemas.microsoft.com/office/drawing/2014/main" id="{F8E18E6A-F867-4A4B-A86D-75A83FA49F2F}"/>
              </a:ext>
            </a:extLst>
          </p:cNvPr>
          <p:cNvSpPr txBox="1"/>
          <p:nvPr/>
        </p:nvSpPr>
        <p:spPr>
          <a:xfrm>
            <a:off x="237325" y="3869546"/>
            <a:ext cx="6707927" cy="646331"/>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The </a:t>
            </a:r>
            <a:r>
              <a:rPr lang="en-US" sz="1100" b="1" i="0" dirty="0">
                <a:solidFill>
                  <a:schemeClr val="bg2">
                    <a:lumMod val="50000"/>
                    <a:lumOff val="50000"/>
                  </a:schemeClr>
                </a:solidFill>
                <a:effectLst/>
                <a:latin typeface="Verdana" panose="020B0604030504040204" pitchFamily="34" charset="0"/>
              </a:rPr>
              <a:t>Interquartile Range</a:t>
            </a:r>
            <a:r>
              <a:rPr lang="en-US" sz="1100" b="0" i="0" dirty="0">
                <a:solidFill>
                  <a:schemeClr val="bg2">
                    <a:lumMod val="50000"/>
                    <a:lumOff val="50000"/>
                  </a:schemeClr>
                </a:solidFill>
                <a:effectLst/>
                <a:latin typeface="Verdana" panose="020B0604030504040204" pitchFamily="34" charset="0"/>
              </a:rPr>
              <a:t> is:</a:t>
            </a:r>
          </a:p>
          <a:p>
            <a:pPr algn="ctr"/>
            <a:r>
              <a:rPr lang="en-US" sz="1100" b="0" i="0" dirty="0">
                <a:solidFill>
                  <a:schemeClr val="bg2">
                    <a:lumMod val="50000"/>
                    <a:lumOff val="50000"/>
                  </a:schemeClr>
                </a:solidFill>
                <a:effectLst/>
                <a:latin typeface="Verdana" panose="020B0604030504040204" pitchFamily="34" charset="0"/>
              </a:rPr>
              <a:t>Q3 − Q1 = 7 − 4 = </a:t>
            </a:r>
            <a:r>
              <a:rPr lang="en-US" sz="1100" b="1" i="0" dirty="0">
                <a:solidFill>
                  <a:schemeClr val="bg2">
                    <a:lumMod val="50000"/>
                    <a:lumOff val="50000"/>
                  </a:schemeClr>
                </a:solidFill>
                <a:effectLst/>
                <a:latin typeface="Verdana" panose="020B0604030504040204" pitchFamily="34" charset="0"/>
              </a:rPr>
              <a:t>3</a:t>
            </a:r>
            <a:endParaRPr lang="en-US" sz="11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597251860"/>
      </p:ext>
    </p:extLst>
  </p:cSld>
  <p:clrMapOvr>
    <a:masterClrMapping/>
  </p:clrMapOvr>
  <p:transition spd="med">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7706E-BE1F-4177-844F-8FEA64AD4A0C}"/>
              </a:ext>
            </a:extLst>
          </p:cNvPr>
          <p:cNvSpPr>
            <a:spLocks noGrp="1"/>
          </p:cNvSpPr>
          <p:nvPr>
            <p:ph type="title"/>
          </p:nvPr>
        </p:nvSpPr>
        <p:spPr>
          <a:xfrm>
            <a:off x="143093" y="105430"/>
            <a:ext cx="8229600" cy="637794"/>
          </a:xfrm>
        </p:spPr>
        <p:txBody>
          <a:bodyPr/>
          <a:lstStyle/>
          <a:p>
            <a:r>
              <a:rPr lang="en-US" dirty="0"/>
              <a:t>Worksheet</a:t>
            </a:r>
          </a:p>
        </p:txBody>
      </p:sp>
    </p:spTree>
    <p:extLst>
      <p:ext uri="{BB962C8B-B14F-4D97-AF65-F5344CB8AC3E}">
        <p14:creationId xmlns:p14="http://schemas.microsoft.com/office/powerpoint/2010/main" val="2405108307"/>
      </p:ext>
    </p:extLst>
  </p:cSld>
  <p:clrMapOvr>
    <a:masterClrMapping/>
  </p:clrMapOvr>
  <p:transition spd="med">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02B98-D68B-4822-8A33-AA6F189B8061}"/>
              </a:ext>
            </a:extLst>
          </p:cNvPr>
          <p:cNvSpPr>
            <a:spLocks noGrp="1"/>
          </p:cNvSpPr>
          <p:nvPr>
            <p:ph type="title"/>
          </p:nvPr>
        </p:nvSpPr>
        <p:spPr>
          <a:xfrm>
            <a:off x="0" y="56569"/>
            <a:ext cx="8229600" cy="637794"/>
          </a:xfrm>
        </p:spPr>
        <p:txBody>
          <a:bodyPr/>
          <a:lstStyle/>
          <a:p>
            <a:r>
              <a:rPr lang="en-US" dirty="0"/>
              <a:t>Box and Whiskers Plot</a:t>
            </a:r>
          </a:p>
        </p:txBody>
      </p:sp>
      <p:sp>
        <p:nvSpPr>
          <p:cNvPr id="3" name="TextBox 2">
            <a:extLst>
              <a:ext uri="{FF2B5EF4-FFF2-40B4-BE49-F238E27FC236}">
                <a16:creationId xmlns:a16="http://schemas.microsoft.com/office/drawing/2014/main" id="{5CE3D9A2-4611-47A0-ADFC-F45B7CD82AC5}"/>
              </a:ext>
            </a:extLst>
          </p:cNvPr>
          <p:cNvSpPr txBox="1"/>
          <p:nvPr/>
        </p:nvSpPr>
        <p:spPr>
          <a:xfrm>
            <a:off x="181482" y="694363"/>
            <a:ext cx="7664209"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We can show all the important values in a "Box and Whisker Plot", like this:</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CFC2D9A-0771-4355-9746-A1CDB752DECD}"/>
              </a:ext>
            </a:extLst>
          </p:cNvPr>
          <p:cNvPicPr>
            <a:picLocks noChangeAspect="1"/>
          </p:cNvPicPr>
          <p:nvPr/>
        </p:nvPicPr>
        <p:blipFill>
          <a:blip r:embed="rId2"/>
          <a:stretch>
            <a:fillRect/>
          </a:stretch>
        </p:blipFill>
        <p:spPr>
          <a:xfrm>
            <a:off x="1771177" y="1639934"/>
            <a:ext cx="4280615" cy="1314520"/>
          </a:xfrm>
          <a:prstGeom prst="rect">
            <a:avLst/>
          </a:prstGeom>
        </p:spPr>
      </p:pic>
    </p:spTree>
    <p:extLst>
      <p:ext uri="{BB962C8B-B14F-4D97-AF65-F5344CB8AC3E}">
        <p14:creationId xmlns:p14="http://schemas.microsoft.com/office/powerpoint/2010/main" val="47765115"/>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5DF89-A4C5-4804-873A-9C2CF1B53371}"/>
              </a:ext>
            </a:extLst>
          </p:cNvPr>
          <p:cNvSpPr>
            <a:spLocks noGrp="1"/>
          </p:cNvSpPr>
          <p:nvPr>
            <p:ph type="title"/>
          </p:nvPr>
        </p:nvSpPr>
        <p:spPr>
          <a:xfrm>
            <a:off x="0" y="22860"/>
            <a:ext cx="7955280" cy="640080"/>
          </a:xfrm>
        </p:spPr>
        <p:txBody>
          <a:bodyPr/>
          <a:lstStyle/>
          <a:p>
            <a:r>
              <a:rPr lang="en-US" dirty="0"/>
              <a:t>Types of Variables</a:t>
            </a:r>
          </a:p>
        </p:txBody>
      </p:sp>
      <p:sp>
        <p:nvSpPr>
          <p:cNvPr id="4" name="Rectangle: Rounded Corners 3">
            <a:extLst>
              <a:ext uri="{FF2B5EF4-FFF2-40B4-BE49-F238E27FC236}">
                <a16:creationId xmlns:a16="http://schemas.microsoft.com/office/drawing/2014/main" id="{BECC6AA8-F4E3-4A94-9BD8-274D67D0E341}"/>
              </a:ext>
            </a:extLst>
          </p:cNvPr>
          <p:cNvSpPr/>
          <p:nvPr/>
        </p:nvSpPr>
        <p:spPr>
          <a:xfrm>
            <a:off x="3846931" y="544882"/>
            <a:ext cx="1484335"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Variable</a:t>
            </a:r>
          </a:p>
        </p:txBody>
      </p:sp>
      <p:sp>
        <p:nvSpPr>
          <p:cNvPr id="5" name="Rectangle: Rounded Corners 4">
            <a:extLst>
              <a:ext uri="{FF2B5EF4-FFF2-40B4-BE49-F238E27FC236}">
                <a16:creationId xmlns:a16="http://schemas.microsoft.com/office/drawing/2014/main" id="{B64A9950-C095-4508-A8D1-BCDB18FD97C6}"/>
              </a:ext>
            </a:extLst>
          </p:cNvPr>
          <p:cNvSpPr/>
          <p:nvPr/>
        </p:nvSpPr>
        <p:spPr>
          <a:xfrm>
            <a:off x="1025045"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ntitative</a:t>
            </a:r>
          </a:p>
        </p:txBody>
      </p:sp>
      <p:sp>
        <p:nvSpPr>
          <p:cNvPr id="6" name="Rectangle: Rounded Corners 5">
            <a:extLst>
              <a:ext uri="{FF2B5EF4-FFF2-40B4-BE49-F238E27FC236}">
                <a16:creationId xmlns:a16="http://schemas.microsoft.com/office/drawing/2014/main" id="{EBE4729C-1083-4C4B-A47A-5656FE677822}"/>
              </a:ext>
            </a:extLst>
          </p:cNvPr>
          <p:cNvSpPr/>
          <p:nvPr/>
        </p:nvSpPr>
        <p:spPr>
          <a:xfrm>
            <a:off x="5697256"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litative</a:t>
            </a:r>
          </a:p>
        </p:txBody>
      </p:sp>
      <p:sp>
        <p:nvSpPr>
          <p:cNvPr id="7" name="Rectangle: Rounded Corners 6">
            <a:extLst>
              <a:ext uri="{FF2B5EF4-FFF2-40B4-BE49-F238E27FC236}">
                <a16:creationId xmlns:a16="http://schemas.microsoft.com/office/drawing/2014/main" id="{61D08891-F878-4FDF-B9A0-8D80D90B40A7}"/>
              </a:ext>
            </a:extLst>
          </p:cNvPr>
          <p:cNvSpPr/>
          <p:nvPr/>
        </p:nvSpPr>
        <p:spPr>
          <a:xfrm>
            <a:off x="62629"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Discrete</a:t>
            </a:r>
          </a:p>
        </p:txBody>
      </p:sp>
      <p:sp>
        <p:nvSpPr>
          <p:cNvPr id="8" name="Rectangle: Rounded Corners 7">
            <a:extLst>
              <a:ext uri="{FF2B5EF4-FFF2-40B4-BE49-F238E27FC236}">
                <a16:creationId xmlns:a16="http://schemas.microsoft.com/office/drawing/2014/main" id="{F4AC69C5-E593-414D-A1C2-B3A0A0562FEC}"/>
              </a:ext>
            </a:extLst>
          </p:cNvPr>
          <p:cNvSpPr/>
          <p:nvPr/>
        </p:nvSpPr>
        <p:spPr>
          <a:xfrm>
            <a:off x="1889341"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ontinuous</a:t>
            </a:r>
          </a:p>
        </p:txBody>
      </p:sp>
      <p:sp>
        <p:nvSpPr>
          <p:cNvPr id="9" name="Rectangle: Rounded Corners 8">
            <a:extLst>
              <a:ext uri="{FF2B5EF4-FFF2-40B4-BE49-F238E27FC236}">
                <a16:creationId xmlns:a16="http://schemas.microsoft.com/office/drawing/2014/main" id="{CEBE0F36-E7A6-4554-AC12-BB9D6401B2AD}"/>
              </a:ext>
            </a:extLst>
          </p:cNvPr>
          <p:cNvSpPr/>
          <p:nvPr/>
        </p:nvSpPr>
        <p:spPr>
          <a:xfrm>
            <a:off x="3907079"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Nominal</a:t>
            </a:r>
          </a:p>
        </p:txBody>
      </p:sp>
      <p:sp>
        <p:nvSpPr>
          <p:cNvPr id="10" name="Rectangle: Rounded Corners 9">
            <a:extLst>
              <a:ext uri="{FF2B5EF4-FFF2-40B4-BE49-F238E27FC236}">
                <a16:creationId xmlns:a16="http://schemas.microsoft.com/office/drawing/2014/main" id="{9BF4BCFE-0120-4B93-9D0A-C9340569D1E9}"/>
              </a:ext>
            </a:extLst>
          </p:cNvPr>
          <p:cNvSpPr/>
          <p:nvPr/>
        </p:nvSpPr>
        <p:spPr>
          <a:xfrm>
            <a:off x="5733791"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rdinal</a:t>
            </a:r>
          </a:p>
        </p:txBody>
      </p:sp>
      <p:cxnSp>
        <p:nvCxnSpPr>
          <p:cNvPr id="12" name="Straight Arrow Connector 11">
            <a:extLst>
              <a:ext uri="{FF2B5EF4-FFF2-40B4-BE49-F238E27FC236}">
                <a16:creationId xmlns:a16="http://schemas.microsoft.com/office/drawing/2014/main" id="{323013C9-7B22-4459-8F28-57188F3D6C86}"/>
              </a:ext>
            </a:extLst>
          </p:cNvPr>
          <p:cNvCxnSpPr>
            <a:stCxn id="4" idx="2"/>
            <a:endCxn id="5" idx="0"/>
          </p:cNvCxnSpPr>
          <p:nvPr/>
        </p:nvCxnSpPr>
        <p:spPr>
          <a:xfrm flipH="1">
            <a:off x="1889341" y="926926"/>
            <a:ext cx="2699758"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48DFC0C-56EA-44CD-A6EF-93B7072AA5E3}"/>
              </a:ext>
            </a:extLst>
          </p:cNvPr>
          <p:cNvCxnSpPr>
            <a:stCxn id="4" idx="2"/>
            <a:endCxn id="6" idx="0"/>
          </p:cNvCxnSpPr>
          <p:nvPr/>
        </p:nvCxnSpPr>
        <p:spPr>
          <a:xfrm>
            <a:off x="4589099" y="926926"/>
            <a:ext cx="1972453"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C2D531C1-8606-4599-84EB-2A76929B7660}"/>
              </a:ext>
            </a:extLst>
          </p:cNvPr>
          <p:cNvCxnSpPr>
            <a:stCxn id="5" idx="2"/>
            <a:endCxn id="7" idx="0"/>
          </p:cNvCxnSpPr>
          <p:nvPr/>
        </p:nvCxnSpPr>
        <p:spPr>
          <a:xfrm flipH="1">
            <a:off x="890391" y="1818361"/>
            <a:ext cx="998950"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09B3A31-CC3D-40E6-9F48-2572EFF66818}"/>
              </a:ext>
            </a:extLst>
          </p:cNvPr>
          <p:cNvCxnSpPr>
            <a:stCxn id="5" idx="2"/>
            <a:endCxn id="8" idx="0"/>
          </p:cNvCxnSpPr>
          <p:nvPr/>
        </p:nvCxnSpPr>
        <p:spPr>
          <a:xfrm>
            <a:off x="1889341" y="1818361"/>
            <a:ext cx="827762"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24F81249-C776-473E-A656-690BABC69384}"/>
              </a:ext>
            </a:extLst>
          </p:cNvPr>
          <p:cNvCxnSpPr>
            <a:stCxn id="6" idx="2"/>
            <a:endCxn id="9" idx="0"/>
          </p:cNvCxnSpPr>
          <p:nvPr/>
        </p:nvCxnSpPr>
        <p:spPr>
          <a:xfrm flipH="1">
            <a:off x="4734841" y="1818361"/>
            <a:ext cx="182671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0A44C45-020F-4EC0-9ABC-F2019CABD76E}"/>
              </a:ext>
            </a:extLst>
          </p:cNvPr>
          <p:cNvCxnSpPr>
            <a:stCxn id="6" idx="2"/>
            <a:endCxn id="10" idx="0"/>
          </p:cNvCxnSpPr>
          <p:nvPr/>
        </p:nvCxnSpPr>
        <p:spPr>
          <a:xfrm>
            <a:off x="6561552" y="1818361"/>
            <a:ext cx="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93415D3D-289F-475B-8CC7-72AF925B85AF}"/>
              </a:ext>
            </a:extLst>
          </p:cNvPr>
          <p:cNvSpPr txBox="1"/>
          <p:nvPr/>
        </p:nvSpPr>
        <p:spPr>
          <a:xfrm>
            <a:off x="104702" y="3329533"/>
            <a:ext cx="593313"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a:t>
            </a:r>
          </a:p>
        </p:txBody>
      </p:sp>
      <p:sp>
        <p:nvSpPr>
          <p:cNvPr id="36" name="Rectangle: Rounded Corners 35">
            <a:extLst>
              <a:ext uri="{FF2B5EF4-FFF2-40B4-BE49-F238E27FC236}">
                <a16:creationId xmlns:a16="http://schemas.microsoft.com/office/drawing/2014/main" id="{D1006B51-EEAC-497A-B4E7-A2CD7FFAAEF9}"/>
              </a:ext>
            </a:extLst>
          </p:cNvPr>
          <p:cNvSpPr/>
          <p:nvPr/>
        </p:nvSpPr>
        <p:spPr>
          <a:xfrm>
            <a:off x="7425848"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Binary</a:t>
            </a:r>
          </a:p>
        </p:txBody>
      </p:sp>
      <p:cxnSp>
        <p:nvCxnSpPr>
          <p:cNvPr id="40" name="Straight Arrow Connector 39">
            <a:extLst>
              <a:ext uri="{FF2B5EF4-FFF2-40B4-BE49-F238E27FC236}">
                <a16:creationId xmlns:a16="http://schemas.microsoft.com/office/drawing/2014/main" id="{7B8FE297-E963-4754-B22F-8F1EFC3DF06E}"/>
              </a:ext>
            </a:extLst>
          </p:cNvPr>
          <p:cNvCxnSpPr>
            <a:cxnSpLocks/>
            <a:stCxn id="6" idx="2"/>
            <a:endCxn id="36" idx="0"/>
          </p:cNvCxnSpPr>
          <p:nvPr/>
        </p:nvCxnSpPr>
        <p:spPr>
          <a:xfrm>
            <a:off x="6561552" y="1818361"/>
            <a:ext cx="1692058"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9912247"/>
      </p:ext>
    </p:extLst>
  </p:cSld>
  <p:clrMapOvr>
    <a:masterClrMapping/>
  </p:clrMapOvr>
  <p:transition spd="med">
    <p:wipe dir="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F826E-42FE-413B-94F5-930FD1324A21}"/>
              </a:ext>
            </a:extLst>
          </p:cNvPr>
          <p:cNvSpPr>
            <a:spLocks noGrp="1"/>
          </p:cNvSpPr>
          <p:nvPr>
            <p:ph type="title"/>
          </p:nvPr>
        </p:nvSpPr>
        <p:spPr>
          <a:xfrm>
            <a:off x="0" y="0"/>
            <a:ext cx="9144000" cy="637794"/>
          </a:xfrm>
        </p:spPr>
        <p:txBody>
          <a:bodyPr/>
          <a:lstStyle/>
          <a:p>
            <a:r>
              <a:rPr lang="en-US" dirty="0"/>
              <a:t>Putting it all together – Quartiles &amp; Box and Whisker Plot</a:t>
            </a:r>
          </a:p>
        </p:txBody>
      </p:sp>
      <p:sp>
        <p:nvSpPr>
          <p:cNvPr id="3" name="TextBox 2">
            <a:extLst>
              <a:ext uri="{FF2B5EF4-FFF2-40B4-BE49-F238E27FC236}">
                <a16:creationId xmlns:a16="http://schemas.microsoft.com/office/drawing/2014/main" id="{732EC174-2DD3-4269-88F1-B18EC6E5775D}"/>
              </a:ext>
            </a:extLst>
          </p:cNvPr>
          <p:cNvSpPr txBox="1"/>
          <p:nvPr/>
        </p:nvSpPr>
        <p:spPr>
          <a:xfrm>
            <a:off x="69801" y="401925"/>
            <a:ext cx="8550687" cy="4508927"/>
          </a:xfrm>
          <a:prstGeom prst="rect">
            <a:avLst/>
          </a:prstGeom>
          <a:noFill/>
        </p:spPr>
        <p:txBody>
          <a:bodyPr wrap="square" rtlCol="0">
            <a:spAutoFit/>
          </a:bodyPr>
          <a:lstStyle/>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Example: </a:t>
            </a:r>
            <a:r>
              <a:rPr lang="en-US" sz="1100" b="1" i="0" dirty="0">
                <a:solidFill>
                  <a:schemeClr val="bg2">
                    <a:lumMod val="50000"/>
                    <a:lumOff val="50000"/>
                  </a:schemeClr>
                </a:solidFill>
                <a:effectLst/>
                <a:latin typeface="Verdana" panose="020B0604030504040204" pitchFamily="34" charset="0"/>
              </a:rPr>
              <a:t>Box and Whisker Plot and Interquartile Range</a:t>
            </a:r>
            <a:r>
              <a:rPr lang="en-US" sz="1100" b="0" i="0" dirty="0">
                <a:solidFill>
                  <a:schemeClr val="bg2">
                    <a:lumMod val="50000"/>
                    <a:lumOff val="50000"/>
                  </a:schemeClr>
                </a:solidFill>
                <a:effectLst/>
                <a:latin typeface="Verdana" panose="020B0604030504040204" pitchFamily="34" charset="0"/>
              </a:rPr>
              <a:t> for</a:t>
            </a:r>
          </a:p>
          <a:p>
            <a:pPr algn="l"/>
            <a:endParaRPr lang="en-US" sz="1100" dirty="0">
              <a:solidFill>
                <a:schemeClr val="bg2">
                  <a:lumMod val="50000"/>
                  <a:lumOff val="50000"/>
                </a:schemeClr>
              </a:solidFill>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4, 17, 7, 14, 18, 12, 3, 16, 10, 4, 4, 11</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Put them in order:   </a:t>
            </a:r>
            <a:r>
              <a:rPr lang="en-US" sz="1100" b="0" i="0" dirty="0">
                <a:solidFill>
                  <a:schemeClr val="bg2">
                    <a:lumMod val="50000"/>
                    <a:lumOff val="50000"/>
                  </a:schemeClr>
                </a:solidFill>
                <a:effectLst/>
                <a:latin typeface="Verdana" panose="020B0604030504040204" pitchFamily="34" charset="0"/>
              </a:rPr>
              <a:t>3, 4, 4, 4, 7, 10, 11, 12, 14, 16, 17, 18</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Cut it into quarters:  </a:t>
            </a:r>
            <a:r>
              <a:rPr lang="en-US" sz="1100" b="0" i="0" dirty="0">
                <a:solidFill>
                  <a:schemeClr val="bg2">
                    <a:lumMod val="50000"/>
                    <a:lumOff val="50000"/>
                  </a:schemeClr>
                </a:solidFill>
                <a:effectLst/>
                <a:latin typeface="Verdana" panose="020B0604030504040204" pitchFamily="34" charset="0"/>
              </a:rPr>
              <a:t>3, 4, 4 | 4, 7, 10 | 11, 12, 14 | 16, 17, 18</a:t>
            </a:r>
          </a:p>
          <a:p>
            <a:pPr algn="l"/>
            <a:endParaRPr lang="en-US" sz="1100" b="0" i="0" dirty="0">
              <a:solidFill>
                <a:schemeClr val="bg2">
                  <a:lumMod val="50000"/>
                  <a:lumOff val="50000"/>
                </a:schemeClr>
              </a:solidFill>
              <a:effectLst/>
              <a:latin typeface="Verdana" panose="020B0604030504040204" pitchFamily="34" charset="0"/>
            </a:endParaRP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In this case all the quartiles are between numbers:</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1 (Q1) = (4+4)/2 = </a:t>
            </a:r>
            <a:r>
              <a:rPr lang="en-US" sz="1100" b="1" i="0" dirty="0">
                <a:solidFill>
                  <a:schemeClr val="bg2">
                    <a:lumMod val="50000"/>
                    <a:lumOff val="50000"/>
                  </a:schemeClr>
                </a:solidFill>
                <a:effectLst/>
                <a:latin typeface="Verdana" panose="020B0604030504040204" pitchFamily="34" charset="0"/>
              </a:rPr>
              <a:t>4</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2 (Q2) = (10+11)/2 = </a:t>
            </a:r>
            <a:r>
              <a:rPr lang="en-US" sz="1100" b="1" i="0" dirty="0">
                <a:solidFill>
                  <a:schemeClr val="bg2">
                    <a:lumMod val="50000"/>
                    <a:lumOff val="50000"/>
                  </a:schemeClr>
                </a:solidFill>
                <a:effectLst/>
                <a:latin typeface="Verdana" panose="020B0604030504040204" pitchFamily="34" charset="0"/>
              </a:rPr>
              <a:t>10.5</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3 (Q3) = (14+16)/2 = </a:t>
            </a:r>
            <a:r>
              <a:rPr lang="en-US" sz="1100" b="1" i="0" dirty="0">
                <a:solidFill>
                  <a:schemeClr val="bg2">
                    <a:lumMod val="50000"/>
                    <a:lumOff val="50000"/>
                  </a:schemeClr>
                </a:solidFill>
                <a:effectLst/>
                <a:latin typeface="Verdana" panose="020B0604030504040204" pitchFamily="34" charset="0"/>
              </a:rPr>
              <a:t>15</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Also:</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Lowest Value is </a:t>
            </a:r>
            <a:r>
              <a:rPr lang="en-US" sz="1100" b="1" i="0" dirty="0">
                <a:solidFill>
                  <a:schemeClr val="bg2">
                    <a:lumMod val="50000"/>
                    <a:lumOff val="50000"/>
                  </a:schemeClr>
                </a:solidFill>
                <a:effectLst/>
                <a:latin typeface="Verdana" panose="020B0604030504040204" pitchFamily="34" charset="0"/>
              </a:rPr>
              <a:t>3</a:t>
            </a:r>
            <a:r>
              <a:rPr lang="en-US" sz="1100" b="0" i="0" dirty="0">
                <a:solidFill>
                  <a:schemeClr val="bg2">
                    <a:lumMod val="50000"/>
                    <a:lumOff val="50000"/>
                  </a:schemeClr>
                </a:solidFill>
                <a:effectLst/>
                <a:latin typeface="Verdana" panose="020B0604030504040204" pitchFamily="34" charset="0"/>
              </a:rPr>
              <a:t>,</a:t>
            </a:r>
          </a:p>
          <a:p>
            <a:pPr algn="l"/>
            <a:r>
              <a:rPr lang="en-US" sz="1100" b="0" i="0" dirty="0">
                <a:solidFill>
                  <a:schemeClr val="bg2">
                    <a:lumMod val="50000"/>
                    <a:lumOff val="50000"/>
                  </a:schemeClr>
                </a:solidFill>
                <a:effectLst/>
                <a:latin typeface="Verdana" panose="020B0604030504040204" pitchFamily="34" charset="0"/>
              </a:rPr>
              <a:t>The Highest Value is </a:t>
            </a:r>
            <a:r>
              <a:rPr lang="en-US" sz="1100" b="1" i="0" dirty="0">
                <a:solidFill>
                  <a:schemeClr val="bg2">
                    <a:lumMod val="50000"/>
                    <a:lumOff val="50000"/>
                  </a:schemeClr>
                </a:solidFill>
                <a:effectLst/>
                <a:latin typeface="Verdana" panose="020B0604030504040204" pitchFamily="34" charset="0"/>
              </a:rPr>
              <a:t>18</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endParaRPr lang="en-US" sz="1000" b="0" i="0" dirty="0">
              <a:solidFill>
                <a:schemeClr val="bg2">
                  <a:lumMod val="50000"/>
                  <a:lumOff val="50000"/>
                </a:schemeClr>
              </a:solidFill>
              <a:effectLst/>
              <a:latin typeface="Verdana" panose="020B0604030504040204" pitchFamily="34" charset="0"/>
            </a:endParaRPr>
          </a:p>
          <a:p>
            <a:pPr algn="l"/>
            <a:r>
              <a:rPr lang="en-US" sz="1000" b="0" i="0" dirty="0">
                <a:solidFill>
                  <a:schemeClr val="bg2">
                    <a:lumMod val="50000"/>
                    <a:lumOff val="50000"/>
                  </a:schemeClr>
                </a:solidFill>
                <a:effectLst/>
                <a:latin typeface="Verdana" panose="020B0604030504040204" pitchFamily="34" charset="0"/>
              </a:rPr>
              <a:t>And the </a:t>
            </a:r>
            <a:r>
              <a:rPr lang="en-US" sz="1000" b="1" i="0" dirty="0">
                <a:solidFill>
                  <a:schemeClr val="bg2">
                    <a:lumMod val="50000"/>
                    <a:lumOff val="50000"/>
                  </a:schemeClr>
                </a:solidFill>
                <a:effectLst/>
                <a:latin typeface="Verdana" panose="020B0604030504040204" pitchFamily="34" charset="0"/>
              </a:rPr>
              <a:t>Interquartile Range</a:t>
            </a:r>
            <a:r>
              <a:rPr lang="en-US" sz="1000" b="0" i="0" dirty="0">
                <a:solidFill>
                  <a:schemeClr val="bg2">
                    <a:lumMod val="50000"/>
                    <a:lumOff val="50000"/>
                  </a:schemeClr>
                </a:solidFill>
                <a:effectLst/>
                <a:latin typeface="Verdana" panose="020B0604030504040204" pitchFamily="34" charset="0"/>
              </a:rPr>
              <a:t> is:  Q3 − Q1 = 15 − 4 = </a:t>
            </a:r>
            <a:r>
              <a:rPr lang="en-US" sz="1000" b="1" i="0" dirty="0">
                <a:solidFill>
                  <a:schemeClr val="bg2">
                    <a:lumMod val="50000"/>
                    <a:lumOff val="50000"/>
                  </a:schemeClr>
                </a:solidFill>
                <a:effectLst/>
                <a:latin typeface="Verdana" panose="020B0604030504040204" pitchFamily="34" charset="0"/>
              </a:rPr>
              <a:t>11</a:t>
            </a:r>
            <a:endParaRPr lang="en-US" sz="1000" b="0" i="0" dirty="0">
              <a:solidFill>
                <a:schemeClr val="bg2">
                  <a:lumMod val="50000"/>
                  <a:lumOff val="50000"/>
                </a:schemeClr>
              </a:solidFill>
              <a:effectLst/>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855912B2-43D3-466B-8818-DA5069B7543D}"/>
              </a:ext>
            </a:extLst>
          </p:cNvPr>
          <p:cNvPicPr>
            <a:picLocks noChangeAspect="1"/>
          </p:cNvPicPr>
          <p:nvPr/>
        </p:nvPicPr>
        <p:blipFill>
          <a:blip r:embed="rId2"/>
          <a:stretch>
            <a:fillRect/>
          </a:stretch>
        </p:blipFill>
        <p:spPr>
          <a:xfrm>
            <a:off x="2563059" y="3011718"/>
            <a:ext cx="6388986" cy="1080553"/>
          </a:xfrm>
          <a:prstGeom prst="rect">
            <a:avLst/>
          </a:prstGeom>
        </p:spPr>
      </p:pic>
      <p:sp>
        <p:nvSpPr>
          <p:cNvPr id="6" name="Rectangle 5">
            <a:extLst>
              <a:ext uri="{FF2B5EF4-FFF2-40B4-BE49-F238E27FC236}">
                <a16:creationId xmlns:a16="http://schemas.microsoft.com/office/drawing/2014/main" id="{78A0F166-87FB-4E04-AA2E-A971A56754AB}"/>
              </a:ext>
            </a:extLst>
          </p:cNvPr>
          <p:cNvSpPr/>
          <p:nvPr/>
        </p:nvSpPr>
        <p:spPr>
          <a:xfrm>
            <a:off x="69801" y="4174131"/>
            <a:ext cx="4020568" cy="432770"/>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1053432518"/>
      </p:ext>
    </p:extLst>
  </p:cSld>
  <p:clrMapOvr>
    <a:masterClrMapping/>
  </p:clrMapOvr>
  <p:transition spd="med">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7FB37-7364-4C6E-8104-4B3F120F068C}"/>
              </a:ext>
            </a:extLst>
          </p:cNvPr>
          <p:cNvSpPr>
            <a:spLocks noGrp="1"/>
          </p:cNvSpPr>
          <p:nvPr>
            <p:ph type="title"/>
          </p:nvPr>
        </p:nvSpPr>
        <p:spPr>
          <a:xfrm>
            <a:off x="0" y="0"/>
            <a:ext cx="8229600" cy="637794"/>
          </a:xfrm>
        </p:spPr>
        <p:txBody>
          <a:bodyPr/>
          <a:lstStyle/>
          <a:p>
            <a:r>
              <a:rPr lang="en-US" dirty="0"/>
              <a:t>Quartile – Five-number summary</a:t>
            </a:r>
          </a:p>
        </p:txBody>
      </p:sp>
      <p:sp>
        <p:nvSpPr>
          <p:cNvPr id="3" name="TextBox 2">
            <a:extLst>
              <a:ext uri="{FF2B5EF4-FFF2-40B4-BE49-F238E27FC236}">
                <a16:creationId xmlns:a16="http://schemas.microsoft.com/office/drawing/2014/main" id="{6AA95D92-9A44-4080-BA36-19FFE96B6405}"/>
              </a:ext>
            </a:extLst>
          </p:cNvPr>
          <p:cNvSpPr txBox="1"/>
          <p:nvPr/>
        </p:nvSpPr>
        <p:spPr>
          <a:xfrm>
            <a:off x="0" y="809698"/>
            <a:ext cx="8927615" cy="286232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very distribution can be organized using a five-number summary:</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Lowest value</a:t>
            </a:r>
          </a:p>
          <a:p>
            <a:pPr>
              <a:spcBef>
                <a:spcPts val="0"/>
              </a:spcBef>
              <a:spcAft>
                <a:spcPts val="0"/>
              </a:spcAft>
              <a:buClr>
                <a:schemeClr val="bg1"/>
              </a:buClr>
            </a:pPr>
            <a:r>
              <a:rPr lang="en-US" sz="1800" dirty="0">
                <a:solidFill>
                  <a:schemeClr val="bg2">
                    <a:lumMod val="50000"/>
                    <a:lumOff val="50000"/>
                  </a:schemeClr>
                </a:solidFill>
                <a:latin typeface="+mn-lt"/>
              </a:rPr>
              <a:t>Q1: 25th percentile</a:t>
            </a:r>
          </a:p>
          <a:p>
            <a:pPr>
              <a:spcBef>
                <a:spcPts val="0"/>
              </a:spcBef>
              <a:spcAft>
                <a:spcPts val="0"/>
              </a:spcAft>
              <a:buClr>
                <a:schemeClr val="bg1"/>
              </a:buClr>
            </a:pPr>
            <a:r>
              <a:rPr lang="en-US" sz="1800" dirty="0">
                <a:solidFill>
                  <a:schemeClr val="bg2">
                    <a:lumMod val="50000"/>
                    <a:lumOff val="50000"/>
                  </a:schemeClr>
                </a:solidFill>
                <a:latin typeface="+mn-lt"/>
              </a:rPr>
              <a:t>Q2: the median</a:t>
            </a:r>
          </a:p>
          <a:p>
            <a:pPr>
              <a:spcBef>
                <a:spcPts val="0"/>
              </a:spcBef>
              <a:spcAft>
                <a:spcPts val="0"/>
              </a:spcAft>
              <a:buClr>
                <a:schemeClr val="bg1"/>
              </a:buClr>
            </a:pPr>
            <a:r>
              <a:rPr lang="en-US" sz="1800" dirty="0">
                <a:solidFill>
                  <a:schemeClr val="bg2">
                    <a:lumMod val="50000"/>
                    <a:lumOff val="50000"/>
                  </a:schemeClr>
                </a:solidFill>
                <a:latin typeface="+mn-lt"/>
              </a:rPr>
              <a:t>Q3: 75th percentile</a:t>
            </a:r>
          </a:p>
          <a:p>
            <a:pPr>
              <a:spcBef>
                <a:spcPts val="0"/>
              </a:spcBef>
              <a:spcAft>
                <a:spcPts val="0"/>
              </a:spcAft>
              <a:buClr>
                <a:schemeClr val="bg1"/>
              </a:buClr>
            </a:pPr>
            <a:r>
              <a:rPr lang="en-US" sz="1800" dirty="0">
                <a:solidFill>
                  <a:schemeClr val="bg2">
                    <a:lumMod val="50000"/>
                    <a:lumOff val="50000"/>
                  </a:schemeClr>
                </a:solidFill>
                <a:latin typeface="+mn-lt"/>
              </a:rPr>
              <a:t>Highest value (Q4)</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These five-number summaries can be easily visualized using box and whisker plots</a:t>
            </a:r>
          </a:p>
        </p:txBody>
      </p:sp>
    </p:spTree>
    <p:extLst>
      <p:ext uri="{BB962C8B-B14F-4D97-AF65-F5344CB8AC3E}">
        <p14:creationId xmlns:p14="http://schemas.microsoft.com/office/powerpoint/2010/main" val="1785345867"/>
      </p:ext>
    </p:extLst>
  </p:cSld>
  <p:clrMapOvr>
    <a:masterClrMapping/>
  </p:clrMapOvr>
  <p:transition spd="med">
    <p:wipe dir="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DBF01-355E-4D2A-A767-72CDC43D1AE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43EE8FE4-39C7-4BD2-BE1E-E79137AD0F9D}"/>
              </a:ext>
            </a:extLst>
          </p:cNvPr>
          <p:cNvSpPr txBox="1"/>
          <p:nvPr/>
        </p:nvSpPr>
        <p:spPr>
          <a:xfrm>
            <a:off x="0" y="659770"/>
            <a:ext cx="8836873" cy="3416320"/>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How far, on average, all values are from the middle</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b="1" dirty="0">
                <a:solidFill>
                  <a:schemeClr val="bg2">
                    <a:lumMod val="50000"/>
                    <a:lumOff val="50000"/>
                  </a:schemeClr>
                </a:solidFill>
                <a:latin typeface="+mn-lt"/>
              </a:rPr>
              <a:t>Calculation Steps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342900" indent="-342900" algn="l">
              <a:buAutoNum type="arabicPeriod"/>
            </a:pPr>
            <a:r>
              <a:rPr lang="en-US" sz="1800" dirty="0">
                <a:solidFill>
                  <a:schemeClr val="bg2">
                    <a:lumMod val="50000"/>
                    <a:lumOff val="50000"/>
                  </a:schemeClr>
                </a:solidFill>
                <a:latin typeface="+mn-lt"/>
              </a:rPr>
              <a:t>Find the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mean</a:t>
            </a:r>
            <a:r>
              <a:rPr lang="en-US" sz="1800" dirty="0">
                <a:solidFill>
                  <a:schemeClr val="bg2">
                    <a:lumMod val="50000"/>
                    <a:lumOff val="50000"/>
                  </a:schemeClr>
                </a:solidFill>
                <a:latin typeface="+mn-lt"/>
              </a:rPr>
              <a:t> of all value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2. Find the distance of each value from that mean (subtract the mean from each value, ignore minus sign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3. Then find the mean of those distanc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spTree>
    <p:extLst>
      <p:ext uri="{BB962C8B-B14F-4D97-AF65-F5344CB8AC3E}">
        <p14:creationId xmlns:p14="http://schemas.microsoft.com/office/powerpoint/2010/main" val="4175273265"/>
      </p:ext>
    </p:extLst>
  </p:cSld>
  <p:clrMapOvr>
    <a:masterClrMapping/>
  </p:clrMapOvr>
  <p:transition spd="med">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D8774-87C9-418D-9F90-90226D8612B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C774A8E0-6B14-40F1-88E8-69C5C2BF46A0}"/>
              </a:ext>
            </a:extLst>
          </p:cNvPr>
          <p:cNvSpPr txBox="1"/>
          <p:nvPr/>
        </p:nvSpPr>
        <p:spPr>
          <a:xfrm>
            <a:off x="139603" y="637794"/>
            <a:ext cx="8229600" cy="2246769"/>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xample: the Mean Deviation of 3, 6, 6, 7, 8, 11, 15, 16</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1 : Find the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2 : Find the distance of each value from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	</a:t>
            </a:r>
            <a:r>
              <a:rPr lang="en-US" sz="1800" b="1" i="1" dirty="0">
                <a:solidFill>
                  <a:schemeClr val="bg2">
                    <a:lumMod val="50000"/>
                    <a:lumOff val="50000"/>
                  </a:schemeClr>
                </a:solidFill>
                <a:latin typeface="+mn-lt"/>
              </a:rPr>
              <a:t>Which looks like :  </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2C18772C-952A-41C0-AA17-DDB5486D696E}"/>
              </a:ext>
            </a:extLst>
          </p:cNvPr>
          <p:cNvPicPr>
            <a:picLocks noChangeAspect="1"/>
          </p:cNvPicPr>
          <p:nvPr/>
        </p:nvPicPr>
        <p:blipFill>
          <a:blip r:embed="rId2"/>
          <a:stretch>
            <a:fillRect/>
          </a:stretch>
        </p:blipFill>
        <p:spPr>
          <a:xfrm>
            <a:off x="7017017" y="719932"/>
            <a:ext cx="1676119" cy="2248427"/>
          </a:xfrm>
          <a:prstGeom prst="rect">
            <a:avLst/>
          </a:prstGeom>
        </p:spPr>
      </p:pic>
      <p:pic>
        <p:nvPicPr>
          <p:cNvPr id="8" name="Picture 7">
            <a:extLst>
              <a:ext uri="{FF2B5EF4-FFF2-40B4-BE49-F238E27FC236}">
                <a16:creationId xmlns:a16="http://schemas.microsoft.com/office/drawing/2014/main" id="{8B3BB222-15D4-4D90-87BE-DC4A27AF5518}"/>
              </a:ext>
            </a:extLst>
          </p:cNvPr>
          <p:cNvPicPr>
            <a:picLocks noChangeAspect="1"/>
          </p:cNvPicPr>
          <p:nvPr/>
        </p:nvPicPr>
        <p:blipFill>
          <a:blip r:embed="rId3"/>
          <a:stretch>
            <a:fillRect/>
          </a:stretch>
        </p:blipFill>
        <p:spPr>
          <a:xfrm>
            <a:off x="1146671" y="2733363"/>
            <a:ext cx="5658979" cy="1683827"/>
          </a:xfrm>
          <a:prstGeom prst="rect">
            <a:avLst/>
          </a:prstGeom>
        </p:spPr>
      </p:pic>
    </p:spTree>
    <p:extLst>
      <p:ext uri="{BB962C8B-B14F-4D97-AF65-F5344CB8AC3E}">
        <p14:creationId xmlns:p14="http://schemas.microsoft.com/office/powerpoint/2010/main" val="1775430889"/>
      </p:ext>
    </p:extLst>
  </p:cSld>
  <p:clrMapOvr>
    <a:masterClrMapping/>
  </p:clrMapOvr>
  <p:transition spd="med">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23591-2BA9-4893-BBCB-23008C088B94}"/>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189569A4-57DB-4D58-AAEC-08366E824698}"/>
              </a:ext>
            </a:extLst>
          </p:cNvPr>
          <p:cNvSpPr txBox="1"/>
          <p:nvPr/>
        </p:nvSpPr>
        <p:spPr>
          <a:xfrm>
            <a:off x="97723" y="571202"/>
            <a:ext cx="8229600" cy="1785104"/>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Step 3 : Find the mean of those distances : </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400" b="1" i="0" dirty="0">
                <a:solidFill>
                  <a:schemeClr val="bg2">
                    <a:lumMod val="50000"/>
                    <a:lumOff val="50000"/>
                  </a:schemeClr>
                </a:solidFill>
                <a:effectLst/>
                <a:latin typeface="Verdana" panose="020B0604030504040204" pitchFamily="34" charset="0"/>
              </a:rPr>
              <a:t>Mean Deviation</a:t>
            </a:r>
            <a:r>
              <a:rPr lang="en-US" sz="1400" b="0" i="0" dirty="0">
                <a:solidFill>
                  <a:schemeClr val="bg2">
                    <a:lumMod val="50000"/>
                    <a:lumOff val="50000"/>
                  </a:schemeClr>
                </a:solidFill>
                <a:effectLst/>
                <a:latin typeface="Verdana" panose="020B0604030504040204" pitchFamily="34" charset="0"/>
              </a:rPr>
              <a:t> =  </a:t>
            </a:r>
            <a:r>
              <a:rPr lang="en-US" sz="1400" b="0" i="1" dirty="0">
                <a:solidFill>
                  <a:schemeClr val="bg2">
                    <a:lumMod val="50000"/>
                    <a:lumOff val="50000"/>
                  </a:schemeClr>
                </a:solidFill>
                <a:effectLst/>
                <a:latin typeface="Verdana" panose="020B0604030504040204" pitchFamily="34" charset="0"/>
              </a:rPr>
              <a:t>6 + 3 + 3 + </a:t>
            </a:r>
            <a:r>
              <a:rPr lang="en-US" sz="1400" i="1" dirty="0">
                <a:solidFill>
                  <a:schemeClr val="bg2">
                    <a:lumMod val="50000"/>
                    <a:lumOff val="50000"/>
                  </a:schemeClr>
                </a:solidFill>
                <a:effectLst/>
                <a:latin typeface="Verdana" panose="020B0604030504040204" pitchFamily="34" charset="0"/>
              </a:rPr>
              <a:t>2 + 1 + 2 + 6 + 7</a:t>
            </a:r>
            <a:r>
              <a:rPr lang="en-US" sz="1400" i="0" dirty="0">
                <a:solidFill>
                  <a:schemeClr val="bg2">
                    <a:lumMod val="50000"/>
                    <a:lumOff val="50000"/>
                  </a:schemeClr>
                </a:solidFill>
                <a:effectLst/>
                <a:latin typeface="Verdana" panose="020B0604030504040204" pitchFamily="34" charset="0"/>
              </a:rPr>
              <a:t>8  =  </a:t>
            </a:r>
            <a:r>
              <a:rPr lang="en-US" sz="1400" i="1" dirty="0">
                <a:solidFill>
                  <a:schemeClr val="bg2">
                    <a:lumMod val="50000"/>
                    <a:lumOff val="50000"/>
                  </a:schemeClr>
                </a:solidFill>
                <a:effectLst/>
                <a:latin typeface="Verdana" panose="020B0604030504040204" pitchFamily="34" charset="0"/>
              </a:rPr>
              <a:t>30</a:t>
            </a:r>
            <a:r>
              <a:rPr lang="en-US" sz="1400" i="0" dirty="0">
                <a:solidFill>
                  <a:schemeClr val="bg2">
                    <a:lumMod val="50000"/>
                    <a:lumOff val="50000"/>
                  </a:schemeClr>
                </a:solidFill>
                <a:effectLst/>
                <a:latin typeface="Verdana" panose="020B0604030504040204" pitchFamily="34" charset="0"/>
              </a:rPr>
              <a:t>8  = 3.75</a:t>
            </a: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Verdana" panose="020B0604030504040204" pitchFamily="34" charset="0"/>
              </a:rPr>
              <a:t>So, the mean = 9, and the mean deviation = 3.75</a:t>
            </a:r>
            <a:endParaRPr lang="en-US" sz="1800" dirty="0">
              <a:solidFill>
                <a:schemeClr val="bg2">
                  <a:lumMod val="50000"/>
                  <a:lumOff val="50000"/>
                </a:schemeClr>
              </a:solidFill>
              <a:latin typeface="+mn-lt"/>
            </a:endParaRPr>
          </a:p>
        </p:txBody>
      </p:sp>
      <p:sp>
        <p:nvSpPr>
          <p:cNvPr id="4" name="TextBox 3">
            <a:extLst>
              <a:ext uri="{FF2B5EF4-FFF2-40B4-BE49-F238E27FC236}">
                <a16:creationId xmlns:a16="http://schemas.microsoft.com/office/drawing/2014/main" id="{7BA168E8-C891-4961-BA65-96DC95B11E16}"/>
              </a:ext>
            </a:extLst>
          </p:cNvPr>
          <p:cNvSpPr txBox="1"/>
          <p:nvPr/>
        </p:nvSpPr>
        <p:spPr>
          <a:xfrm>
            <a:off x="97723" y="2673399"/>
            <a:ext cx="7524604" cy="1846659"/>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1"/>
                </a:solidFill>
                <a:latin typeface="+mj-lt"/>
                <a:cs typeface="+mj-cs"/>
              </a:rPr>
              <a:t>What does Mean Deviation say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t tells us how far, on average, all values are from the middle.</a:t>
            </a: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n that example the values are, on average, 3.75 away from the middle</a:t>
            </a:r>
          </a:p>
          <a:p>
            <a:pPr>
              <a:spcBef>
                <a:spcPts val="0"/>
              </a:spcBef>
              <a:spcAft>
                <a:spcPts val="0"/>
              </a:spcAft>
              <a:buClr>
                <a:schemeClr val="bg1"/>
              </a:buClr>
            </a:pPr>
            <a:endParaRPr lang="en-US" sz="1400" dirty="0" err="1">
              <a:solidFill>
                <a:schemeClr val="bg2"/>
              </a:solidFill>
              <a:latin typeface="+mn-lt"/>
            </a:endParaRPr>
          </a:p>
        </p:txBody>
      </p:sp>
      <p:sp>
        <p:nvSpPr>
          <p:cNvPr id="5" name="Rectangle 4">
            <a:extLst>
              <a:ext uri="{FF2B5EF4-FFF2-40B4-BE49-F238E27FC236}">
                <a16:creationId xmlns:a16="http://schemas.microsoft.com/office/drawing/2014/main" id="{5FC14057-7159-4E30-ABC8-355D937DF3A5}"/>
              </a:ext>
            </a:extLst>
          </p:cNvPr>
          <p:cNvSpPr/>
          <p:nvPr/>
        </p:nvSpPr>
        <p:spPr>
          <a:xfrm>
            <a:off x="97723" y="2673399"/>
            <a:ext cx="8948554" cy="1668256"/>
          </a:xfrm>
          <a:prstGeom prst="rect">
            <a:avLst/>
          </a:prstGeom>
          <a:noFill/>
          <a:ln w="28575"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206333337"/>
      </p:ext>
    </p:extLst>
  </p:cSld>
  <p:clrMapOvr>
    <a:masterClrMapping/>
  </p:clrMapOvr>
  <p:transition spd="med">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5446A-7FBF-4270-B3F9-3C9E47FD1AB0}"/>
              </a:ext>
            </a:extLst>
          </p:cNvPr>
          <p:cNvSpPr>
            <a:spLocks noGrp="1"/>
          </p:cNvSpPr>
          <p:nvPr>
            <p:ph type="title"/>
          </p:nvPr>
        </p:nvSpPr>
        <p:spPr>
          <a:xfrm>
            <a:off x="0" y="0"/>
            <a:ext cx="8229600" cy="637794"/>
          </a:xfrm>
        </p:spPr>
        <p:txBody>
          <a:bodyPr/>
          <a:lstStyle/>
          <a:p>
            <a:r>
              <a:rPr lang="en-US" dirty="0"/>
              <a:t>Mean Deviation - Formula</a:t>
            </a:r>
          </a:p>
        </p:txBody>
      </p:sp>
      <p:sp>
        <p:nvSpPr>
          <p:cNvPr id="3" name="TextBox 2">
            <a:extLst>
              <a:ext uri="{FF2B5EF4-FFF2-40B4-BE49-F238E27FC236}">
                <a16:creationId xmlns:a16="http://schemas.microsoft.com/office/drawing/2014/main" id="{6D3F6156-DC35-41C3-BD79-96AB55011EF8}"/>
              </a:ext>
            </a:extLst>
          </p:cNvPr>
          <p:cNvSpPr txBox="1"/>
          <p:nvPr/>
        </p:nvSpPr>
        <p:spPr>
          <a:xfrm>
            <a:off x="160543" y="637794"/>
            <a:ext cx="8725191" cy="3077766"/>
          </a:xfrm>
          <a:prstGeom prst="rect">
            <a:avLst/>
          </a:prstGeom>
          <a:noFill/>
        </p:spPr>
        <p:txBody>
          <a:bodyPr wrap="square" rtlCol="0">
            <a:spAutoFit/>
          </a:bodyPr>
          <a:lstStyle/>
          <a:p>
            <a:pPr algn="l"/>
            <a:r>
              <a:rPr lang="en-US" sz="1800" dirty="0">
                <a:solidFill>
                  <a:schemeClr val="bg2">
                    <a:lumMod val="50000"/>
                    <a:lumOff val="50000"/>
                  </a:schemeClr>
                </a:solidFill>
                <a:latin typeface="+mn-lt"/>
              </a:rPr>
              <a:t>The formula is:</a:t>
            </a: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marL="285750" indent="-285750" algn="l">
              <a:buFont typeface="Arial" panose="020B0604020202020204" pitchFamily="34" charset="0"/>
              <a:buChar char="•"/>
            </a:pPr>
            <a:r>
              <a:rPr lang="en-US" sz="1800" dirty="0">
                <a:solidFill>
                  <a:schemeClr val="bg2">
                    <a:lumMod val="50000"/>
                    <a:lumOff val="50000"/>
                  </a:schemeClr>
                </a:solidFill>
                <a:latin typeface="+mn-lt"/>
              </a:rPr>
              <a:t>Σ is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Sigma</a:t>
            </a:r>
            <a:r>
              <a:rPr lang="en-US" sz="1800" dirty="0">
                <a:solidFill>
                  <a:schemeClr val="bg2">
                    <a:lumMod val="50000"/>
                    <a:lumOff val="50000"/>
                  </a:schemeClr>
                </a:solidFill>
                <a:latin typeface="+mn-lt"/>
              </a:rPr>
              <a:t>, which means to sum up</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 (the vertical bars) mean </a:t>
            </a:r>
            <a:r>
              <a:rPr lang="en-US" sz="1800" dirty="0">
                <a:solidFill>
                  <a:schemeClr val="bg2">
                    <a:lumMod val="50000"/>
                    <a:lumOff val="50000"/>
                  </a:schemeClr>
                </a:solidFill>
                <a:latin typeface="+mn-lt"/>
                <a:hlinkClick r:id="rId3">
                  <a:extLst>
                    <a:ext uri="{A12FA001-AC4F-418D-AE19-62706E023703}">
                      <ahyp:hlinkClr xmlns:ahyp="http://schemas.microsoft.com/office/drawing/2018/hyperlinkcolor" val="tx"/>
                    </a:ext>
                  </a:extLst>
                </a:hlinkClick>
              </a:rPr>
              <a:t>Absolute Value</a:t>
            </a:r>
            <a:r>
              <a:rPr lang="en-US" sz="1800" dirty="0">
                <a:solidFill>
                  <a:schemeClr val="bg2">
                    <a:lumMod val="50000"/>
                    <a:lumOff val="50000"/>
                  </a:schemeClr>
                </a:solidFill>
                <a:latin typeface="+mn-lt"/>
              </a:rPr>
              <a:t>, basically to ignore minus signs</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x is each value (such as 3 or 16)</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μ is the mean (in our example μ = 9)</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N is the number of values (in our example N = 8)</a:t>
            </a:r>
          </a:p>
          <a:p>
            <a:pPr>
              <a:spcBef>
                <a:spcPts val="0"/>
              </a:spcBef>
              <a:spcAft>
                <a:spcPts val="0"/>
              </a:spcAft>
              <a:buClr>
                <a:schemeClr val="bg1"/>
              </a:buClr>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B12533B2-36D3-4DB7-AA9E-F31226F4C8E3}"/>
              </a:ext>
            </a:extLst>
          </p:cNvPr>
          <p:cNvPicPr>
            <a:picLocks noChangeAspect="1"/>
          </p:cNvPicPr>
          <p:nvPr/>
        </p:nvPicPr>
        <p:blipFill>
          <a:blip r:embed="rId4"/>
          <a:stretch>
            <a:fillRect/>
          </a:stretch>
        </p:blipFill>
        <p:spPr>
          <a:xfrm>
            <a:off x="2143271" y="1015177"/>
            <a:ext cx="2714915" cy="769032"/>
          </a:xfrm>
          <a:prstGeom prst="rect">
            <a:avLst/>
          </a:prstGeom>
        </p:spPr>
      </p:pic>
      <p:sp>
        <p:nvSpPr>
          <p:cNvPr id="7" name="TextBox 6">
            <a:extLst>
              <a:ext uri="{FF2B5EF4-FFF2-40B4-BE49-F238E27FC236}">
                <a16:creationId xmlns:a16="http://schemas.microsoft.com/office/drawing/2014/main" id="{72CE07EA-D6D8-4715-8606-26366D32D3E3}"/>
              </a:ext>
            </a:extLst>
          </p:cNvPr>
          <p:cNvSpPr txBox="1"/>
          <p:nvPr/>
        </p:nvSpPr>
        <p:spPr>
          <a:xfrm>
            <a:off x="160543" y="3797203"/>
            <a:ext cx="8069057" cy="523220"/>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Note : </a:t>
            </a:r>
            <a:r>
              <a:rPr lang="en-US" sz="1400" i="1" dirty="0">
                <a:solidFill>
                  <a:schemeClr val="bg2">
                    <a:lumMod val="50000"/>
                    <a:lumOff val="50000"/>
                  </a:schemeClr>
                </a:solidFill>
                <a:latin typeface="+mn-lt"/>
              </a:rPr>
              <a:t>The “</a:t>
            </a:r>
            <a:r>
              <a:rPr lang="en-US" sz="1400" b="1" i="1" dirty="0">
                <a:solidFill>
                  <a:schemeClr val="bg2">
                    <a:lumMod val="50000"/>
                    <a:lumOff val="50000"/>
                  </a:schemeClr>
                </a:solidFill>
                <a:latin typeface="+mn-lt"/>
              </a:rPr>
              <a:t>Mean Deviation” </a:t>
            </a:r>
            <a:r>
              <a:rPr lang="en-US" sz="1400" i="1" dirty="0">
                <a:solidFill>
                  <a:schemeClr val="bg2">
                    <a:lumMod val="50000"/>
                    <a:lumOff val="50000"/>
                  </a:schemeClr>
                </a:solidFill>
                <a:latin typeface="+mn-lt"/>
              </a:rPr>
              <a:t>is sometimes called the </a:t>
            </a:r>
            <a:r>
              <a:rPr lang="en-US" sz="1400" b="1" i="1" dirty="0">
                <a:solidFill>
                  <a:schemeClr val="bg2">
                    <a:lumMod val="50000"/>
                    <a:lumOff val="50000"/>
                  </a:schemeClr>
                </a:solidFill>
                <a:latin typeface="+mn-lt"/>
              </a:rPr>
              <a:t>“Mean Absolute Deviation”</a:t>
            </a:r>
            <a:r>
              <a:rPr lang="en-US" sz="1400" i="1" dirty="0">
                <a:solidFill>
                  <a:schemeClr val="bg2">
                    <a:lumMod val="50000"/>
                    <a:lumOff val="50000"/>
                  </a:schemeClr>
                </a:solidFill>
                <a:latin typeface="+mn-lt"/>
              </a:rPr>
              <a:t> (MAD) because it is the mean of the absolute deviations</a:t>
            </a:r>
          </a:p>
        </p:txBody>
      </p:sp>
    </p:spTree>
    <p:extLst>
      <p:ext uri="{BB962C8B-B14F-4D97-AF65-F5344CB8AC3E}">
        <p14:creationId xmlns:p14="http://schemas.microsoft.com/office/powerpoint/2010/main" val="4202863261"/>
      </p:ext>
    </p:extLst>
  </p:cSld>
  <p:clrMapOvr>
    <a:masterClrMapping/>
  </p:clrMapOvr>
  <p:transition spd="med">
    <p:wipe dir="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63DDC-6903-4E07-98B9-95FDD97BD569}"/>
              </a:ext>
            </a:extLst>
          </p:cNvPr>
          <p:cNvSpPr>
            <a:spLocks noGrp="1"/>
          </p:cNvSpPr>
          <p:nvPr>
            <p:ph type="title"/>
          </p:nvPr>
        </p:nvSpPr>
        <p:spPr>
          <a:xfrm>
            <a:off x="0" y="0"/>
            <a:ext cx="8229600" cy="637794"/>
          </a:xfrm>
        </p:spPr>
        <p:txBody>
          <a:bodyPr/>
          <a:lstStyle/>
          <a:p>
            <a:r>
              <a:rPr lang="en-US" dirty="0"/>
              <a:t>Mean Deviation – Real life example </a:t>
            </a:r>
          </a:p>
        </p:txBody>
      </p:sp>
      <p:sp>
        <p:nvSpPr>
          <p:cNvPr id="3" name="TextBox 2">
            <a:extLst>
              <a:ext uri="{FF2B5EF4-FFF2-40B4-BE49-F238E27FC236}">
                <a16:creationId xmlns:a16="http://schemas.microsoft.com/office/drawing/2014/main" id="{64CEE453-977A-4B43-8454-41EFE9BF1B1F}"/>
              </a:ext>
            </a:extLst>
          </p:cNvPr>
          <p:cNvSpPr txBox="1"/>
          <p:nvPr/>
        </p:nvSpPr>
        <p:spPr>
          <a:xfrm>
            <a:off x="216385" y="579353"/>
            <a:ext cx="8159798" cy="289310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 </a:t>
            </a:r>
            <a:r>
              <a:rPr lang="en-US" sz="1400" dirty="0">
                <a:solidFill>
                  <a:schemeClr val="bg2">
                    <a:lumMod val="50000"/>
                    <a:lumOff val="50000"/>
                  </a:schemeClr>
                </a:solidFill>
                <a:latin typeface="+mn-lt"/>
              </a:rPr>
              <a:t>A group of friends have just measured the heights of their dogs ( in millimeters) </a:t>
            </a:r>
          </a:p>
          <a:p>
            <a:pPr>
              <a:spcBef>
                <a:spcPts val="0"/>
              </a:spcBef>
              <a:spcAft>
                <a:spcPts val="0"/>
              </a:spcAft>
              <a:buClr>
                <a:schemeClr val="bg1"/>
              </a:buCl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latin typeface="+mn-lt"/>
              </a:rPr>
              <a:t>The heights at shoulders are : 600mm, 470mm, 170mm, 430mm and 300mm</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1 : </a:t>
            </a:r>
            <a:r>
              <a:rPr lang="en-US" sz="1400" dirty="0">
                <a:solidFill>
                  <a:schemeClr val="bg2">
                    <a:lumMod val="50000"/>
                    <a:lumOff val="50000"/>
                  </a:schemeClr>
                </a:solidFill>
                <a:latin typeface="+mn-lt"/>
              </a:rPr>
              <a:t>Find </a:t>
            </a:r>
            <a:r>
              <a:rPr lang="en-US" sz="1400" b="1" dirty="0">
                <a:solidFill>
                  <a:schemeClr val="bg2">
                    <a:lumMod val="50000"/>
                    <a:lumOff val="50000"/>
                  </a:schemeClr>
                </a:solidFill>
                <a:latin typeface="+mn-lt"/>
              </a:rPr>
              <a:t>mean </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2 : </a:t>
            </a:r>
            <a:r>
              <a:rPr lang="en-US" sz="1400" dirty="0">
                <a:solidFill>
                  <a:schemeClr val="bg2">
                    <a:lumMod val="50000"/>
                    <a:lumOff val="50000"/>
                  </a:schemeClr>
                </a:solidFill>
                <a:latin typeface="+mn-lt"/>
              </a:rPr>
              <a:t>Find the </a:t>
            </a:r>
            <a:r>
              <a:rPr lang="en-US" sz="1400" b="1" dirty="0">
                <a:solidFill>
                  <a:schemeClr val="bg2">
                    <a:lumMod val="50000"/>
                    <a:lumOff val="50000"/>
                  </a:schemeClr>
                </a:solidFill>
                <a:latin typeface="+mn-lt"/>
              </a:rPr>
              <a:t>absolute Deviations</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959516F1-D246-4E8C-A73E-475C71B1491B}"/>
              </a:ext>
            </a:extLst>
          </p:cNvPr>
          <p:cNvPicPr>
            <a:picLocks noChangeAspect="1"/>
          </p:cNvPicPr>
          <p:nvPr/>
        </p:nvPicPr>
        <p:blipFill>
          <a:blip r:embed="rId2"/>
          <a:stretch>
            <a:fillRect/>
          </a:stretch>
        </p:blipFill>
        <p:spPr>
          <a:xfrm>
            <a:off x="5916553" y="2812641"/>
            <a:ext cx="2230667" cy="1919030"/>
          </a:xfrm>
          <a:prstGeom prst="rect">
            <a:avLst/>
          </a:prstGeom>
        </p:spPr>
      </p:pic>
    </p:spTree>
    <p:extLst>
      <p:ext uri="{BB962C8B-B14F-4D97-AF65-F5344CB8AC3E}">
        <p14:creationId xmlns:p14="http://schemas.microsoft.com/office/powerpoint/2010/main" val="4012045956"/>
      </p:ext>
    </p:extLst>
  </p:cSld>
  <p:clrMapOvr>
    <a:masterClrMapping/>
  </p:clrMapOvr>
  <p:transition spd="med">
    <p:wipe dir="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0F8C7-2815-423B-9CFE-F3DB4C4B33CF}"/>
              </a:ext>
            </a:extLst>
          </p:cNvPr>
          <p:cNvSpPr>
            <a:spLocks noGrp="1"/>
          </p:cNvSpPr>
          <p:nvPr>
            <p:ph type="title"/>
          </p:nvPr>
        </p:nvSpPr>
        <p:spPr>
          <a:xfrm>
            <a:off x="0" y="0"/>
            <a:ext cx="8229600" cy="637794"/>
          </a:xfrm>
        </p:spPr>
        <p:txBody>
          <a:bodyPr/>
          <a:lstStyle/>
          <a:p>
            <a:r>
              <a:rPr lang="en-US" dirty="0"/>
              <a:t>Mean Deviation – Ex continued</a:t>
            </a:r>
          </a:p>
        </p:txBody>
      </p:sp>
      <p:pic>
        <p:nvPicPr>
          <p:cNvPr id="4" name="Picture 3">
            <a:extLst>
              <a:ext uri="{FF2B5EF4-FFF2-40B4-BE49-F238E27FC236}">
                <a16:creationId xmlns:a16="http://schemas.microsoft.com/office/drawing/2014/main" id="{2684BAC9-2977-493F-A4C0-32B4E221651D}"/>
              </a:ext>
            </a:extLst>
          </p:cNvPr>
          <p:cNvPicPr>
            <a:picLocks noChangeAspect="1"/>
          </p:cNvPicPr>
          <p:nvPr/>
        </p:nvPicPr>
        <p:blipFill>
          <a:blip r:embed="rId2"/>
          <a:stretch>
            <a:fillRect/>
          </a:stretch>
        </p:blipFill>
        <p:spPr>
          <a:xfrm>
            <a:off x="1400866" y="461163"/>
            <a:ext cx="4748649" cy="1563833"/>
          </a:xfrm>
          <a:prstGeom prst="rect">
            <a:avLst/>
          </a:prstGeom>
        </p:spPr>
      </p:pic>
      <p:sp>
        <p:nvSpPr>
          <p:cNvPr id="5" name="TextBox 4">
            <a:extLst>
              <a:ext uri="{FF2B5EF4-FFF2-40B4-BE49-F238E27FC236}">
                <a16:creationId xmlns:a16="http://schemas.microsoft.com/office/drawing/2014/main" id="{4CE2C01F-5298-4DEC-97A3-7B7C756EFFAE}"/>
              </a:ext>
            </a:extLst>
          </p:cNvPr>
          <p:cNvSpPr txBox="1"/>
          <p:nvPr/>
        </p:nvSpPr>
        <p:spPr>
          <a:xfrm>
            <a:off x="439750" y="2324391"/>
            <a:ext cx="5709765"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Step 3 : </a:t>
            </a:r>
            <a:r>
              <a:rPr lang="en-US" sz="1400" dirty="0">
                <a:solidFill>
                  <a:schemeClr val="bg2">
                    <a:lumMod val="50000"/>
                    <a:lumOff val="50000"/>
                  </a:schemeClr>
                </a:solidFill>
                <a:latin typeface="+mn-lt"/>
              </a:rPr>
              <a:t>find the Mean Deviation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err="1">
              <a:solidFill>
                <a:schemeClr val="bg2"/>
              </a:solidFill>
              <a:latin typeface="+mn-lt"/>
            </a:endParaRPr>
          </a:p>
        </p:txBody>
      </p:sp>
      <p:pic>
        <p:nvPicPr>
          <p:cNvPr id="7" name="Picture 6">
            <a:extLst>
              <a:ext uri="{FF2B5EF4-FFF2-40B4-BE49-F238E27FC236}">
                <a16:creationId xmlns:a16="http://schemas.microsoft.com/office/drawing/2014/main" id="{BED417EC-550A-4790-A918-98F4535E60BC}"/>
              </a:ext>
            </a:extLst>
          </p:cNvPr>
          <p:cNvPicPr>
            <a:picLocks noChangeAspect="1"/>
          </p:cNvPicPr>
          <p:nvPr/>
        </p:nvPicPr>
        <p:blipFill>
          <a:blip r:embed="rId3"/>
          <a:stretch>
            <a:fillRect/>
          </a:stretch>
        </p:blipFill>
        <p:spPr>
          <a:xfrm>
            <a:off x="1146745" y="2689879"/>
            <a:ext cx="6124575" cy="857250"/>
          </a:xfrm>
          <a:prstGeom prst="rect">
            <a:avLst/>
          </a:prstGeom>
        </p:spPr>
      </p:pic>
      <p:sp>
        <p:nvSpPr>
          <p:cNvPr id="8" name="TextBox 7">
            <a:extLst>
              <a:ext uri="{FF2B5EF4-FFF2-40B4-BE49-F238E27FC236}">
                <a16:creationId xmlns:a16="http://schemas.microsoft.com/office/drawing/2014/main" id="{3C987945-4DA9-48F4-89A9-BA2AEE0435B6}"/>
              </a:ext>
            </a:extLst>
          </p:cNvPr>
          <p:cNvSpPr txBox="1"/>
          <p:nvPr/>
        </p:nvSpPr>
        <p:spPr>
          <a:xfrm>
            <a:off x="349008" y="3776263"/>
            <a:ext cx="6707926" cy="261610"/>
          </a:xfrm>
          <a:prstGeom prst="rect">
            <a:avLst/>
          </a:prstGeom>
          <a:noFill/>
        </p:spPr>
        <p:txBody>
          <a:bodyPr wrap="square" rtlCol="0">
            <a:spAutoFit/>
          </a:bodyPr>
          <a:lstStyle/>
          <a:p>
            <a:pPr>
              <a:spcBef>
                <a:spcPts val="0"/>
              </a:spcBef>
              <a:spcAft>
                <a:spcPts val="0"/>
              </a:spcAft>
              <a:buClr>
                <a:schemeClr val="bg1"/>
              </a:buClr>
            </a:pPr>
            <a:r>
              <a:rPr lang="en-US" sz="1100" i="0" dirty="0">
                <a:solidFill>
                  <a:schemeClr val="bg2">
                    <a:lumMod val="50000"/>
                    <a:lumOff val="50000"/>
                  </a:schemeClr>
                </a:solidFill>
                <a:effectLst/>
                <a:latin typeface="Verdana" panose="020B0604030504040204" pitchFamily="34" charset="0"/>
              </a:rPr>
              <a:t>So, on average, the dogs' heights are </a:t>
            </a:r>
            <a:r>
              <a:rPr lang="en-US" sz="1100" b="1" i="0" dirty="0">
                <a:solidFill>
                  <a:schemeClr val="bg2">
                    <a:lumMod val="50000"/>
                    <a:lumOff val="50000"/>
                  </a:schemeClr>
                </a:solidFill>
                <a:effectLst/>
                <a:latin typeface="Verdana" panose="020B0604030504040204" pitchFamily="34" charset="0"/>
              </a:rPr>
              <a:t>127.2 mm from the mean</a:t>
            </a:r>
            <a:endParaRPr lang="en-US" sz="1400" dirty="0">
              <a:solidFill>
                <a:schemeClr val="bg2">
                  <a:lumMod val="50000"/>
                  <a:lumOff val="50000"/>
                </a:schemeClr>
              </a:solidFill>
              <a:latin typeface="+mn-lt"/>
            </a:endParaRPr>
          </a:p>
        </p:txBody>
      </p:sp>
    </p:spTree>
    <p:extLst>
      <p:ext uri="{BB962C8B-B14F-4D97-AF65-F5344CB8AC3E}">
        <p14:creationId xmlns:p14="http://schemas.microsoft.com/office/powerpoint/2010/main" val="399566643"/>
      </p:ext>
    </p:extLst>
  </p:cSld>
  <p:clrMapOvr>
    <a:masterClrMapping/>
  </p:clrMapOvr>
  <p:transition spd="med">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89719-CCE8-4F09-B981-E32155DA1634}"/>
              </a:ext>
            </a:extLst>
          </p:cNvPr>
          <p:cNvSpPr>
            <a:spLocks noGrp="1"/>
          </p:cNvSpPr>
          <p:nvPr>
            <p:ph type="title"/>
          </p:nvPr>
        </p:nvSpPr>
        <p:spPr>
          <a:xfrm>
            <a:off x="0" y="0"/>
            <a:ext cx="8229600" cy="637794"/>
          </a:xfrm>
        </p:spPr>
        <p:txBody>
          <a:bodyPr/>
          <a:lstStyle/>
          <a:p>
            <a:r>
              <a:rPr lang="en-US" dirty="0"/>
              <a:t>Mean Deviation – A useful check</a:t>
            </a:r>
          </a:p>
        </p:txBody>
      </p:sp>
      <p:sp>
        <p:nvSpPr>
          <p:cNvPr id="3" name="TextBox 2">
            <a:extLst>
              <a:ext uri="{FF2B5EF4-FFF2-40B4-BE49-F238E27FC236}">
                <a16:creationId xmlns:a16="http://schemas.microsoft.com/office/drawing/2014/main" id="{41132D9F-766F-4798-993F-23A0FC08EC07}"/>
              </a:ext>
            </a:extLst>
          </p:cNvPr>
          <p:cNvSpPr txBox="1"/>
          <p:nvPr/>
        </p:nvSpPr>
        <p:spPr>
          <a:xfrm>
            <a:off x="195444" y="637794"/>
            <a:ext cx="7692129" cy="2400657"/>
          </a:xfrm>
          <a:prstGeom prst="rect">
            <a:avLst/>
          </a:prstGeom>
          <a:noFill/>
        </p:spPr>
        <p:txBody>
          <a:bodyPr wrap="square" rtlCol="0">
            <a:spAutoFit/>
          </a:bodyPr>
          <a:lstStyle/>
          <a:p>
            <a:pPr algn="l"/>
            <a:r>
              <a:rPr lang="en-US" sz="1600" b="0" i="0" dirty="0">
                <a:solidFill>
                  <a:schemeClr val="bg2">
                    <a:lumMod val="50000"/>
                    <a:lumOff val="50000"/>
                  </a:schemeClr>
                </a:solidFill>
                <a:effectLst/>
                <a:latin typeface="Verdana" panose="020B0604030504040204" pitchFamily="34" charset="0"/>
              </a:rPr>
              <a:t>The deviations on </a:t>
            </a:r>
            <a:r>
              <a:rPr lang="en-US" sz="1600" b="1" i="0" dirty="0">
                <a:solidFill>
                  <a:schemeClr val="bg2">
                    <a:lumMod val="50000"/>
                    <a:lumOff val="50000"/>
                  </a:schemeClr>
                </a:solidFill>
                <a:effectLst/>
                <a:latin typeface="Verdana" panose="020B0604030504040204" pitchFamily="34" charset="0"/>
              </a:rPr>
              <a:t>one side</a:t>
            </a:r>
            <a:r>
              <a:rPr lang="en-US" sz="1600" b="0" i="0" dirty="0">
                <a:solidFill>
                  <a:schemeClr val="bg2">
                    <a:lumMod val="50000"/>
                    <a:lumOff val="50000"/>
                  </a:schemeClr>
                </a:solidFill>
                <a:effectLst/>
                <a:latin typeface="Verdana" panose="020B0604030504040204" pitchFamily="34" charset="0"/>
              </a:rPr>
              <a:t> of the mean should equal the deviations on the </a:t>
            </a:r>
            <a:r>
              <a:rPr lang="en-US" sz="1600" b="1" i="0" dirty="0">
                <a:solidFill>
                  <a:schemeClr val="bg2">
                    <a:lumMod val="50000"/>
                    <a:lumOff val="50000"/>
                  </a:schemeClr>
                </a:solidFill>
                <a:effectLst/>
                <a:latin typeface="Verdana" panose="020B0604030504040204" pitchFamily="34" charset="0"/>
              </a:rPr>
              <a:t>other side</a:t>
            </a:r>
            <a:r>
              <a:rPr lang="en-US" sz="1600" b="0" i="0" dirty="0">
                <a:solidFill>
                  <a:schemeClr val="bg2">
                    <a:lumMod val="50000"/>
                    <a:lumOff val="50000"/>
                  </a:schemeClr>
                </a:solidFill>
                <a:effectLst/>
                <a:latin typeface="Verdana" panose="020B0604030504040204" pitchFamily="34" charset="0"/>
              </a:rPr>
              <a:t>.</a:t>
            </a:r>
          </a:p>
          <a:p>
            <a:pPr algn="l"/>
            <a:r>
              <a:rPr lang="en-US" sz="1600" b="0" i="0" dirty="0">
                <a:solidFill>
                  <a:schemeClr val="bg2">
                    <a:lumMod val="50000"/>
                    <a:lumOff val="50000"/>
                  </a:schemeClr>
                </a:solidFill>
                <a:effectLst/>
                <a:latin typeface="Verdana" panose="020B0604030504040204" pitchFamily="34" charset="0"/>
              </a:rPr>
              <a:t>From our first example:</a:t>
            </a:r>
          </a:p>
          <a:p>
            <a:pPr algn="l"/>
            <a:endParaRPr lang="en-US" sz="1600" dirty="0">
              <a:solidFill>
                <a:schemeClr val="bg2">
                  <a:lumMod val="50000"/>
                  <a:lumOff val="50000"/>
                </a:schemeClr>
              </a:solidFill>
              <a:latin typeface="Verdana" panose="020B0604030504040204" pitchFamily="34" charset="0"/>
            </a:endParaRPr>
          </a:p>
          <a:p>
            <a:r>
              <a:rPr lang="en-US" sz="1200" b="0" i="0" dirty="0">
                <a:solidFill>
                  <a:schemeClr val="bg2">
                    <a:lumMod val="50000"/>
                    <a:lumOff val="50000"/>
                  </a:schemeClr>
                </a:solidFill>
                <a:effectLst/>
                <a:latin typeface="Verdana" panose="020B0604030504040204" pitchFamily="34" charset="0"/>
              </a:rPr>
              <a:t>Example: 3, 6, 6, 7, 8, 11, 15, 16</a:t>
            </a:r>
          </a:p>
          <a:p>
            <a:pPr algn="l"/>
            <a:endParaRPr lang="en-US" sz="1600" b="0" i="0" dirty="0">
              <a:solidFill>
                <a:schemeClr val="bg2">
                  <a:lumMod val="50000"/>
                  <a:lumOff val="50000"/>
                </a:schemeClr>
              </a:solidFill>
              <a:effectLst/>
              <a:latin typeface="Verdana" panose="020B0604030504040204" pitchFamily="34" charset="0"/>
            </a:endParaRPr>
          </a:p>
          <a:p>
            <a:pPr algn="l"/>
            <a:r>
              <a:rPr lang="en-US" sz="1200" b="0" i="0" dirty="0">
                <a:solidFill>
                  <a:schemeClr val="bg2">
                    <a:lumMod val="50000"/>
                    <a:lumOff val="50000"/>
                  </a:schemeClr>
                </a:solidFill>
                <a:effectLst/>
                <a:latin typeface="Verdana" panose="020B0604030504040204" pitchFamily="34" charset="0"/>
              </a:rPr>
              <a:t>The deviations are:</a:t>
            </a:r>
            <a:endParaRPr lang="en-US" sz="1600" dirty="0">
              <a:solidFill>
                <a:schemeClr val="bg2">
                  <a:lumMod val="50000"/>
                  <a:lumOff val="50000"/>
                </a:schemeClr>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369B5A84-C0D5-47C8-A231-D0A8C134B5C9}"/>
              </a:ext>
            </a:extLst>
          </p:cNvPr>
          <p:cNvPicPr>
            <a:picLocks noChangeAspect="1"/>
          </p:cNvPicPr>
          <p:nvPr/>
        </p:nvPicPr>
        <p:blipFill>
          <a:blip r:embed="rId2"/>
          <a:stretch>
            <a:fillRect/>
          </a:stretch>
        </p:blipFill>
        <p:spPr>
          <a:xfrm>
            <a:off x="691507" y="2448298"/>
            <a:ext cx="6846585" cy="1960685"/>
          </a:xfrm>
          <a:prstGeom prst="rect">
            <a:avLst/>
          </a:prstGeom>
        </p:spPr>
      </p:pic>
    </p:spTree>
    <p:extLst>
      <p:ext uri="{BB962C8B-B14F-4D97-AF65-F5344CB8AC3E}">
        <p14:creationId xmlns:p14="http://schemas.microsoft.com/office/powerpoint/2010/main" val="2909785245"/>
      </p:ext>
    </p:extLst>
  </p:cSld>
  <p:clrMapOvr>
    <a:masterClrMapping/>
  </p:clrMapOvr>
  <p:transition spd="med">
    <p:wipe dir="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7166426-5C59-4886-8DCD-BEF36302222C}"/>
              </a:ext>
            </a:extLst>
          </p:cNvPr>
          <p:cNvSpPr>
            <a:spLocks noGrp="1"/>
          </p:cNvSpPr>
          <p:nvPr>
            <p:ph type="title"/>
          </p:nvPr>
        </p:nvSpPr>
        <p:spPr>
          <a:xfrm>
            <a:off x="0" y="0"/>
            <a:ext cx="8229600" cy="637794"/>
          </a:xfrm>
        </p:spPr>
        <p:txBody>
          <a:bodyPr/>
          <a:lstStyle/>
          <a:p>
            <a:r>
              <a:rPr lang="en-US" dirty="0"/>
              <a:t>Mean Deviation – A useful check</a:t>
            </a:r>
          </a:p>
        </p:txBody>
      </p:sp>
      <p:sp>
        <p:nvSpPr>
          <p:cNvPr id="4" name="TextBox 3">
            <a:extLst>
              <a:ext uri="{FF2B5EF4-FFF2-40B4-BE49-F238E27FC236}">
                <a16:creationId xmlns:a16="http://schemas.microsoft.com/office/drawing/2014/main" id="{013FE25D-0A7C-4193-959C-38B6A985FB32}"/>
              </a:ext>
            </a:extLst>
          </p:cNvPr>
          <p:cNvSpPr txBox="1"/>
          <p:nvPr/>
        </p:nvSpPr>
        <p:spPr>
          <a:xfrm>
            <a:off x="219875" y="725937"/>
            <a:ext cx="7789850" cy="1846659"/>
          </a:xfrm>
          <a:prstGeom prst="rect">
            <a:avLst/>
          </a:prstGeom>
          <a:noFill/>
        </p:spPr>
        <p:txBody>
          <a:bodyPr wrap="square" rtlCol="0">
            <a:spAutoFit/>
          </a:bodyPr>
          <a:lstStyle/>
          <a:p>
            <a:pPr algn="l"/>
            <a:r>
              <a:rPr lang="en-US" sz="2000" b="0" i="0" dirty="0">
                <a:solidFill>
                  <a:schemeClr val="bg2">
                    <a:lumMod val="50000"/>
                    <a:lumOff val="50000"/>
                  </a:schemeClr>
                </a:solidFill>
                <a:effectLst/>
                <a:latin typeface="Verdana" panose="020B0604030504040204" pitchFamily="34" charset="0"/>
              </a:rPr>
              <a:t>Example: Dogs</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left of mean: 224 + 94 = </a:t>
            </a:r>
            <a:r>
              <a:rPr lang="en-US" sz="2000" b="1" i="0" dirty="0">
                <a:solidFill>
                  <a:schemeClr val="bg2">
                    <a:lumMod val="50000"/>
                    <a:lumOff val="50000"/>
                  </a:schemeClr>
                </a:solidFill>
                <a:effectLst/>
                <a:latin typeface="Verdana" panose="020B0604030504040204" pitchFamily="34" charset="0"/>
              </a:rPr>
              <a:t>318</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right of mean: 206 + 76 + 36 = </a:t>
            </a:r>
            <a:r>
              <a:rPr lang="en-US" sz="2000" b="1" i="0" dirty="0">
                <a:solidFill>
                  <a:schemeClr val="bg2">
                    <a:lumMod val="50000"/>
                    <a:lumOff val="50000"/>
                  </a:schemeClr>
                </a:solidFill>
                <a:effectLst/>
                <a:latin typeface="Verdana" panose="020B0604030504040204" pitchFamily="34" charset="0"/>
              </a:rPr>
              <a:t>318</a:t>
            </a:r>
            <a:endParaRPr lang="en-US" sz="20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56F994EE-7A03-4F69-85C5-BCFF19B3B248}"/>
              </a:ext>
            </a:extLst>
          </p:cNvPr>
          <p:cNvPicPr>
            <a:picLocks noChangeAspect="1"/>
          </p:cNvPicPr>
          <p:nvPr/>
        </p:nvPicPr>
        <p:blipFill>
          <a:blip r:embed="rId2"/>
          <a:stretch>
            <a:fillRect/>
          </a:stretch>
        </p:blipFill>
        <p:spPr>
          <a:xfrm>
            <a:off x="402704" y="2660739"/>
            <a:ext cx="4748649" cy="1563833"/>
          </a:xfrm>
          <a:prstGeom prst="rect">
            <a:avLst/>
          </a:prstGeom>
        </p:spPr>
      </p:pic>
      <p:sp>
        <p:nvSpPr>
          <p:cNvPr id="6" name="TextBox 5">
            <a:extLst>
              <a:ext uri="{FF2B5EF4-FFF2-40B4-BE49-F238E27FC236}">
                <a16:creationId xmlns:a16="http://schemas.microsoft.com/office/drawing/2014/main" id="{E9DACB1E-93D8-4B68-B0FE-167B63C7A201}"/>
              </a:ext>
            </a:extLst>
          </p:cNvPr>
          <p:cNvSpPr txBox="1"/>
          <p:nvPr/>
        </p:nvSpPr>
        <p:spPr>
          <a:xfrm>
            <a:off x="5681844" y="2987505"/>
            <a:ext cx="3141069" cy="1569660"/>
          </a:xfrm>
          <a:prstGeom prst="rect">
            <a:avLst/>
          </a:prstGeom>
          <a:noFill/>
        </p:spPr>
        <p:txBody>
          <a:bodyPr wrap="square" rtlCol="0">
            <a:spAutoFit/>
          </a:bodyPr>
          <a:lstStyle/>
          <a:p>
            <a:pPr>
              <a:spcBef>
                <a:spcPts val="0"/>
              </a:spcBef>
              <a:spcAft>
                <a:spcPts val="0"/>
              </a:spcAft>
              <a:buClr>
                <a:schemeClr val="bg1"/>
              </a:buClr>
            </a:pPr>
            <a:r>
              <a:rPr lang="en-US" b="0" i="0" dirty="0">
                <a:solidFill>
                  <a:schemeClr val="bg2">
                    <a:lumMod val="50000"/>
                    <a:lumOff val="50000"/>
                  </a:schemeClr>
                </a:solidFill>
                <a:effectLst/>
                <a:latin typeface="Verdana" panose="020B0604030504040204" pitchFamily="34" charset="0"/>
              </a:rPr>
              <a:t>If they are not equal ... you may have made a mistake!</a:t>
            </a:r>
            <a:endParaRPr lang="en-US" sz="3200" dirty="0">
              <a:solidFill>
                <a:schemeClr val="bg2">
                  <a:lumMod val="50000"/>
                  <a:lumOff val="50000"/>
                </a:schemeClr>
              </a:solidFill>
              <a:latin typeface="+mn-lt"/>
            </a:endParaRPr>
          </a:p>
        </p:txBody>
      </p:sp>
    </p:spTree>
    <p:extLst>
      <p:ext uri="{BB962C8B-B14F-4D97-AF65-F5344CB8AC3E}">
        <p14:creationId xmlns:p14="http://schemas.microsoft.com/office/powerpoint/2010/main" val="2913282969"/>
      </p:ext>
    </p:extLst>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846AE-501D-4355-A8E1-28F43339BBB6}"/>
              </a:ext>
            </a:extLst>
          </p:cNvPr>
          <p:cNvSpPr>
            <a:spLocks noGrp="1"/>
          </p:cNvSpPr>
          <p:nvPr>
            <p:ph type="title"/>
          </p:nvPr>
        </p:nvSpPr>
        <p:spPr/>
        <p:txBody>
          <a:bodyPr/>
          <a:lstStyle/>
          <a:p>
            <a:r>
              <a:rPr lang="en-US" dirty="0"/>
              <a:t>Quick exercise – Identify type of Data</a:t>
            </a:r>
          </a:p>
        </p:txBody>
      </p:sp>
      <p:pic>
        <p:nvPicPr>
          <p:cNvPr id="5" name="Picture 4">
            <a:extLst>
              <a:ext uri="{FF2B5EF4-FFF2-40B4-BE49-F238E27FC236}">
                <a16:creationId xmlns:a16="http://schemas.microsoft.com/office/drawing/2014/main" id="{28799CAD-4172-4A37-BF57-65BC88923644}"/>
              </a:ext>
            </a:extLst>
          </p:cNvPr>
          <p:cNvPicPr>
            <a:picLocks noChangeAspect="1"/>
          </p:cNvPicPr>
          <p:nvPr/>
        </p:nvPicPr>
        <p:blipFill>
          <a:blip r:embed="rId2"/>
          <a:stretch>
            <a:fillRect/>
          </a:stretch>
        </p:blipFill>
        <p:spPr>
          <a:xfrm>
            <a:off x="274319" y="1002708"/>
            <a:ext cx="8141239" cy="756290"/>
          </a:xfrm>
          <a:prstGeom prst="rect">
            <a:avLst/>
          </a:prstGeom>
        </p:spPr>
      </p:pic>
    </p:spTree>
    <p:extLst>
      <p:ext uri="{BB962C8B-B14F-4D97-AF65-F5344CB8AC3E}">
        <p14:creationId xmlns:p14="http://schemas.microsoft.com/office/powerpoint/2010/main" val="347885641"/>
      </p:ext>
    </p:extLst>
  </p:cSld>
  <p:clrMapOvr>
    <a:masterClrMapping/>
  </p:clrMapOvr>
  <p:transition spd="med">
    <p:wipe dir="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A5D55-9AAA-45E4-8915-A63077E621F6}"/>
              </a:ext>
            </a:extLst>
          </p:cNvPr>
          <p:cNvSpPr>
            <a:spLocks noGrp="1"/>
          </p:cNvSpPr>
          <p:nvPr>
            <p:ph type="title"/>
          </p:nvPr>
        </p:nvSpPr>
        <p:spPr>
          <a:xfrm>
            <a:off x="0" y="0"/>
            <a:ext cx="8229600" cy="637794"/>
          </a:xfrm>
        </p:spPr>
        <p:txBody>
          <a:bodyPr/>
          <a:lstStyle/>
          <a:p>
            <a:r>
              <a:rPr lang="en-US" dirty="0"/>
              <a:t>Standard Deviation</a:t>
            </a:r>
          </a:p>
        </p:txBody>
      </p:sp>
      <p:sp>
        <p:nvSpPr>
          <p:cNvPr id="3" name="TextBox 2">
            <a:extLst>
              <a:ext uri="{FF2B5EF4-FFF2-40B4-BE49-F238E27FC236}">
                <a16:creationId xmlns:a16="http://schemas.microsoft.com/office/drawing/2014/main" id="{8CB960C2-872D-4418-91E5-6829B760044F}"/>
              </a:ext>
            </a:extLst>
          </p:cNvPr>
          <p:cNvSpPr txBox="1"/>
          <p:nvPr/>
        </p:nvSpPr>
        <p:spPr>
          <a:xfrm>
            <a:off x="62820" y="572373"/>
            <a:ext cx="7629307" cy="1692771"/>
          </a:xfrm>
          <a:prstGeom prst="rect">
            <a:avLst/>
          </a:prstGeom>
          <a:noFill/>
        </p:spPr>
        <p:txBody>
          <a:bodyPr wrap="square" rtlCol="0">
            <a:spAutoFit/>
          </a:bodyPr>
          <a:lstStyle/>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Standard Deviation is a measure of how spread-out numbers are.</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Its symbol is </a:t>
            </a:r>
            <a:r>
              <a:rPr lang="en-US" sz="1800" b="1" i="0" dirty="0">
                <a:solidFill>
                  <a:schemeClr val="bg2">
                    <a:lumMod val="50000"/>
                    <a:lumOff val="50000"/>
                  </a:schemeClr>
                </a:solidFill>
                <a:effectLst/>
                <a:latin typeface="Verdana" panose="020B0604030504040204" pitchFamily="34" charset="0"/>
              </a:rPr>
              <a:t>σ</a:t>
            </a:r>
            <a:r>
              <a:rPr lang="en-US" sz="1800" b="0" i="0" dirty="0">
                <a:solidFill>
                  <a:schemeClr val="bg2">
                    <a:lumMod val="50000"/>
                    <a:lumOff val="50000"/>
                  </a:schemeClr>
                </a:solidFill>
                <a:effectLst/>
                <a:latin typeface="Verdana" panose="020B0604030504040204" pitchFamily="34" charset="0"/>
              </a:rPr>
              <a:t> (the </a:t>
            </a:r>
            <a:r>
              <a:rPr lang="en-US" sz="1800" b="0" i="0" dirty="0" err="1">
                <a:solidFill>
                  <a:schemeClr val="bg2">
                    <a:lumMod val="50000"/>
                    <a:lumOff val="50000"/>
                  </a:schemeClr>
                </a:solidFill>
                <a:effectLst/>
                <a:latin typeface="Verdana" panose="020B0604030504040204" pitchFamily="34" charset="0"/>
              </a:rPr>
              <a:t>greek</a:t>
            </a:r>
            <a:r>
              <a:rPr lang="en-US" sz="1800" b="0" i="0" dirty="0">
                <a:solidFill>
                  <a:schemeClr val="bg2">
                    <a:lumMod val="50000"/>
                    <a:lumOff val="50000"/>
                  </a:schemeClr>
                </a:solidFill>
                <a:effectLst/>
                <a:latin typeface="Verdana" panose="020B0604030504040204" pitchFamily="34" charset="0"/>
              </a:rPr>
              <a:t> letter sigma)</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formula is easy: it is the</a:t>
            </a:r>
            <a:r>
              <a:rPr lang="en-US" sz="1800" b="1" i="0" dirty="0">
                <a:solidFill>
                  <a:schemeClr val="bg2">
                    <a:lumMod val="50000"/>
                    <a:lumOff val="50000"/>
                  </a:schemeClr>
                </a:solidFill>
                <a:effectLst/>
                <a:latin typeface="Verdana" panose="020B0604030504040204" pitchFamily="34" charset="0"/>
              </a:rPr>
              <a:t> square root</a:t>
            </a:r>
            <a:r>
              <a:rPr lang="en-US" sz="1800" b="0" i="0" dirty="0">
                <a:solidFill>
                  <a:schemeClr val="bg2">
                    <a:lumMod val="50000"/>
                    <a:lumOff val="50000"/>
                  </a:schemeClr>
                </a:solidFill>
                <a:effectLst/>
                <a:latin typeface="Verdana" panose="020B0604030504040204" pitchFamily="34" charset="0"/>
              </a:rPr>
              <a:t> of the </a:t>
            </a:r>
            <a:r>
              <a:rPr lang="en-US" sz="1800" b="1" i="0" dirty="0">
                <a:solidFill>
                  <a:schemeClr val="bg2">
                    <a:lumMod val="50000"/>
                    <a:lumOff val="50000"/>
                  </a:schemeClr>
                </a:solidFill>
                <a:effectLst/>
                <a:latin typeface="Verdana" panose="020B0604030504040204" pitchFamily="34" charset="0"/>
              </a:rPr>
              <a:t>Variance.</a:t>
            </a:r>
            <a:r>
              <a:rPr lang="en-US" sz="1800" b="0" i="0" dirty="0">
                <a:solidFill>
                  <a:schemeClr val="bg2">
                    <a:lumMod val="50000"/>
                    <a:lumOff val="50000"/>
                  </a:schemeClr>
                </a:solidFill>
                <a:effectLst/>
                <a:latin typeface="Verdana" panose="020B0604030504040204" pitchFamily="34" charset="0"/>
              </a:rPr>
              <a:t> So now you ask, "What is the Variance?"</a:t>
            </a:r>
          </a:p>
          <a:p>
            <a:pPr>
              <a:spcBef>
                <a:spcPts val="0"/>
              </a:spcBef>
              <a:spcAft>
                <a:spcPts val="0"/>
              </a:spcAft>
              <a:buClr>
                <a:schemeClr val="bg1"/>
              </a:buClr>
            </a:pPr>
            <a:endParaRPr lang="en-US" sz="1400" dirty="0" err="1">
              <a:solidFill>
                <a:schemeClr val="bg2"/>
              </a:solidFill>
              <a:latin typeface="+mn-lt"/>
            </a:endParaRPr>
          </a:p>
        </p:txBody>
      </p:sp>
      <p:sp>
        <p:nvSpPr>
          <p:cNvPr id="4" name="Title 1">
            <a:extLst>
              <a:ext uri="{FF2B5EF4-FFF2-40B4-BE49-F238E27FC236}">
                <a16:creationId xmlns:a16="http://schemas.microsoft.com/office/drawing/2014/main" id="{F1DDCECB-FE11-4385-B2D3-479150F5E6FA}"/>
              </a:ext>
            </a:extLst>
          </p:cNvPr>
          <p:cNvSpPr txBox="1">
            <a:spLocks/>
          </p:cNvSpPr>
          <p:nvPr/>
        </p:nvSpPr>
        <p:spPr>
          <a:xfrm>
            <a:off x="62820" y="2106694"/>
            <a:ext cx="8229600"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Variance</a:t>
            </a:r>
          </a:p>
        </p:txBody>
      </p:sp>
      <p:sp>
        <p:nvSpPr>
          <p:cNvPr id="6" name="TextBox 5">
            <a:extLst>
              <a:ext uri="{FF2B5EF4-FFF2-40B4-BE49-F238E27FC236}">
                <a16:creationId xmlns:a16="http://schemas.microsoft.com/office/drawing/2014/main" id="{2F44518A-41CB-4383-A7A5-39A317FE295D}"/>
              </a:ext>
            </a:extLst>
          </p:cNvPr>
          <p:cNvSpPr txBox="1"/>
          <p:nvPr/>
        </p:nvSpPr>
        <p:spPr>
          <a:xfrm>
            <a:off x="62820" y="2564606"/>
            <a:ext cx="9081180" cy="1138773"/>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The Variance is defined as: The average of the squared differences from the Mean.</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
        <p:nvSpPr>
          <p:cNvPr id="11" name="Rectangle 4">
            <a:extLst>
              <a:ext uri="{FF2B5EF4-FFF2-40B4-BE49-F238E27FC236}">
                <a16:creationId xmlns:a16="http://schemas.microsoft.com/office/drawing/2014/main" id="{AB2D2E9B-99A2-44F3-B1E4-1D521B26FC9C}"/>
              </a:ext>
            </a:extLst>
          </p:cNvPr>
          <p:cNvSpPr>
            <a:spLocks noChangeArrowheads="1"/>
          </p:cNvSpPr>
          <p:nvPr/>
        </p:nvSpPr>
        <p:spPr bwMode="auto">
          <a:xfrm>
            <a:off x="693544" y="3202622"/>
            <a:ext cx="8229600"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o calculate the variance, follow these step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Work out the </a:t>
            </a:r>
            <a:r>
              <a:rPr lang="en-US" altLang="en-US" sz="1600" dirty="0">
                <a:solidFill>
                  <a:schemeClr val="accent1"/>
                </a:solidFill>
                <a:latin typeface="Verdana" panose="020B0604030504040204" pitchFamily="34" charset="0"/>
                <a:hlinkClick r:id="rId2">
                  <a:extLst>
                    <a:ext uri="{A12FA001-AC4F-418D-AE19-62706E023703}">
                      <ahyp:hlinkClr xmlns:ahyp="http://schemas.microsoft.com/office/drawing/2018/hyperlinkcolor" val="tx"/>
                    </a:ext>
                  </a:extLst>
                </a:hlinkClick>
              </a:rPr>
              <a:t>Mean</a:t>
            </a:r>
            <a:r>
              <a:rPr lang="en-US" altLang="en-US" sz="1600" dirty="0">
                <a:solidFill>
                  <a:schemeClr val="accent1"/>
                </a:solidFill>
                <a:latin typeface="Verdana" panose="020B0604030504040204" pitchFamily="34" charset="0"/>
              </a:rPr>
              <a:t> (the simple average of the number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for each number: subtract the Mean and square the result (the squared difference).</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work out the average of those squared differences. (</a:t>
            </a:r>
            <a:r>
              <a:rPr lang="en-US" altLang="en-US" sz="1600" dirty="0">
                <a:solidFill>
                  <a:schemeClr val="accent1"/>
                </a:solidFill>
                <a:latin typeface="Verdana" panose="020B0604030504040204" pitchFamily="34" charset="0"/>
                <a:hlinkClick r:id="rId3">
                  <a:extLst>
                    <a:ext uri="{A12FA001-AC4F-418D-AE19-62706E023703}">
                      <ahyp:hlinkClr xmlns:ahyp="http://schemas.microsoft.com/office/drawing/2018/hyperlinkcolor" val="tx"/>
                    </a:ext>
                  </a:extLst>
                </a:hlinkClick>
              </a:rPr>
              <a:t>Why Square?</a:t>
            </a:r>
            <a:r>
              <a:rPr lang="en-US" altLang="en-US" sz="1600" dirty="0">
                <a:solidFill>
                  <a:schemeClr val="accent1"/>
                </a:solidFill>
                <a:latin typeface="Verdana" panose="020B060403050404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288610285"/>
      </p:ext>
    </p:extLst>
  </p:cSld>
  <p:clrMapOvr>
    <a:masterClrMapping/>
  </p:clrMapOvr>
  <p:transition spd="med">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F2294-467A-462C-83C7-3043808D6D56}"/>
              </a:ext>
            </a:extLst>
          </p:cNvPr>
          <p:cNvSpPr>
            <a:spLocks noGrp="1"/>
          </p:cNvSpPr>
          <p:nvPr>
            <p:ph type="title"/>
          </p:nvPr>
        </p:nvSpPr>
        <p:spPr>
          <a:xfrm>
            <a:off x="0" y="0"/>
            <a:ext cx="8229600" cy="637794"/>
          </a:xfrm>
        </p:spPr>
        <p:txBody>
          <a:bodyPr/>
          <a:lstStyle/>
          <a:p>
            <a:r>
              <a:rPr lang="en-US" dirty="0"/>
              <a:t>Variance - Ex</a:t>
            </a:r>
          </a:p>
        </p:txBody>
      </p:sp>
      <p:pic>
        <p:nvPicPr>
          <p:cNvPr id="4" name="Picture 3">
            <a:extLst>
              <a:ext uri="{FF2B5EF4-FFF2-40B4-BE49-F238E27FC236}">
                <a16:creationId xmlns:a16="http://schemas.microsoft.com/office/drawing/2014/main" id="{1D437307-14BE-4815-A5C1-396AAFF9B2EB}"/>
              </a:ext>
            </a:extLst>
          </p:cNvPr>
          <p:cNvPicPr>
            <a:picLocks noChangeAspect="1"/>
          </p:cNvPicPr>
          <p:nvPr/>
        </p:nvPicPr>
        <p:blipFill>
          <a:blip r:embed="rId2"/>
          <a:stretch>
            <a:fillRect/>
          </a:stretch>
        </p:blipFill>
        <p:spPr>
          <a:xfrm>
            <a:off x="716247" y="862066"/>
            <a:ext cx="5796235" cy="1573442"/>
          </a:xfrm>
          <a:prstGeom prst="rect">
            <a:avLst/>
          </a:prstGeom>
        </p:spPr>
      </p:pic>
      <p:sp>
        <p:nvSpPr>
          <p:cNvPr id="5" name="TextBox 4">
            <a:extLst>
              <a:ext uri="{FF2B5EF4-FFF2-40B4-BE49-F238E27FC236}">
                <a16:creationId xmlns:a16="http://schemas.microsoft.com/office/drawing/2014/main" id="{A32434E3-AF65-400B-AE8B-C5EBA451E0F8}"/>
              </a:ext>
            </a:extLst>
          </p:cNvPr>
          <p:cNvSpPr txBox="1"/>
          <p:nvPr/>
        </p:nvSpPr>
        <p:spPr>
          <a:xfrm>
            <a:off x="230344" y="523511"/>
            <a:ext cx="6519463" cy="338554"/>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Now we calculate each dog's difference from the Mean:</a:t>
            </a:r>
            <a:endParaRPr lang="en-US" sz="2000" dirty="0">
              <a:solidFill>
                <a:schemeClr val="bg2">
                  <a:lumMod val="50000"/>
                  <a:lumOff val="50000"/>
                </a:schemeClr>
              </a:solidFill>
              <a:latin typeface="+mn-lt"/>
            </a:endParaRPr>
          </a:p>
        </p:txBody>
      </p:sp>
      <p:sp>
        <p:nvSpPr>
          <p:cNvPr id="6" name="TextBox 5">
            <a:extLst>
              <a:ext uri="{FF2B5EF4-FFF2-40B4-BE49-F238E27FC236}">
                <a16:creationId xmlns:a16="http://schemas.microsoft.com/office/drawing/2014/main" id="{0CD470DC-9FC8-468B-BA20-CF437AFC230F}"/>
              </a:ext>
            </a:extLst>
          </p:cNvPr>
          <p:cNvSpPr txBox="1"/>
          <p:nvPr/>
        </p:nvSpPr>
        <p:spPr>
          <a:xfrm>
            <a:off x="90740" y="2571750"/>
            <a:ext cx="8794993" cy="584775"/>
          </a:xfrm>
          <a:prstGeom prst="rect">
            <a:avLst/>
          </a:prstGeom>
          <a:noFill/>
        </p:spPr>
        <p:txBody>
          <a:bodyPr wrap="square" rtlCol="0">
            <a:spAutoFit/>
          </a:bodyPr>
          <a:lstStyle/>
          <a:p>
            <a:pPr>
              <a:spcBef>
                <a:spcPts val="0"/>
              </a:spcBef>
              <a:spcAft>
                <a:spcPts val="0"/>
              </a:spcAft>
              <a:buClr>
                <a:schemeClr val="bg1"/>
              </a:buClr>
            </a:pPr>
            <a:r>
              <a:rPr lang="en-US" sz="1600" dirty="0">
                <a:solidFill>
                  <a:schemeClr val="bg2">
                    <a:lumMod val="50000"/>
                    <a:lumOff val="50000"/>
                  </a:schemeClr>
                </a:solidFill>
                <a:latin typeface="Verdana" panose="020B0604030504040204" pitchFamily="34" charset="0"/>
              </a:rPr>
              <a:t>To calculate the Variance, take each difference, square it, and then average the result:</a:t>
            </a:r>
          </a:p>
        </p:txBody>
      </p:sp>
    </p:spTree>
    <p:extLst>
      <p:ext uri="{BB962C8B-B14F-4D97-AF65-F5344CB8AC3E}">
        <p14:creationId xmlns:p14="http://schemas.microsoft.com/office/powerpoint/2010/main" val="4213750322"/>
      </p:ext>
    </p:extLst>
  </p:cSld>
  <p:clrMapOvr>
    <a:masterClrMapping/>
  </p:clrMapOvr>
  <p:transition spd="med">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26779-CD6A-4E57-AE1B-EF50594A725F}"/>
              </a:ext>
            </a:extLst>
          </p:cNvPr>
          <p:cNvSpPr>
            <a:spLocks noGrp="1"/>
          </p:cNvSpPr>
          <p:nvPr>
            <p:ph type="title"/>
          </p:nvPr>
        </p:nvSpPr>
        <p:spPr>
          <a:xfrm>
            <a:off x="0" y="0"/>
            <a:ext cx="8229600" cy="637794"/>
          </a:xfrm>
        </p:spPr>
        <p:txBody>
          <a:bodyPr/>
          <a:lstStyle/>
          <a:p>
            <a:r>
              <a:rPr lang="en-US" dirty="0"/>
              <a:t>Variance – Ex continued</a:t>
            </a:r>
          </a:p>
        </p:txBody>
      </p:sp>
      <p:pic>
        <p:nvPicPr>
          <p:cNvPr id="4" name="Picture 3">
            <a:extLst>
              <a:ext uri="{FF2B5EF4-FFF2-40B4-BE49-F238E27FC236}">
                <a16:creationId xmlns:a16="http://schemas.microsoft.com/office/drawing/2014/main" id="{1A86875E-99D1-4F9C-A42B-BF8A9B27E777}"/>
              </a:ext>
            </a:extLst>
          </p:cNvPr>
          <p:cNvPicPr>
            <a:picLocks noChangeAspect="1"/>
          </p:cNvPicPr>
          <p:nvPr/>
        </p:nvPicPr>
        <p:blipFill>
          <a:blip r:embed="rId2"/>
          <a:stretch>
            <a:fillRect/>
          </a:stretch>
        </p:blipFill>
        <p:spPr>
          <a:xfrm>
            <a:off x="1409627" y="1022430"/>
            <a:ext cx="4809689" cy="2271632"/>
          </a:xfrm>
          <a:prstGeom prst="rect">
            <a:avLst/>
          </a:prstGeom>
        </p:spPr>
      </p:pic>
      <p:sp>
        <p:nvSpPr>
          <p:cNvPr id="5" name="TextBox 4">
            <a:extLst>
              <a:ext uri="{FF2B5EF4-FFF2-40B4-BE49-F238E27FC236}">
                <a16:creationId xmlns:a16="http://schemas.microsoft.com/office/drawing/2014/main" id="{E8670F94-D7F9-4415-86ED-4018DED05897}"/>
              </a:ext>
            </a:extLst>
          </p:cNvPr>
          <p:cNvSpPr txBox="1"/>
          <p:nvPr/>
        </p:nvSpPr>
        <p:spPr>
          <a:xfrm>
            <a:off x="551432" y="3769282"/>
            <a:ext cx="4690663"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So, the Variance is </a:t>
            </a:r>
            <a:r>
              <a:rPr lang="en-US" sz="1100" b="1" i="0" dirty="0">
                <a:solidFill>
                  <a:schemeClr val="bg2">
                    <a:lumMod val="50000"/>
                    <a:lumOff val="50000"/>
                  </a:schemeClr>
                </a:solidFill>
                <a:effectLst/>
                <a:latin typeface="Verdana" panose="020B0604030504040204" pitchFamily="34" charset="0"/>
              </a:rPr>
              <a:t>21,704</a:t>
            </a:r>
            <a:endParaRPr lang="en-US" sz="1400" dirty="0">
              <a:solidFill>
                <a:schemeClr val="bg2">
                  <a:lumMod val="50000"/>
                  <a:lumOff val="50000"/>
                </a:schemeClr>
              </a:solidFill>
              <a:latin typeface="+mn-lt"/>
            </a:endParaRPr>
          </a:p>
        </p:txBody>
      </p:sp>
    </p:spTree>
    <p:extLst>
      <p:ext uri="{BB962C8B-B14F-4D97-AF65-F5344CB8AC3E}">
        <p14:creationId xmlns:p14="http://schemas.microsoft.com/office/powerpoint/2010/main" val="799166285"/>
      </p:ext>
    </p:extLst>
  </p:cSld>
  <p:clrMapOvr>
    <a:masterClrMapping/>
  </p:clrMapOvr>
  <p:transition spd="med">
    <p:wipe dir="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F620B-98F5-4335-AD5A-53E05E2B254D}"/>
              </a:ext>
            </a:extLst>
          </p:cNvPr>
          <p:cNvSpPr>
            <a:spLocks noGrp="1"/>
          </p:cNvSpPr>
          <p:nvPr>
            <p:ph type="title"/>
          </p:nvPr>
        </p:nvSpPr>
        <p:spPr>
          <a:xfrm>
            <a:off x="0" y="0"/>
            <a:ext cx="8229600" cy="637794"/>
          </a:xfrm>
        </p:spPr>
        <p:txBody>
          <a:bodyPr/>
          <a:lstStyle/>
          <a:p>
            <a:r>
              <a:rPr lang="en-US" dirty="0"/>
              <a:t>Standard Deviation </a:t>
            </a:r>
          </a:p>
        </p:txBody>
      </p:sp>
      <p:sp>
        <p:nvSpPr>
          <p:cNvPr id="3" name="TextBox 2">
            <a:extLst>
              <a:ext uri="{FF2B5EF4-FFF2-40B4-BE49-F238E27FC236}">
                <a16:creationId xmlns:a16="http://schemas.microsoft.com/office/drawing/2014/main" id="{AE4C90B8-F407-49EC-A54D-E9774AA2C94F}"/>
              </a:ext>
            </a:extLst>
          </p:cNvPr>
          <p:cNvSpPr txBox="1"/>
          <p:nvPr/>
        </p:nvSpPr>
        <p:spPr>
          <a:xfrm>
            <a:off x="0" y="579353"/>
            <a:ext cx="7489704"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And the Standard Deviation is just the square root of Variance, so:</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5BC06AD-C58E-4108-9D27-4A78A855F4A5}"/>
              </a:ext>
            </a:extLst>
          </p:cNvPr>
          <p:cNvPicPr>
            <a:picLocks noChangeAspect="1"/>
          </p:cNvPicPr>
          <p:nvPr/>
        </p:nvPicPr>
        <p:blipFill>
          <a:blip r:embed="rId2"/>
          <a:stretch>
            <a:fillRect/>
          </a:stretch>
        </p:blipFill>
        <p:spPr>
          <a:xfrm>
            <a:off x="1986179" y="887130"/>
            <a:ext cx="2983690" cy="1263533"/>
          </a:xfrm>
          <a:prstGeom prst="rect">
            <a:avLst/>
          </a:prstGeom>
        </p:spPr>
      </p:pic>
      <p:pic>
        <p:nvPicPr>
          <p:cNvPr id="7" name="Picture 6">
            <a:extLst>
              <a:ext uri="{FF2B5EF4-FFF2-40B4-BE49-F238E27FC236}">
                <a16:creationId xmlns:a16="http://schemas.microsoft.com/office/drawing/2014/main" id="{931D458C-A0C9-4716-86D8-0E33FCB322A4}"/>
              </a:ext>
            </a:extLst>
          </p:cNvPr>
          <p:cNvPicPr>
            <a:picLocks noChangeAspect="1"/>
          </p:cNvPicPr>
          <p:nvPr/>
        </p:nvPicPr>
        <p:blipFill>
          <a:blip r:embed="rId3"/>
          <a:stretch>
            <a:fillRect/>
          </a:stretch>
        </p:blipFill>
        <p:spPr>
          <a:xfrm>
            <a:off x="211949" y="2966341"/>
            <a:ext cx="4904502" cy="1648486"/>
          </a:xfrm>
          <a:prstGeom prst="rect">
            <a:avLst/>
          </a:prstGeom>
        </p:spPr>
      </p:pic>
      <p:sp>
        <p:nvSpPr>
          <p:cNvPr id="8" name="TextBox 7">
            <a:extLst>
              <a:ext uri="{FF2B5EF4-FFF2-40B4-BE49-F238E27FC236}">
                <a16:creationId xmlns:a16="http://schemas.microsoft.com/office/drawing/2014/main" id="{E92EE6A2-F38C-4E19-BEA8-F4669A0C412E}"/>
              </a:ext>
            </a:extLst>
          </p:cNvPr>
          <p:cNvSpPr txBox="1"/>
          <p:nvPr/>
        </p:nvSpPr>
        <p:spPr>
          <a:xfrm>
            <a:off x="0" y="2387248"/>
            <a:ext cx="6324018" cy="430887"/>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And the good thing about the Standard Deviation is that it is useful. Now we can show which heights are within one Standard Deviation (147mm) of the Mean:</a:t>
            </a:r>
            <a:endParaRPr lang="en-US" sz="1400" dirty="0">
              <a:solidFill>
                <a:schemeClr val="bg2">
                  <a:lumMod val="50000"/>
                  <a:lumOff val="50000"/>
                </a:schemeClr>
              </a:solidFill>
              <a:latin typeface="+mn-lt"/>
            </a:endParaRPr>
          </a:p>
        </p:txBody>
      </p:sp>
      <p:sp>
        <p:nvSpPr>
          <p:cNvPr id="10" name="TextBox 9">
            <a:extLst>
              <a:ext uri="{FF2B5EF4-FFF2-40B4-BE49-F238E27FC236}">
                <a16:creationId xmlns:a16="http://schemas.microsoft.com/office/drawing/2014/main" id="{98B8F9D4-2C7B-451C-A083-7F06BA7A3569}"/>
              </a:ext>
            </a:extLst>
          </p:cNvPr>
          <p:cNvSpPr txBox="1"/>
          <p:nvPr/>
        </p:nvSpPr>
        <p:spPr>
          <a:xfrm>
            <a:off x="5263035" y="3462156"/>
            <a:ext cx="3880965" cy="738664"/>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accent1"/>
                </a:solidFill>
                <a:latin typeface="+mn-lt"/>
              </a:rPr>
              <a:t>So, using the Standard Deviation we have a "standard" way of knowing what is normal, and what is extra large or extra small.</a:t>
            </a:r>
          </a:p>
        </p:txBody>
      </p:sp>
    </p:spTree>
    <p:extLst>
      <p:ext uri="{BB962C8B-B14F-4D97-AF65-F5344CB8AC3E}">
        <p14:creationId xmlns:p14="http://schemas.microsoft.com/office/powerpoint/2010/main" val="2062386995"/>
      </p:ext>
    </p:extLst>
  </p:cSld>
  <p:clrMapOvr>
    <a:masterClrMapping/>
  </p:clrMapOvr>
  <p:transition spd="med">
    <p:wipe dir="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DA2E5-19BC-41C1-9716-CDA111BFDC1E}"/>
              </a:ext>
            </a:extLst>
          </p:cNvPr>
          <p:cNvSpPr>
            <a:spLocks noGrp="1"/>
          </p:cNvSpPr>
          <p:nvPr>
            <p:ph type="title"/>
          </p:nvPr>
        </p:nvSpPr>
        <p:spPr>
          <a:xfrm>
            <a:off x="171014" y="126370"/>
            <a:ext cx="8229600" cy="637794"/>
          </a:xfrm>
        </p:spPr>
        <p:txBody>
          <a:bodyPr/>
          <a:lstStyle/>
          <a:p>
            <a:r>
              <a:rPr lang="en-US" dirty="0"/>
              <a:t>Another Example – Standard Deviation </a:t>
            </a:r>
          </a:p>
        </p:txBody>
      </p:sp>
    </p:spTree>
    <p:extLst>
      <p:ext uri="{BB962C8B-B14F-4D97-AF65-F5344CB8AC3E}">
        <p14:creationId xmlns:p14="http://schemas.microsoft.com/office/powerpoint/2010/main" val="1577341905"/>
      </p:ext>
    </p:extLst>
  </p:cSld>
  <p:clrMapOvr>
    <a:masterClrMapping/>
  </p:clrMapOvr>
  <p:transition spd="med">
    <p:wipe dir="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7E8FC-E53A-4E79-8F5A-821A8B64772A}"/>
              </a:ext>
            </a:extLst>
          </p:cNvPr>
          <p:cNvSpPr>
            <a:spLocks noGrp="1"/>
          </p:cNvSpPr>
          <p:nvPr>
            <p:ph type="title"/>
          </p:nvPr>
        </p:nvSpPr>
        <p:spPr>
          <a:xfrm>
            <a:off x="0" y="0"/>
            <a:ext cx="8229600" cy="637794"/>
          </a:xfrm>
        </p:spPr>
        <p:txBody>
          <a:bodyPr/>
          <a:lstStyle/>
          <a:p>
            <a:r>
              <a:rPr lang="en-US" dirty="0"/>
              <a:t>Standard Deviation – Population &amp; Sample</a:t>
            </a:r>
          </a:p>
        </p:txBody>
      </p:sp>
      <p:sp>
        <p:nvSpPr>
          <p:cNvPr id="3" name="TextBox 2">
            <a:extLst>
              <a:ext uri="{FF2B5EF4-FFF2-40B4-BE49-F238E27FC236}">
                <a16:creationId xmlns:a16="http://schemas.microsoft.com/office/drawing/2014/main" id="{FD0A08EA-D57C-4F83-A00F-9136C8E975A8}"/>
              </a:ext>
            </a:extLst>
          </p:cNvPr>
          <p:cNvSpPr txBox="1"/>
          <p:nvPr/>
        </p:nvSpPr>
        <p:spPr>
          <a:xfrm>
            <a:off x="97723" y="903040"/>
            <a:ext cx="8418064" cy="3077766"/>
          </a:xfrm>
          <a:prstGeom prst="rect">
            <a:avLst/>
          </a:prstGeom>
          <a:noFill/>
        </p:spPr>
        <p:txBody>
          <a:bodyPr wrap="square" rtlCol="0">
            <a:spAutoFit/>
          </a:bodyPr>
          <a:lstStyle/>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Example: if our 5 dogs are just a </a:t>
            </a:r>
            <a:r>
              <a:rPr lang="en-US" sz="2000" b="1" i="0" dirty="0">
                <a:solidFill>
                  <a:schemeClr val="bg2">
                    <a:lumMod val="50000"/>
                    <a:lumOff val="50000"/>
                  </a:schemeClr>
                </a:solidFill>
                <a:effectLst/>
                <a:latin typeface="Verdana" panose="020B0604030504040204" pitchFamily="34" charset="0"/>
              </a:rPr>
              <a:t>sample</a:t>
            </a:r>
            <a:r>
              <a:rPr lang="en-US" sz="2000" b="0" i="0" dirty="0">
                <a:solidFill>
                  <a:schemeClr val="bg2">
                    <a:lumMod val="50000"/>
                    <a:lumOff val="50000"/>
                  </a:schemeClr>
                </a:solidFill>
                <a:effectLst/>
                <a:latin typeface="Verdana" panose="020B0604030504040204" pitchFamily="34" charset="0"/>
              </a:rPr>
              <a:t> of a bigger population of dogs, we divide by </a:t>
            </a:r>
            <a:r>
              <a:rPr lang="en-US" sz="2000" b="1" i="0" dirty="0">
                <a:solidFill>
                  <a:schemeClr val="bg2">
                    <a:lumMod val="50000"/>
                    <a:lumOff val="50000"/>
                  </a:schemeClr>
                </a:solidFill>
                <a:effectLst/>
                <a:latin typeface="Verdana" panose="020B0604030504040204" pitchFamily="34" charset="0"/>
              </a:rPr>
              <a:t>4 instead of 5</a:t>
            </a:r>
            <a:r>
              <a:rPr lang="en-US" sz="2000" b="0" i="0" dirty="0">
                <a:solidFill>
                  <a:schemeClr val="bg2">
                    <a:lumMod val="50000"/>
                    <a:lumOff val="50000"/>
                  </a:schemeClr>
                </a:solidFill>
                <a:effectLst/>
                <a:latin typeface="Verdana" panose="020B0604030504040204" pitchFamily="34" charset="0"/>
              </a:rPr>
              <a:t> like this:</a:t>
            </a:r>
          </a:p>
          <a:p>
            <a:pPr algn="l"/>
            <a:endParaRPr lang="en-US" sz="2000" b="0" i="0" dirty="0">
              <a:solidFill>
                <a:schemeClr val="bg2">
                  <a:lumMod val="50000"/>
                  <a:lumOff val="50000"/>
                </a:schemeClr>
              </a:solidFill>
              <a:effectLst/>
              <a:latin typeface="Verdana" panose="020B0604030504040204" pitchFamily="34" charset="0"/>
            </a:endParaRPr>
          </a:p>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Sample Variance = 108,520 / </a:t>
            </a:r>
            <a:r>
              <a:rPr lang="en-US" sz="2000" b="1" i="0" dirty="0">
                <a:solidFill>
                  <a:schemeClr val="bg2">
                    <a:lumMod val="50000"/>
                    <a:lumOff val="50000"/>
                  </a:schemeClr>
                </a:solidFill>
                <a:effectLst/>
                <a:latin typeface="Verdana" panose="020B0604030504040204" pitchFamily="34" charset="0"/>
              </a:rPr>
              <a:t>4</a:t>
            </a:r>
            <a:r>
              <a:rPr lang="en-US" sz="2000" b="0" i="0" dirty="0">
                <a:solidFill>
                  <a:schemeClr val="bg2">
                    <a:lumMod val="50000"/>
                    <a:lumOff val="50000"/>
                  </a:schemeClr>
                </a:solidFill>
                <a:effectLst/>
                <a:latin typeface="Verdana" panose="020B0604030504040204" pitchFamily="34" charset="0"/>
              </a:rPr>
              <a:t> = </a:t>
            </a:r>
            <a:r>
              <a:rPr lang="en-US" sz="2000" b="1" i="0" dirty="0">
                <a:solidFill>
                  <a:schemeClr val="bg2">
                    <a:lumMod val="50000"/>
                    <a:lumOff val="50000"/>
                  </a:schemeClr>
                </a:solidFill>
                <a:effectLst/>
                <a:latin typeface="Verdana" panose="020B0604030504040204" pitchFamily="34" charset="0"/>
              </a:rPr>
              <a:t>27,130</a:t>
            </a:r>
          </a:p>
          <a:p>
            <a:pPr algn="l"/>
            <a:endParaRPr lang="en-US" sz="2000" b="0" i="0" dirty="0">
              <a:solidFill>
                <a:schemeClr val="bg2">
                  <a:lumMod val="50000"/>
                  <a:lumOff val="50000"/>
                </a:schemeClr>
              </a:solidFill>
              <a:effectLst/>
              <a:latin typeface="Verdana" panose="020B0604030504040204" pitchFamily="34" charset="0"/>
            </a:endParaRPr>
          </a:p>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Sample Standard Deviation = √27,130 = </a:t>
            </a:r>
            <a:r>
              <a:rPr lang="en-US" sz="2000" b="1" i="0" dirty="0">
                <a:solidFill>
                  <a:schemeClr val="bg2">
                    <a:lumMod val="50000"/>
                    <a:lumOff val="50000"/>
                  </a:schemeClr>
                </a:solidFill>
                <a:effectLst/>
                <a:latin typeface="Verdana" panose="020B0604030504040204" pitchFamily="34" charset="0"/>
              </a:rPr>
              <a:t>165</a:t>
            </a:r>
            <a:r>
              <a:rPr lang="en-US" sz="2000" b="0" i="0" dirty="0">
                <a:solidFill>
                  <a:schemeClr val="bg2">
                    <a:lumMod val="50000"/>
                    <a:lumOff val="50000"/>
                  </a:schemeClr>
                </a:solidFill>
                <a:effectLst/>
                <a:latin typeface="Verdana" panose="020B0604030504040204" pitchFamily="34" charset="0"/>
              </a:rPr>
              <a:t> (to the nearest mm)</a:t>
            </a:r>
          </a:p>
          <a:p>
            <a:pPr algn="l"/>
            <a:endParaRPr lang="en-US" sz="2000" b="0" i="0" dirty="0">
              <a:solidFill>
                <a:schemeClr val="bg2">
                  <a:lumMod val="50000"/>
                  <a:lumOff val="50000"/>
                </a:schemeClr>
              </a:solidFill>
              <a:effectLst/>
              <a:latin typeface="Verdana" panose="020B0604030504040204" pitchFamily="34" charset="0"/>
            </a:endParaRPr>
          </a:p>
          <a:p>
            <a:pPr marL="342900" indent="-3429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Think of it as a "correction" when your data is only a sampl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892214900"/>
      </p:ext>
    </p:extLst>
  </p:cSld>
  <p:clrMapOvr>
    <a:masterClrMapping/>
  </p:clrMapOvr>
  <p:transition spd="med">
    <p:wipe dir="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8C4E3-6B94-4D41-9DB2-4A1A4413DA08}"/>
              </a:ext>
            </a:extLst>
          </p:cNvPr>
          <p:cNvSpPr>
            <a:spLocks noGrp="1"/>
          </p:cNvSpPr>
          <p:nvPr>
            <p:ph type="title"/>
          </p:nvPr>
        </p:nvSpPr>
        <p:spPr>
          <a:xfrm>
            <a:off x="114300" y="112410"/>
            <a:ext cx="8229600" cy="637794"/>
          </a:xfrm>
        </p:spPr>
        <p:txBody>
          <a:bodyPr/>
          <a:lstStyle/>
          <a:p>
            <a:r>
              <a:rPr lang="en-US" dirty="0"/>
              <a:t>Standard Deviation - Formula</a:t>
            </a:r>
          </a:p>
        </p:txBody>
      </p:sp>
      <p:sp>
        <p:nvSpPr>
          <p:cNvPr id="10" name="TextBox 9">
            <a:extLst>
              <a:ext uri="{FF2B5EF4-FFF2-40B4-BE49-F238E27FC236}">
                <a16:creationId xmlns:a16="http://schemas.microsoft.com/office/drawing/2014/main" id="{933A42C8-B9B8-4D5C-B787-BC7681B6E0FD}"/>
              </a:ext>
            </a:extLst>
          </p:cNvPr>
          <p:cNvSpPr txBox="1"/>
          <p:nvPr/>
        </p:nvSpPr>
        <p:spPr>
          <a:xfrm>
            <a:off x="5309278" y="2087065"/>
            <a:ext cx="3720422" cy="1323439"/>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Looks complicated, but the important change is to divide by </a:t>
            </a:r>
            <a:r>
              <a:rPr lang="en-US" sz="1600" b="1" i="0" dirty="0">
                <a:solidFill>
                  <a:schemeClr val="bg2">
                    <a:lumMod val="50000"/>
                    <a:lumOff val="50000"/>
                  </a:schemeClr>
                </a:solidFill>
                <a:effectLst/>
                <a:latin typeface="Verdana" panose="020B0604030504040204" pitchFamily="34" charset="0"/>
              </a:rPr>
              <a:t>N-1</a:t>
            </a:r>
            <a:r>
              <a:rPr lang="en-US" sz="1600" b="0" i="0" dirty="0">
                <a:solidFill>
                  <a:schemeClr val="bg2">
                    <a:lumMod val="50000"/>
                    <a:lumOff val="50000"/>
                  </a:schemeClr>
                </a:solidFill>
                <a:effectLst/>
                <a:latin typeface="Verdana" panose="020B0604030504040204" pitchFamily="34" charset="0"/>
              </a:rPr>
              <a:t> (instead of </a:t>
            </a:r>
            <a:r>
              <a:rPr lang="en-US" sz="1600" b="1" i="0" dirty="0">
                <a:solidFill>
                  <a:schemeClr val="bg2">
                    <a:lumMod val="50000"/>
                    <a:lumOff val="50000"/>
                  </a:schemeClr>
                </a:solidFill>
                <a:effectLst/>
                <a:latin typeface="Verdana" panose="020B0604030504040204" pitchFamily="34" charset="0"/>
              </a:rPr>
              <a:t>N</a:t>
            </a:r>
            <a:r>
              <a:rPr lang="en-US" sz="1600" b="0" i="0" dirty="0">
                <a:solidFill>
                  <a:schemeClr val="bg2">
                    <a:lumMod val="50000"/>
                    <a:lumOff val="50000"/>
                  </a:schemeClr>
                </a:solidFill>
                <a:effectLst/>
                <a:latin typeface="Verdana" panose="020B0604030504040204" pitchFamily="34" charset="0"/>
              </a:rPr>
              <a:t>) when calculating a Sample Standard Deviation</a:t>
            </a:r>
            <a:endParaRPr lang="en-US" sz="2000" dirty="0">
              <a:solidFill>
                <a:schemeClr val="bg2">
                  <a:lumMod val="50000"/>
                  <a:lumOff val="50000"/>
                </a:schemeClr>
              </a:solidFill>
              <a:latin typeface="+mn-lt"/>
            </a:endParaRPr>
          </a:p>
        </p:txBody>
      </p:sp>
      <p:pic>
        <p:nvPicPr>
          <p:cNvPr id="12" name="Picture 11">
            <a:extLst>
              <a:ext uri="{FF2B5EF4-FFF2-40B4-BE49-F238E27FC236}">
                <a16:creationId xmlns:a16="http://schemas.microsoft.com/office/drawing/2014/main" id="{653F05E3-1A06-4930-9772-3415C65D5046}"/>
              </a:ext>
            </a:extLst>
          </p:cNvPr>
          <p:cNvPicPr>
            <a:picLocks noChangeAspect="1"/>
          </p:cNvPicPr>
          <p:nvPr/>
        </p:nvPicPr>
        <p:blipFill>
          <a:blip r:embed="rId2"/>
          <a:stretch>
            <a:fillRect/>
          </a:stretch>
        </p:blipFill>
        <p:spPr>
          <a:xfrm>
            <a:off x="114300" y="851297"/>
            <a:ext cx="4724655" cy="1808141"/>
          </a:xfrm>
          <a:prstGeom prst="rect">
            <a:avLst/>
          </a:prstGeom>
        </p:spPr>
      </p:pic>
      <p:pic>
        <p:nvPicPr>
          <p:cNvPr id="14" name="Picture 13">
            <a:extLst>
              <a:ext uri="{FF2B5EF4-FFF2-40B4-BE49-F238E27FC236}">
                <a16:creationId xmlns:a16="http://schemas.microsoft.com/office/drawing/2014/main" id="{B435FB2B-9487-497B-8EF8-99AA21450932}"/>
              </a:ext>
            </a:extLst>
          </p:cNvPr>
          <p:cNvPicPr>
            <a:picLocks noChangeAspect="1"/>
          </p:cNvPicPr>
          <p:nvPr/>
        </p:nvPicPr>
        <p:blipFill>
          <a:blip r:embed="rId3"/>
          <a:stretch>
            <a:fillRect/>
          </a:stretch>
        </p:blipFill>
        <p:spPr>
          <a:xfrm>
            <a:off x="114300" y="2892968"/>
            <a:ext cx="4724655" cy="1672051"/>
          </a:xfrm>
          <a:prstGeom prst="rect">
            <a:avLst/>
          </a:prstGeom>
        </p:spPr>
      </p:pic>
    </p:spTree>
    <p:extLst>
      <p:ext uri="{BB962C8B-B14F-4D97-AF65-F5344CB8AC3E}">
        <p14:creationId xmlns:p14="http://schemas.microsoft.com/office/powerpoint/2010/main" val="3884285239"/>
      </p:ext>
    </p:extLst>
  </p:cSld>
  <p:clrMapOvr>
    <a:masterClrMapping/>
  </p:clrMapOvr>
  <p:transition spd="med">
    <p:wipe dir="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F3A06-D0A1-4D54-8804-1862AD402AE2}"/>
              </a:ext>
            </a:extLst>
          </p:cNvPr>
          <p:cNvSpPr>
            <a:spLocks noGrp="1"/>
          </p:cNvSpPr>
          <p:nvPr>
            <p:ph type="title"/>
          </p:nvPr>
        </p:nvSpPr>
        <p:spPr>
          <a:xfrm>
            <a:off x="0" y="0"/>
            <a:ext cx="8229600" cy="637794"/>
          </a:xfrm>
        </p:spPr>
        <p:txBody>
          <a:bodyPr/>
          <a:lstStyle/>
          <a:p>
            <a:r>
              <a:rPr lang="en-US" dirty="0"/>
              <a:t>Why Square the difference ? </a:t>
            </a:r>
          </a:p>
        </p:txBody>
      </p:sp>
      <p:sp>
        <p:nvSpPr>
          <p:cNvPr id="3" name="TextBox 2">
            <a:extLst>
              <a:ext uri="{FF2B5EF4-FFF2-40B4-BE49-F238E27FC236}">
                <a16:creationId xmlns:a16="http://schemas.microsoft.com/office/drawing/2014/main" id="{335ED887-CF6A-495E-9FF8-79FD8D96C0AD}"/>
              </a:ext>
            </a:extLst>
          </p:cNvPr>
          <p:cNvSpPr txBox="1"/>
          <p:nvPr/>
        </p:nvSpPr>
        <p:spPr>
          <a:xfrm>
            <a:off x="181484" y="558412"/>
            <a:ext cx="8048116" cy="3416320"/>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If we just add up the differences from the mean ... the negatives cancel the positives:</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So that won't work. How about we use </a:t>
            </a:r>
            <a:r>
              <a:rPr lang="en-US" sz="1200" dirty="0">
                <a:solidFill>
                  <a:schemeClr val="bg2">
                    <a:lumMod val="50000"/>
                    <a:lumOff val="50000"/>
                  </a:schemeClr>
                </a:solidFill>
                <a:latin typeface="Verdana" panose="020B0604030504040204" pitchFamily="34" charset="0"/>
                <a:hlinkClick r:id="rId2">
                  <a:extLst>
                    <a:ext uri="{A12FA001-AC4F-418D-AE19-62706E023703}">
                      <ahyp:hlinkClr xmlns:ahyp="http://schemas.microsoft.com/office/drawing/2018/hyperlinkcolor" val="tx"/>
                    </a:ext>
                  </a:extLst>
                </a:hlinkClick>
              </a:rPr>
              <a:t>absolute values</a:t>
            </a:r>
            <a:r>
              <a:rPr lang="en-US" sz="1200" dirty="0">
                <a:solidFill>
                  <a:schemeClr val="bg2">
                    <a:lumMod val="50000"/>
                    <a:lumOff val="50000"/>
                  </a:schemeClr>
                </a:solidFill>
                <a:latin typeface="Verdana" panose="020B0604030504040204" pitchFamily="34" charset="0"/>
              </a:rPr>
              <a:t>?</a:t>
            </a:r>
            <a:br>
              <a:rPr lang="en-US" sz="1200" dirty="0">
                <a:solidFill>
                  <a:schemeClr val="bg2">
                    <a:lumMod val="50000"/>
                    <a:lumOff val="50000"/>
                  </a:schemeClr>
                </a:solidFill>
                <a:latin typeface="Verdana" panose="020B0604030504040204" pitchFamily="34" charset="0"/>
              </a:rPr>
            </a:b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That looks good (and is the </a:t>
            </a:r>
            <a:r>
              <a:rPr lang="en-US" sz="1200"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Mean Deviation</a:t>
            </a:r>
            <a:r>
              <a:rPr lang="en-US" sz="1200" dirty="0">
                <a:solidFill>
                  <a:schemeClr val="bg2">
                    <a:lumMod val="50000"/>
                    <a:lumOff val="50000"/>
                  </a:schemeClr>
                </a:solidFill>
                <a:latin typeface="Verdana" panose="020B0604030504040204" pitchFamily="34" charset="0"/>
              </a:rPr>
              <a:t>), but what about this case:</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p:txBody>
      </p:sp>
      <p:pic>
        <p:nvPicPr>
          <p:cNvPr id="5" name="Picture 4">
            <a:extLst>
              <a:ext uri="{FF2B5EF4-FFF2-40B4-BE49-F238E27FC236}">
                <a16:creationId xmlns:a16="http://schemas.microsoft.com/office/drawing/2014/main" id="{46EF63B6-C861-4B4A-BA4A-3E222C70C7D5}"/>
              </a:ext>
            </a:extLst>
          </p:cNvPr>
          <p:cNvPicPr>
            <a:picLocks noChangeAspect="1"/>
          </p:cNvPicPr>
          <p:nvPr/>
        </p:nvPicPr>
        <p:blipFill>
          <a:blip r:embed="rId4"/>
          <a:stretch>
            <a:fillRect/>
          </a:stretch>
        </p:blipFill>
        <p:spPr>
          <a:xfrm>
            <a:off x="654172" y="868666"/>
            <a:ext cx="2130910" cy="880711"/>
          </a:xfrm>
          <a:prstGeom prst="rect">
            <a:avLst/>
          </a:prstGeom>
        </p:spPr>
      </p:pic>
      <p:pic>
        <p:nvPicPr>
          <p:cNvPr id="7" name="Picture 6">
            <a:extLst>
              <a:ext uri="{FF2B5EF4-FFF2-40B4-BE49-F238E27FC236}">
                <a16:creationId xmlns:a16="http://schemas.microsoft.com/office/drawing/2014/main" id="{FF31FC51-1BB6-4110-984E-4ADCFEAD3B9D}"/>
              </a:ext>
            </a:extLst>
          </p:cNvPr>
          <p:cNvPicPr>
            <a:picLocks noChangeAspect="1"/>
          </p:cNvPicPr>
          <p:nvPr/>
        </p:nvPicPr>
        <p:blipFill>
          <a:blip r:embed="rId4"/>
          <a:stretch>
            <a:fillRect/>
          </a:stretch>
        </p:blipFill>
        <p:spPr>
          <a:xfrm>
            <a:off x="654173" y="2183727"/>
            <a:ext cx="2130910" cy="1048037"/>
          </a:xfrm>
          <a:prstGeom prst="rect">
            <a:avLst/>
          </a:prstGeom>
        </p:spPr>
      </p:pic>
      <p:pic>
        <p:nvPicPr>
          <p:cNvPr id="9" name="Picture 8">
            <a:extLst>
              <a:ext uri="{FF2B5EF4-FFF2-40B4-BE49-F238E27FC236}">
                <a16:creationId xmlns:a16="http://schemas.microsoft.com/office/drawing/2014/main" id="{64CAF348-C2B3-4FF9-97C9-997DD4E807AA}"/>
              </a:ext>
            </a:extLst>
          </p:cNvPr>
          <p:cNvPicPr>
            <a:picLocks noChangeAspect="1"/>
          </p:cNvPicPr>
          <p:nvPr/>
        </p:nvPicPr>
        <p:blipFill>
          <a:blip r:embed="rId5"/>
          <a:stretch>
            <a:fillRect/>
          </a:stretch>
        </p:blipFill>
        <p:spPr>
          <a:xfrm>
            <a:off x="654173" y="3666113"/>
            <a:ext cx="2130910" cy="1111583"/>
          </a:xfrm>
          <a:prstGeom prst="rect">
            <a:avLst/>
          </a:prstGeom>
        </p:spPr>
      </p:pic>
    </p:spTree>
    <p:extLst>
      <p:ext uri="{BB962C8B-B14F-4D97-AF65-F5344CB8AC3E}">
        <p14:creationId xmlns:p14="http://schemas.microsoft.com/office/powerpoint/2010/main" val="1560366396"/>
      </p:ext>
    </p:extLst>
  </p:cSld>
  <p:clrMapOvr>
    <a:masterClrMapping/>
  </p:clrMapOvr>
  <p:transition spd="med">
    <p:wipe dir="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10AC9D2-C166-483A-A9F8-A47C63C5C8F9}"/>
              </a:ext>
            </a:extLst>
          </p:cNvPr>
          <p:cNvSpPr>
            <a:spLocks noGrp="1"/>
          </p:cNvSpPr>
          <p:nvPr>
            <p:ph type="title"/>
          </p:nvPr>
        </p:nvSpPr>
        <p:spPr>
          <a:xfrm>
            <a:off x="0" y="0"/>
            <a:ext cx="8229600" cy="637794"/>
          </a:xfrm>
        </p:spPr>
        <p:txBody>
          <a:bodyPr/>
          <a:lstStyle/>
          <a:p>
            <a:r>
              <a:rPr lang="en-US" dirty="0"/>
              <a:t>Why Square the difference ? - Continued </a:t>
            </a:r>
          </a:p>
        </p:txBody>
      </p:sp>
      <p:sp>
        <p:nvSpPr>
          <p:cNvPr id="4" name="TextBox 3">
            <a:extLst>
              <a:ext uri="{FF2B5EF4-FFF2-40B4-BE49-F238E27FC236}">
                <a16:creationId xmlns:a16="http://schemas.microsoft.com/office/drawing/2014/main" id="{F548E1AB-BBD9-419A-A5BF-9DF1DF5C418E}"/>
              </a:ext>
            </a:extLst>
          </p:cNvPr>
          <p:cNvSpPr txBox="1"/>
          <p:nvPr/>
        </p:nvSpPr>
        <p:spPr>
          <a:xfrm>
            <a:off x="97722" y="637794"/>
            <a:ext cx="7231438" cy="3970318"/>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So let us try squaring each difference (and taking the square root at the end):</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That is nice! The Standard Deviation is bigger when the differences are more spread out ... just what we want.</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p:txBody>
      </p:sp>
      <p:pic>
        <p:nvPicPr>
          <p:cNvPr id="5" name="Picture 4">
            <a:extLst>
              <a:ext uri="{FF2B5EF4-FFF2-40B4-BE49-F238E27FC236}">
                <a16:creationId xmlns:a16="http://schemas.microsoft.com/office/drawing/2014/main" id="{EA9BD20E-FBEB-49E3-A54D-D22AB7DB24EA}"/>
              </a:ext>
            </a:extLst>
          </p:cNvPr>
          <p:cNvPicPr>
            <a:picLocks noChangeAspect="1"/>
          </p:cNvPicPr>
          <p:nvPr/>
        </p:nvPicPr>
        <p:blipFill>
          <a:blip r:embed="rId2"/>
          <a:stretch>
            <a:fillRect/>
          </a:stretch>
        </p:blipFill>
        <p:spPr>
          <a:xfrm>
            <a:off x="305891" y="967696"/>
            <a:ext cx="1439147" cy="2767590"/>
          </a:xfrm>
          <a:prstGeom prst="rect">
            <a:avLst/>
          </a:prstGeom>
        </p:spPr>
      </p:pic>
    </p:spTree>
    <p:extLst>
      <p:ext uri="{BB962C8B-B14F-4D97-AF65-F5344CB8AC3E}">
        <p14:creationId xmlns:p14="http://schemas.microsoft.com/office/powerpoint/2010/main" val="2153491599"/>
      </p:ext>
    </p:extLst>
  </p:cSld>
  <p:clrMapOvr>
    <a:masterClrMapping/>
  </p:clrMapOvr>
  <p:transition spd="med">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72BBF-B8CB-4B04-883C-EAE35BBFAAEE}"/>
              </a:ext>
            </a:extLst>
          </p:cNvPr>
          <p:cNvSpPr>
            <a:spLocks noGrp="1"/>
          </p:cNvSpPr>
          <p:nvPr>
            <p:ph type="title"/>
          </p:nvPr>
        </p:nvSpPr>
        <p:spPr>
          <a:xfrm>
            <a:off x="0" y="0"/>
            <a:ext cx="8229600" cy="637794"/>
          </a:xfrm>
        </p:spPr>
        <p:txBody>
          <a:bodyPr/>
          <a:lstStyle/>
          <a:p>
            <a:r>
              <a:rPr lang="en-US" dirty="0"/>
              <a:t>Range of Standard Deviation/ Empirical Formula</a:t>
            </a:r>
          </a:p>
        </p:txBody>
      </p:sp>
      <p:sp>
        <p:nvSpPr>
          <p:cNvPr id="3" name="TextBox 2">
            <a:extLst>
              <a:ext uri="{FF2B5EF4-FFF2-40B4-BE49-F238E27FC236}">
                <a16:creationId xmlns:a16="http://schemas.microsoft.com/office/drawing/2014/main" id="{3DA067BC-3687-477F-9DC3-3BDF694F3DCD}"/>
              </a:ext>
            </a:extLst>
          </p:cNvPr>
          <p:cNvSpPr txBox="1"/>
          <p:nvPr/>
        </p:nvSpPr>
        <p:spPr>
          <a:xfrm>
            <a:off x="0" y="855069"/>
            <a:ext cx="8348262"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We can expect about 68% of values to be within plus-or-minus 1 standard deviation.</a:t>
            </a:r>
            <a:endParaRPr lang="en-US" sz="14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79A5D72F-9407-40CB-B562-4DDFB8CB5986}"/>
              </a:ext>
            </a:extLst>
          </p:cNvPr>
          <p:cNvPicPr>
            <a:picLocks noChangeAspect="1"/>
          </p:cNvPicPr>
          <p:nvPr/>
        </p:nvPicPr>
        <p:blipFill>
          <a:blip r:embed="rId2"/>
          <a:stretch>
            <a:fillRect/>
          </a:stretch>
        </p:blipFill>
        <p:spPr>
          <a:xfrm>
            <a:off x="235035" y="1641788"/>
            <a:ext cx="4748795" cy="2515838"/>
          </a:xfrm>
          <a:prstGeom prst="rect">
            <a:avLst/>
          </a:prstGeom>
        </p:spPr>
      </p:pic>
      <p:sp>
        <p:nvSpPr>
          <p:cNvPr id="6" name="TextBox 5">
            <a:extLst>
              <a:ext uri="{FF2B5EF4-FFF2-40B4-BE49-F238E27FC236}">
                <a16:creationId xmlns:a16="http://schemas.microsoft.com/office/drawing/2014/main" id="{7A1F70E6-13D8-4A77-9FAF-ACD6F5789C79}"/>
              </a:ext>
            </a:extLst>
          </p:cNvPr>
          <p:cNvSpPr txBox="1"/>
          <p:nvPr/>
        </p:nvSpPr>
        <p:spPr>
          <a:xfrm>
            <a:off x="5060612" y="1354894"/>
            <a:ext cx="3925135" cy="3077766"/>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Following the empirical rule:.</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68% of scores are between 40 and 60</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95% of scores are between 30 and 70</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99.7% of scores are between 20 and 80.</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3825623888"/>
      </p:ext>
    </p:extLst>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l PPT Theme_201609">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 PPT Theme_201609" id="{FF30C829-293E-4456-BF26-F010FAA61FD1}" vid="{671CC896-344E-4270-8267-102DA59EDD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1903</TotalTime>
  <Words>15812</Words>
  <Application>Microsoft Office PowerPoint</Application>
  <PresentationFormat>On-screen Show (16:9)</PresentationFormat>
  <Paragraphs>1737</Paragraphs>
  <Slides>272</Slides>
  <Notes>15</Notes>
  <HiddenSlides>0</HiddenSlides>
  <MMClips>0</MMClips>
  <ScaleCrop>false</ScaleCrop>
  <HeadingPairs>
    <vt:vector size="8" baseType="variant">
      <vt:variant>
        <vt:lpstr>Fonts Used</vt:lpstr>
      </vt:variant>
      <vt:variant>
        <vt:i4>21</vt:i4>
      </vt:variant>
      <vt:variant>
        <vt:lpstr>Theme</vt:lpstr>
      </vt:variant>
      <vt:variant>
        <vt:i4>1</vt:i4>
      </vt:variant>
      <vt:variant>
        <vt:lpstr>Embedded OLE Servers</vt:lpstr>
      </vt:variant>
      <vt:variant>
        <vt:i4>1</vt:i4>
      </vt:variant>
      <vt:variant>
        <vt:lpstr>Slide Titles</vt:lpstr>
      </vt:variant>
      <vt:variant>
        <vt:i4>272</vt:i4>
      </vt:variant>
    </vt:vector>
  </HeadingPairs>
  <TitlesOfParts>
    <vt:vector size="295" baseType="lpstr">
      <vt:lpstr>champ</vt:lpstr>
      <vt:lpstr>Gilmer</vt:lpstr>
      <vt:lpstr>inherit</vt:lpstr>
      <vt:lpstr>Inter</vt:lpstr>
      <vt:lpstr>Museo For Dell 300</vt:lpstr>
      <vt:lpstr>Museo Sans For Dell</vt:lpstr>
      <vt:lpstr>Museo Sans For Dell</vt:lpstr>
      <vt:lpstr>proxima-nova</vt:lpstr>
      <vt:lpstr>Arial</vt:lpstr>
      <vt:lpstr>Arial</vt:lpstr>
      <vt:lpstr>Arial Black</vt:lpstr>
      <vt:lpstr>Calibri</vt:lpstr>
      <vt:lpstr>Courier New</vt:lpstr>
      <vt:lpstr>Lato</vt:lpstr>
      <vt:lpstr>Open Sans</vt:lpstr>
      <vt:lpstr>pt sans</vt:lpstr>
      <vt:lpstr>Raleway</vt:lpstr>
      <vt:lpstr>roboto</vt:lpstr>
      <vt:lpstr>Times New Roman</vt:lpstr>
      <vt:lpstr>Verdana</vt:lpstr>
      <vt:lpstr>Wingdings</vt:lpstr>
      <vt:lpstr>Dell PPT Theme_201609</vt:lpstr>
      <vt:lpstr>think-cell Slide</vt:lpstr>
      <vt:lpstr>Statistics for  Data Science   </vt:lpstr>
      <vt:lpstr>What is Statistics ? </vt:lpstr>
      <vt:lpstr>Some examples of how statistics shape our life</vt:lpstr>
      <vt:lpstr>Worksheet</vt:lpstr>
      <vt:lpstr>Some statistical statements</vt:lpstr>
      <vt:lpstr>What is Statistics ? </vt:lpstr>
      <vt:lpstr>Terminology commonly used terminology in the discipline of statistics </vt:lpstr>
      <vt:lpstr>Types of Variables</vt:lpstr>
      <vt:lpstr>Quick exercise – Identify type of Data</vt:lpstr>
      <vt:lpstr>Worksheet</vt:lpstr>
      <vt:lpstr>Population &amp; Sample</vt:lpstr>
      <vt:lpstr>Worksheet</vt:lpstr>
      <vt:lpstr>Why Sample should be Random &amp; Representative? </vt:lpstr>
      <vt:lpstr>Bias in sampling : </vt:lpstr>
      <vt:lpstr>Worksheet</vt:lpstr>
      <vt:lpstr>PowerPoint Presentation</vt:lpstr>
      <vt:lpstr>Inferential Statistics</vt:lpstr>
      <vt:lpstr>Descriptive Statistics</vt:lpstr>
      <vt:lpstr>Descriptive Statistics – Example You’ve performed a survey to 40 respondents about their favorite car color. And now you have a spreadsheet with the results.</vt:lpstr>
      <vt:lpstr>Difference between Descriptive &amp; Inferential Statistics</vt:lpstr>
      <vt:lpstr>Independent, Dependent &amp; Control variable</vt:lpstr>
      <vt:lpstr>Types of Statistical Studies</vt:lpstr>
      <vt:lpstr>Understanding Observational Study &amp; Experiment              With an Example</vt:lpstr>
      <vt:lpstr>Understanding Observational Study &amp; Experiment              With an Example</vt:lpstr>
      <vt:lpstr>Understanding Observational Study &amp; Experiment              With an Example</vt:lpstr>
      <vt:lpstr>Control Experiment – drug test example</vt:lpstr>
      <vt:lpstr>Controlled Experiment</vt:lpstr>
      <vt:lpstr>Correlation and Causation</vt:lpstr>
      <vt:lpstr>Confounding Variable</vt:lpstr>
      <vt:lpstr>Confounding variable – another example</vt:lpstr>
      <vt:lpstr>What is hypothesis ? </vt:lpstr>
      <vt:lpstr>Blinding</vt:lpstr>
      <vt:lpstr>Double Blinding</vt:lpstr>
      <vt:lpstr>Why blinding is important in Statistics?</vt:lpstr>
      <vt:lpstr>Describing Data through Statistics   </vt:lpstr>
      <vt:lpstr>Measure of   Central Tendency   </vt:lpstr>
      <vt:lpstr>Finding Central Value</vt:lpstr>
      <vt:lpstr>Measure of Central Tendency</vt:lpstr>
      <vt:lpstr>Ready ??????????????</vt:lpstr>
      <vt:lpstr>Mean </vt:lpstr>
      <vt:lpstr>Median</vt:lpstr>
      <vt:lpstr>Median – Two middle numbers</vt:lpstr>
      <vt:lpstr>Mode</vt:lpstr>
      <vt:lpstr>Mode</vt:lpstr>
      <vt:lpstr>Grouping</vt:lpstr>
      <vt:lpstr>Grouping another example</vt:lpstr>
      <vt:lpstr>Outlier </vt:lpstr>
      <vt:lpstr>Outlier - continued</vt:lpstr>
      <vt:lpstr>Mean – Continued Different types of Mean</vt:lpstr>
      <vt:lpstr>Geometric Mean</vt:lpstr>
      <vt:lpstr>Harmonic Mean</vt:lpstr>
      <vt:lpstr>Harmonic Mean - Continued</vt:lpstr>
      <vt:lpstr>Harmonic Mean</vt:lpstr>
      <vt:lpstr>Conclusion : Mean, Median, Mode</vt:lpstr>
      <vt:lpstr>The Mean from a Frequency Table</vt:lpstr>
      <vt:lpstr>The Mean from a Frequency Table - Continued</vt:lpstr>
      <vt:lpstr>Another example of Mean from a Freq Table</vt:lpstr>
      <vt:lpstr>Weighted Mean</vt:lpstr>
      <vt:lpstr>Weighted Mean</vt:lpstr>
      <vt:lpstr>Weighted Mean – Example </vt:lpstr>
      <vt:lpstr>What if the weights don’t add to 1 ?</vt:lpstr>
      <vt:lpstr>What if the weights don’t add to 1 ?</vt:lpstr>
      <vt:lpstr>What if the weights don’t add to 1 ?</vt:lpstr>
      <vt:lpstr>What if the weights don’t add to 1 ?</vt:lpstr>
      <vt:lpstr>Weighted Mean : Summary</vt:lpstr>
      <vt:lpstr>Measure of   Variability   </vt:lpstr>
      <vt:lpstr>Measure of Variability </vt:lpstr>
      <vt:lpstr>Why does variability matters? </vt:lpstr>
      <vt:lpstr>Range</vt:lpstr>
      <vt:lpstr>Range can be misleading</vt:lpstr>
      <vt:lpstr>Quartiles</vt:lpstr>
      <vt:lpstr>Quartile</vt:lpstr>
      <vt:lpstr>Quartile</vt:lpstr>
      <vt:lpstr>How to find Q1, Q2, Q3 ? lets do a small example to get the understanding </vt:lpstr>
      <vt:lpstr>Interquartile Range</vt:lpstr>
      <vt:lpstr>Interquartile Range</vt:lpstr>
      <vt:lpstr>Interquartile Range</vt:lpstr>
      <vt:lpstr>Worksheet</vt:lpstr>
      <vt:lpstr>Box and Whiskers Plot</vt:lpstr>
      <vt:lpstr>Putting it all together – Quartiles &amp; Box and Whisker Plot</vt:lpstr>
      <vt:lpstr>Quartile – Five-number summary</vt:lpstr>
      <vt:lpstr>Mean Deviation</vt:lpstr>
      <vt:lpstr>Mean Deviation</vt:lpstr>
      <vt:lpstr>Mean Deviation</vt:lpstr>
      <vt:lpstr>Mean Deviation - Formula</vt:lpstr>
      <vt:lpstr>Mean Deviation – Real life example </vt:lpstr>
      <vt:lpstr>Mean Deviation – Ex continued</vt:lpstr>
      <vt:lpstr>Mean Deviation – A useful check</vt:lpstr>
      <vt:lpstr>Mean Deviation – A useful check</vt:lpstr>
      <vt:lpstr>Standard Deviation</vt:lpstr>
      <vt:lpstr>Variance - Ex</vt:lpstr>
      <vt:lpstr>Variance – Ex continued</vt:lpstr>
      <vt:lpstr>Standard Deviation </vt:lpstr>
      <vt:lpstr>Another Example – Standard Deviation </vt:lpstr>
      <vt:lpstr>Standard Deviation – Population &amp; Sample</vt:lpstr>
      <vt:lpstr>Standard Deviation - Formula</vt:lpstr>
      <vt:lpstr>Why Square the difference ? </vt:lpstr>
      <vt:lpstr>Why Square the difference ? - Continued </vt:lpstr>
      <vt:lpstr>Range of Standard Deviation/ Empirical Formula</vt:lpstr>
      <vt:lpstr>Coefficient of Variance (CV)</vt:lpstr>
      <vt:lpstr>Example :   The CV is particularly useful when you want to compare results from two different surveys or tests that have different measures or values. For example, if you are comparing the results from two tests that have different scoring mechanisms. </vt:lpstr>
      <vt:lpstr>Standard deviation - Example</vt:lpstr>
      <vt:lpstr>Standard Scores – Z score</vt:lpstr>
      <vt:lpstr>Standard Scores – Z score</vt:lpstr>
      <vt:lpstr>Histograms</vt:lpstr>
      <vt:lpstr>Histograms</vt:lpstr>
      <vt:lpstr>Difference between Bar chart and Histogram? </vt:lpstr>
      <vt:lpstr>Frequency Histogram</vt:lpstr>
      <vt:lpstr>Normal Distribution</vt:lpstr>
      <vt:lpstr>Normal Distribution - Continued</vt:lpstr>
      <vt:lpstr>Correlation</vt:lpstr>
      <vt:lpstr>Correlation Coefficient</vt:lpstr>
      <vt:lpstr>Correlation - continued</vt:lpstr>
      <vt:lpstr>Correlation is NOT Causation</vt:lpstr>
      <vt:lpstr>Correlation is NOT Causation</vt:lpstr>
      <vt:lpstr>Correlation is NOT Causation – A real case</vt:lpstr>
      <vt:lpstr>Skewness</vt:lpstr>
      <vt:lpstr>Skewness</vt:lpstr>
      <vt:lpstr>Kurtosis</vt:lpstr>
      <vt:lpstr>Kurtosis - Leptokurtic (kurtosis &gt; 3)</vt:lpstr>
      <vt:lpstr>Kurtosis - Platykurtic (kurtosis &lt; 3)</vt:lpstr>
      <vt:lpstr>Kurtosis - Mesokurtic (kurtosis = 3)</vt:lpstr>
      <vt:lpstr>Skewness - Summary</vt:lpstr>
      <vt:lpstr>Central Limit Theorem</vt:lpstr>
      <vt:lpstr>Central Limit Theorem</vt:lpstr>
      <vt:lpstr>Central Limit Theorem</vt:lpstr>
      <vt:lpstr>Central Limit Theorem</vt:lpstr>
      <vt:lpstr>Central Limit Theorem</vt:lpstr>
      <vt:lpstr>Why CLT is important ? </vt:lpstr>
      <vt:lpstr>Probability</vt:lpstr>
      <vt:lpstr>Probability</vt:lpstr>
      <vt:lpstr>Probability Example</vt:lpstr>
      <vt:lpstr>Probability Line</vt:lpstr>
      <vt:lpstr>Probability - Words</vt:lpstr>
      <vt:lpstr>Probability - Words</vt:lpstr>
      <vt:lpstr>Probability - Words</vt:lpstr>
      <vt:lpstr>Probability - Words</vt:lpstr>
      <vt:lpstr>Probability - Words</vt:lpstr>
      <vt:lpstr>Probability – Let’s use the words</vt:lpstr>
      <vt:lpstr>Basic Counting Principle</vt:lpstr>
      <vt:lpstr>Basic Counting Principle</vt:lpstr>
      <vt:lpstr>Basic Counting Principle – Ex continued</vt:lpstr>
      <vt:lpstr>Independent or Dependent </vt:lpstr>
      <vt:lpstr>Independent or Dependent – Ex continued </vt:lpstr>
      <vt:lpstr>Mutually Exclusive Events</vt:lpstr>
      <vt:lpstr>Mutually Exclusive Events</vt:lpstr>
      <vt:lpstr>Mutually Exclusive Events</vt:lpstr>
      <vt:lpstr>Mutually Exclusive Events</vt:lpstr>
      <vt:lpstr>Mutually exclusive events</vt:lpstr>
      <vt:lpstr>When events are not Mutually exclusive – be careful in calculation !! </vt:lpstr>
      <vt:lpstr>When events are not Mutually exclusive – be careful in calculation !!</vt:lpstr>
      <vt:lpstr>Conditional Probability </vt:lpstr>
      <vt:lpstr>Conditional Probability – Example 2  </vt:lpstr>
      <vt:lpstr>Conditional Probability</vt:lpstr>
      <vt:lpstr>Conditional Probability</vt:lpstr>
      <vt:lpstr>Confusion Matrix</vt:lpstr>
      <vt:lpstr>Confusion Matrix</vt:lpstr>
      <vt:lpstr>Confusion Matrix</vt:lpstr>
      <vt:lpstr>Example : Allergy or Not ? </vt:lpstr>
      <vt:lpstr>Question :  </vt:lpstr>
      <vt:lpstr>Solution 1 : Imagine a thousand people</vt:lpstr>
      <vt:lpstr>Solution 2 : Tree Diagram </vt:lpstr>
      <vt:lpstr>Bayes theorem</vt:lpstr>
      <vt:lpstr>Bayes Theorem – When to apply ? </vt:lpstr>
      <vt:lpstr>Bayes theorem - continued</vt:lpstr>
      <vt:lpstr>Bayes theorem – Example 1 </vt:lpstr>
      <vt:lpstr>Bayes theorem – Example 1 </vt:lpstr>
      <vt:lpstr>Bayes theorem – Example 1 </vt:lpstr>
      <vt:lpstr>Bayes theorem – Example 1 </vt:lpstr>
      <vt:lpstr>Bayes theorem – Example 2 </vt:lpstr>
      <vt:lpstr>Solution 3: Hunter’s test &gt; Bayes Theorem</vt:lpstr>
      <vt:lpstr>Solution 3 : Bayes Theorem</vt:lpstr>
      <vt:lpstr>Random Variable</vt:lpstr>
      <vt:lpstr>Random Variable</vt:lpstr>
      <vt:lpstr>Sample Space</vt:lpstr>
      <vt:lpstr>Probability</vt:lpstr>
      <vt:lpstr>Probability - Continued</vt:lpstr>
      <vt:lpstr>Random Variable – Discrete data</vt:lpstr>
      <vt:lpstr>Random Variable – Continuous data</vt:lpstr>
      <vt:lpstr>Confidence Intervals</vt:lpstr>
      <vt:lpstr>Calculating the Confidence Interval</vt:lpstr>
      <vt:lpstr>Calculating the Confidence Interval</vt:lpstr>
      <vt:lpstr>Calculating the Confidence Interval</vt:lpstr>
      <vt:lpstr>Calculating the Confidence Interval</vt:lpstr>
      <vt:lpstr>Calculating the Confidence Interval</vt:lpstr>
      <vt:lpstr>Example 2 : Apple Orchid</vt:lpstr>
      <vt:lpstr>Example 2 : Apple Orchid</vt:lpstr>
      <vt:lpstr>Example 2 : Apple Orchid – True Mean</vt:lpstr>
      <vt:lpstr>Example 2 : Apple Orchid – True Mean</vt:lpstr>
      <vt:lpstr>Example 2 : Apple Orchid – True Mean</vt:lpstr>
      <vt:lpstr>Sampling Techniques</vt:lpstr>
      <vt:lpstr>Importance of p-Value</vt:lpstr>
      <vt:lpstr>Importance of p-Value</vt:lpstr>
      <vt:lpstr>Importance of p-Value</vt:lpstr>
      <vt:lpstr>Linear Algebra     </vt:lpstr>
      <vt:lpstr>Matrix</vt:lpstr>
      <vt:lpstr>Data representation : examples</vt:lpstr>
      <vt:lpstr>Matrix Multiplication</vt:lpstr>
      <vt:lpstr>Matrix multiplication</vt:lpstr>
      <vt:lpstr>Matrix multiplication – Now in reverse</vt:lpstr>
      <vt:lpstr>Matrix multiply by a scalar number</vt:lpstr>
      <vt:lpstr>Multiply a Matrix by Another Matrix</vt:lpstr>
      <vt:lpstr>Matrix multiplication -  Compatibility </vt:lpstr>
      <vt:lpstr>Identity Matrix</vt:lpstr>
      <vt:lpstr>Order of Multiplication </vt:lpstr>
      <vt:lpstr>Factorization</vt:lpstr>
      <vt:lpstr>Why do we use factorization ?</vt:lpstr>
      <vt:lpstr>Prime Factorization</vt:lpstr>
      <vt:lpstr>Hypothesis Testing     </vt:lpstr>
      <vt:lpstr>Hypothesis testing</vt:lpstr>
      <vt:lpstr>Hypothesis Testing </vt:lpstr>
      <vt:lpstr>Hypothesis Testing</vt:lpstr>
      <vt:lpstr>Characteristics of Hypothesis</vt:lpstr>
      <vt:lpstr>Null hypothesis</vt:lpstr>
      <vt:lpstr>Alternate Hypothesis</vt:lpstr>
      <vt:lpstr>Level of Significance and Confidence Interval</vt:lpstr>
      <vt:lpstr>Risk of rejecting a Null Hypothesis</vt:lpstr>
      <vt:lpstr>Two Tailed test @ 5% Significance Level</vt:lpstr>
      <vt:lpstr>Left Tailed test @ 5% Significance Level</vt:lpstr>
      <vt:lpstr>Right Tailed Test @ 5% Significance Level </vt:lpstr>
      <vt:lpstr>Hypothesis Testing Examples</vt:lpstr>
      <vt:lpstr>Hypothesis Testing - Steps</vt:lpstr>
      <vt:lpstr>Hypothesis testing : Example 1</vt:lpstr>
      <vt:lpstr>Hypothesis testing : Example 1</vt:lpstr>
      <vt:lpstr>Hypothesis testing : Example 1</vt:lpstr>
      <vt:lpstr>Hypothesis testing : Example 1</vt:lpstr>
      <vt:lpstr>Hypothesis testing : Example 1</vt:lpstr>
      <vt:lpstr>Hypothesis testing : Example 1</vt:lpstr>
      <vt:lpstr>Hypothesis testing : Example 2</vt:lpstr>
      <vt:lpstr>Hypothesis testing : Example 2</vt:lpstr>
      <vt:lpstr>Hypothesis testing : Example 2</vt:lpstr>
      <vt:lpstr>Hypothesis testing : Example 2</vt:lpstr>
      <vt:lpstr>Hypothesis testing : Example 2</vt:lpstr>
      <vt:lpstr>Important Takeaways</vt:lpstr>
      <vt:lpstr>Important Takeaways</vt:lpstr>
      <vt:lpstr>Important Takeaways</vt:lpstr>
      <vt:lpstr>PowerPoint Presentation</vt:lpstr>
      <vt:lpstr>Chi – Square Test - Example </vt:lpstr>
      <vt:lpstr>Chi – Square Test - Example </vt:lpstr>
      <vt:lpstr>Chi – Square Test - Example </vt:lpstr>
      <vt:lpstr>Chi – Square Test - Example </vt:lpstr>
      <vt:lpstr>Chi – Square Test - Example </vt:lpstr>
      <vt:lpstr>Chi – Squared Test – Another Example</vt:lpstr>
      <vt:lpstr>ANOVA Analysis of Variance   </vt:lpstr>
      <vt:lpstr>ANOVA test – Analysis of variance test</vt:lpstr>
      <vt:lpstr>Types of ANOVA</vt:lpstr>
      <vt:lpstr>ANOVA - EX</vt:lpstr>
      <vt:lpstr>ANOVA - Steps</vt:lpstr>
      <vt:lpstr>ANOVA - Steps</vt:lpstr>
      <vt:lpstr>ANOVA - Steps</vt:lpstr>
      <vt:lpstr>ANOVA : Performing calculation according to steps</vt:lpstr>
      <vt:lpstr>ANOVA : Performing calculation according to steps</vt:lpstr>
      <vt:lpstr>ANOVA : Performing calculation according to steps</vt:lpstr>
      <vt:lpstr>ANOVA : Performing calculation according to steps</vt:lpstr>
      <vt:lpstr>ANOVA – F- table</vt:lpstr>
      <vt:lpstr>One Way ANOVA : Another Example 2</vt:lpstr>
      <vt:lpstr>When to use WHAT ? </vt:lpstr>
      <vt:lpstr>PowerPoint Presentation</vt:lpstr>
      <vt:lpstr>Percentiles</vt:lpstr>
      <vt:lpstr>Why Statistics is Important?</vt:lpstr>
      <vt:lpstr>Standard error</vt:lpstr>
      <vt:lpstr>Standard error example</vt:lpstr>
      <vt:lpstr>Standard Scores</vt:lpstr>
      <vt:lpstr>Binomial Distribution</vt:lpstr>
      <vt:lpstr>Binomial Distribution - Formula</vt:lpstr>
      <vt:lpstr>Binomial Distribution – Example 1</vt:lpstr>
      <vt:lpstr>Binomial Distribution – Example 2</vt:lpstr>
      <vt:lpstr>Binomial Distribution – Example 3</vt:lpstr>
      <vt:lpstr>Pearson correlation coefficient</vt:lpstr>
      <vt:lpstr>References </vt:lpstr>
      <vt:lpstr>CRISP Data Framework </vt:lpstr>
      <vt:lpstr>CRISP - DM</vt:lpstr>
    </vt:vector>
  </TitlesOfParts>
  <Company>Del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un_r2@dell.com</dc:creator>
  <cp:keywords>Internal Use</cp:keywords>
  <cp:lastModifiedBy>R2, Arun</cp:lastModifiedBy>
  <cp:revision>538</cp:revision>
  <dcterms:created xsi:type="dcterms:W3CDTF">2016-10-16T11:20:54Z</dcterms:created>
  <dcterms:modified xsi:type="dcterms:W3CDTF">2022-02-21T03:1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c7d0e0ab-4d80-4e64-940a-7bb474d0a4c0</vt:lpwstr>
  </property>
  <property fmtid="{D5CDD505-2E9C-101B-9397-08002B2CF9AE}" pid="3" name="DellClassification">
    <vt:lpwstr>Internal Use</vt:lpwstr>
  </property>
  <property fmtid="{D5CDD505-2E9C-101B-9397-08002B2CF9AE}" pid="4" name="DellSubLabels">
    <vt:lpwstr/>
  </property>
  <property fmtid="{D5CDD505-2E9C-101B-9397-08002B2CF9AE}" pid="5" name="DellVisual Markings (PPT)">
    <vt:lpwstr>Classification Footer</vt:lpwstr>
  </property>
  <property fmtid="{D5CDD505-2E9C-101B-9397-08002B2CF9AE}" pid="6" name="titusconfig">
    <vt:lpwstr>1.3APJ</vt:lpwstr>
  </property>
  <property fmtid="{D5CDD505-2E9C-101B-9397-08002B2CF9AE}" pid="7" name="MSIP_Label_7de70ee2-0cb4-4d60-aee5-75ef2c4c8a90_Enabled">
    <vt:lpwstr>True</vt:lpwstr>
  </property>
  <property fmtid="{D5CDD505-2E9C-101B-9397-08002B2CF9AE}" pid="8" name="MSIP_Label_7de70ee2-0cb4-4d60-aee5-75ef2c4c8a90_SiteId">
    <vt:lpwstr>945c199a-83a2-4e80-9f8c-5a91be5752dd</vt:lpwstr>
  </property>
  <property fmtid="{D5CDD505-2E9C-101B-9397-08002B2CF9AE}" pid="9" name="MSIP_Label_7de70ee2-0cb4-4d60-aee5-75ef2c4c8a90_Owner">
    <vt:lpwstr>Aphidalin_Syiemlieh@DELL.com</vt:lpwstr>
  </property>
  <property fmtid="{D5CDD505-2E9C-101B-9397-08002B2CF9AE}" pid="10" name="MSIP_Label_7de70ee2-0cb4-4d60-aee5-75ef2c4c8a90_SetDate">
    <vt:lpwstr>2019-06-10T23:10:14.0206521Z</vt:lpwstr>
  </property>
  <property fmtid="{D5CDD505-2E9C-101B-9397-08002B2CF9AE}" pid="11" name="MSIP_Label_7de70ee2-0cb4-4d60-aee5-75ef2c4c8a90_Name">
    <vt:lpwstr>Internal Use</vt:lpwstr>
  </property>
  <property fmtid="{D5CDD505-2E9C-101B-9397-08002B2CF9AE}" pid="12" name="MSIP_Label_7de70ee2-0cb4-4d60-aee5-75ef2c4c8a90_Application">
    <vt:lpwstr>Microsoft Azure Information Protection</vt:lpwstr>
  </property>
  <property fmtid="{D5CDD505-2E9C-101B-9397-08002B2CF9AE}" pid="13" name="MSIP_Label_7de70ee2-0cb4-4d60-aee5-75ef2c4c8a90_Extended_MSFT_Method">
    <vt:lpwstr>Manual</vt:lpwstr>
  </property>
  <property fmtid="{D5CDD505-2E9C-101B-9397-08002B2CF9AE}" pid="14" name="MSIP_Label_da6fab74-d5af-4af7-a9a4-78d84655a626_Enabled">
    <vt:lpwstr>True</vt:lpwstr>
  </property>
  <property fmtid="{D5CDD505-2E9C-101B-9397-08002B2CF9AE}" pid="15" name="MSIP_Label_da6fab74-d5af-4af7-a9a4-78d84655a626_SiteId">
    <vt:lpwstr>945c199a-83a2-4e80-9f8c-5a91be5752dd</vt:lpwstr>
  </property>
  <property fmtid="{D5CDD505-2E9C-101B-9397-08002B2CF9AE}" pid="16" name="MSIP_Label_da6fab74-d5af-4af7-a9a4-78d84655a626_Owner">
    <vt:lpwstr>Aphidalin_Syiemlieh@DELL.com</vt:lpwstr>
  </property>
  <property fmtid="{D5CDD505-2E9C-101B-9397-08002B2CF9AE}" pid="17" name="MSIP_Label_da6fab74-d5af-4af7-a9a4-78d84655a626_SetDate">
    <vt:lpwstr>2019-06-10T23:10:14.0206521Z</vt:lpwstr>
  </property>
  <property fmtid="{D5CDD505-2E9C-101B-9397-08002B2CF9AE}" pid="18" name="MSIP_Label_da6fab74-d5af-4af7-a9a4-78d84655a626_Name">
    <vt:lpwstr>Visual Marking</vt:lpwstr>
  </property>
  <property fmtid="{D5CDD505-2E9C-101B-9397-08002B2CF9AE}" pid="19" name="MSIP_Label_da6fab74-d5af-4af7-a9a4-78d84655a626_Application">
    <vt:lpwstr>Microsoft Azure Information Protection</vt:lpwstr>
  </property>
  <property fmtid="{D5CDD505-2E9C-101B-9397-08002B2CF9AE}" pid="20" name="MSIP_Label_da6fab74-d5af-4af7-a9a4-78d84655a626_Parent">
    <vt:lpwstr>7de70ee2-0cb4-4d60-aee5-75ef2c4c8a90</vt:lpwstr>
  </property>
  <property fmtid="{D5CDD505-2E9C-101B-9397-08002B2CF9AE}" pid="21" name="MSIP_Label_da6fab74-d5af-4af7-a9a4-78d84655a626_Extended_MSFT_Method">
    <vt:lpwstr>Manual</vt:lpwstr>
  </property>
  <property fmtid="{D5CDD505-2E9C-101B-9397-08002B2CF9AE}" pid="22" name="aiplabel">
    <vt:lpwstr>Internal Use Visual Marking</vt:lpwstr>
  </property>
</Properties>
</file>